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28"/>
  </p:notesMasterIdLst>
  <p:handoutMasterIdLst>
    <p:handoutMasterId r:id="rId29"/>
  </p:handoutMasterIdLst>
  <p:sldIdLst>
    <p:sldId id="261" r:id="rId5"/>
    <p:sldId id="312" r:id="rId6"/>
    <p:sldId id="325" r:id="rId7"/>
    <p:sldId id="347" r:id="rId8"/>
    <p:sldId id="326" r:id="rId9"/>
    <p:sldId id="348" r:id="rId10"/>
    <p:sldId id="349" r:id="rId11"/>
    <p:sldId id="350" r:id="rId12"/>
    <p:sldId id="351" r:id="rId13"/>
    <p:sldId id="352" r:id="rId14"/>
    <p:sldId id="353" r:id="rId15"/>
    <p:sldId id="354" r:id="rId16"/>
    <p:sldId id="355" r:id="rId17"/>
    <p:sldId id="356" r:id="rId18"/>
    <p:sldId id="357" r:id="rId19"/>
    <p:sldId id="335" r:id="rId20"/>
    <p:sldId id="345" r:id="rId21"/>
    <p:sldId id="343" r:id="rId22"/>
    <p:sldId id="344" r:id="rId23"/>
    <p:sldId id="334" r:id="rId24"/>
    <p:sldId id="339" r:id="rId25"/>
    <p:sldId id="336" r:id="rId26"/>
    <p:sldId id="338" r:id="rId27"/>
  </p:sldIdLst>
  <p:sldSz cx="9144000" cy="6858000" type="screen4x3"/>
  <p:notesSz cx="6797675" cy="9926638"/>
  <p:defaultTextStyle>
    <a:defPPr>
      <a:defRPr lang="nl-NL"/>
    </a:defPPr>
    <a:lvl1pPr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orient="horz" pos="1314">
          <p15:clr>
            <a:srgbClr val="A4A3A4"/>
          </p15:clr>
        </p15:guide>
        <p15:guide id="3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thijssen, Martine" initials="MM" lastIdx="14" clrIdx="0">
    <p:extLst/>
  </p:cmAuthor>
  <p:cmAuthor id="2" name="Ton Leijn" initials="TL" lastIdx="12" clrIdx="1">
    <p:extLst/>
  </p:cmAuthor>
  <p:cmAuthor id="3" name="Schoenmakers, Suzanne" initials="SS" lastIdx="17" clrIdx="2">
    <p:extLst>
      <p:ext uri="{19B8F6BF-5375-455C-9EA6-DF929625EA0E}">
        <p15:presenceInfo xmlns:p15="http://schemas.microsoft.com/office/powerpoint/2012/main" userId="S-1-5-21-2838421321-1307568226-2999299841-1110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9CAC11"/>
    <a:srgbClr val="FF0000"/>
    <a:srgbClr val="3399FF"/>
    <a:srgbClr val="008000"/>
    <a:srgbClr val="FF9900"/>
    <a:srgbClr val="0033CC"/>
    <a:srgbClr val="6E1432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529" autoAdjust="0"/>
    <p:restoredTop sz="94434" autoAdjust="0"/>
  </p:normalViewPr>
  <p:slideViewPr>
    <p:cSldViewPr>
      <p:cViewPr varScale="1">
        <p:scale>
          <a:sx n="106" d="100"/>
          <a:sy n="106" d="100"/>
        </p:scale>
        <p:origin x="1266" y="102"/>
      </p:cViewPr>
      <p:guideLst>
        <p:guide orient="horz" pos="2160"/>
        <p:guide orient="horz" pos="1314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140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140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140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BFD224A-AA1A-45BD-A08B-1DF3EA4EC03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1217725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5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714875"/>
            <a:ext cx="5435600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noProof="0"/>
              <a:t>Klik om de opmaakprofielen van de modeltekst te bewerken</a:t>
            </a:r>
          </a:p>
          <a:p>
            <a:pPr lvl="1"/>
            <a:r>
              <a:rPr lang="nl-NL" altLang="nl-NL" noProof="0"/>
              <a:t>Tweede niveau</a:t>
            </a:r>
          </a:p>
          <a:p>
            <a:pPr lvl="2"/>
            <a:r>
              <a:rPr lang="nl-NL" altLang="nl-NL" noProof="0"/>
              <a:t>Derde niveau</a:t>
            </a:r>
          </a:p>
          <a:p>
            <a:pPr lvl="3"/>
            <a:r>
              <a:rPr lang="nl-NL" altLang="nl-NL" noProof="0"/>
              <a:t>Vierde niveau</a:t>
            </a:r>
          </a:p>
          <a:p>
            <a:pPr lvl="4"/>
            <a:r>
              <a:rPr lang="nl-NL" altLang="nl-NL" noProof="0"/>
              <a:t>Vijfde niveau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nl-NL" altLang="nl-NL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3492459B-1961-472E-9397-BFCA295CC2B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1849861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0E2E5FE-A22E-4EAD-AD76-AD8D2E5BAA31}" type="slidenum">
              <a:rPr lang="nl-NL" altLang="nl-NL" smtClean="0"/>
              <a:pPr>
                <a:spcBef>
                  <a:spcPct val="0"/>
                </a:spcBef>
              </a:pPr>
              <a:t>1</a:t>
            </a:fld>
            <a:endParaRPr lang="nl-NL" altLang="nl-NL"/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nl-NL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71181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492459B-1961-472E-9397-BFCA295CC2BC}" type="slidenum">
              <a:rPr lang="nl-NL" altLang="nl-NL" smtClean="0"/>
              <a:pPr>
                <a:defRPr/>
              </a:pPr>
              <a:t>2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183615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CF957FFA-2D0A-4211-9939-719A5892CF30}" type="slidenum">
              <a:rPr lang="nl-NL" altLang="nl-NL" sz="1300" smtClean="0"/>
              <a:pPr eaLnBrk="1" hangingPunct="1">
                <a:spcBef>
                  <a:spcPct val="0"/>
                </a:spcBef>
              </a:pPr>
              <a:t>3</a:t>
            </a:fld>
            <a:endParaRPr lang="nl-NL" altLang="nl-NL" sz="1300" smtClean="0"/>
          </a:p>
        </p:txBody>
      </p:sp>
      <p:sp>
        <p:nvSpPr>
          <p:cNvPr id="552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ln/>
        </p:spPr>
      </p:sp>
      <p:sp>
        <p:nvSpPr>
          <p:cNvPr id="553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nl-NL" smtClean="0"/>
          </a:p>
        </p:txBody>
      </p:sp>
    </p:spTree>
    <p:extLst>
      <p:ext uri="{BB962C8B-B14F-4D97-AF65-F5344CB8AC3E}">
        <p14:creationId xmlns:p14="http://schemas.microsoft.com/office/powerpoint/2010/main" val="2081811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jdelijke aanduiding voor dia-afbeelding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21507" name="Tijdelijke aanduiding voor notities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 smtClean="0">
              <a:latin typeface="Arial" panose="020B0604020202020204" pitchFamily="34" charset="0"/>
            </a:endParaRPr>
          </a:p>
        </p:txBody>
      </p:sp>
      <p:sp>
        <p:nvSpPr>
          <p:cNvPr id="21508" name="Tijdelijke aanduiding voor dianumm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09613" indent="-273050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093788" indent="-217488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30350" indent="-217488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968500" indent="-217488" defTabSz="90646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425700" indent="-217488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882900" indent="-217488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340100" indent="-217488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797300" indent="-217488" defTabSz="90646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03E6683D-B61B-4E2C-9F60-96D1FA1A01CC}" type="slidenum">
              <a:rPr lang="nl-NL" altLang="nl-NL" sz="1100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4</a:t>
            </a:fld>
            <a:endParaRPr lang="nl-NL" altLang="nl-NL" sz="110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4511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90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F0B79B9-DAF1-44C6-B8CD-908E63A2F318}" type="slidenum">
              <a:rPr lang="nl-NL" altLang="nl-NL" sz="1300" smtClean="0"/>
              <a:pPr eaLnBrk="1" hangingPunct="1">
                <a:spcBef>
                  <a:spcPct val="0"/>
                </a:spcBef>
              </a:pPr>
              <a:t>5</a:t>
            </a:fld>
            <a:endParaRPr lang="nl-NL" altLang="nl-NL" sz="1300" smtClean="0"/>
          </a:p>
        </p:txBody>
      </p:sp>
      <p:sp>
        <p:nvSpPr>
          <p:cNvPr id="563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09650" y="762000"/>
            <a:ext cx="5076825" cy="3806825"/>
          </a:xfrm>
          <a:ln/>
        </p:spPr>
      </p:sp>
      <p:sp>
        <p:nvSpPr>
          <p:cNvPr id="5632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7738" y="4819650"/>
            <a:ext cx="5203825" cy="4652963"/>
          </a:xfrm>
          <a:noFill/>
        </p:spPr>
        <p:txBody>
          <a:bodyPr lIns="95171" tIns="47586" rIns="95171" bIns="47586"/>
          <a:lstStyle/>
          <a:p>
            <a:pPr eaLnBrk="1" hangingPunct="1"/>
            <a:endParaRPr lang="nl-NL" altLang="nl-NL" smtClean="0"/>
          </a:p>
        </p:txBody>
      </p:sp>
    </p:spTree>
    <p:extLst>
      <p:ext uri="{BB962C8B-B14F-4D97-AF65-F5344CB8AC3E}">
        <p14:creationId xmlns:p14="http://schemas.microsoft.com/office/powerpoint/2010/main" val="25222011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89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1363" indent="-284163" defTabSz="989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1413" indent="-227013" defTabSz="989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598613" indent="-227013" defTabSz="989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5813" indent="-227013" defTabSz="9890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3013" indent="-227013" defTabSz="989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0213" indent="-227013" defTabSz="989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7413" indent="-227013" defTabSz="989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4613" indent="-227013" defTabSz="9890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29E0450-CF40-454A-A940-E47122C047CC}" type="slidenum">
              <a:rPr lang="nl-NL" altLang="nl-NL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6</a:t>
            </a:fld>
            <a:endParaRPr lang="nl-NL" altLang="nl-NL" smtClean="0">
              <a:solidFill>
                <a:srgbClr val="000000"/>
              </a:solidFill>
            </a:endParaRPr>
          </a:p>
        </p:txBody>
      </p:sp>
      <p:sp>
        <p:nvSpPr>
          <p:cNvPr id="23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009650" y="762000"/>
            <a:ext cx="5076825" cy="3806825"/>
          </a:xfrm>
          <a:ln/>
        </p:spPr>
      </p:sp>
      <p:sp>
        <p:nvSpPr>
          <p:cNvPr id="23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47738" y="4819650"/>
            <a:ext cx="5203825" cy="4652963"/>
          </a:xfrm>
          <a:noFill/>
        </p:spPr>
        <p:txBody>
          <a:bodyPr lIns="95162" tIns="47582" rIns="95162" bIns="47582"/>
          <a:lstStyle/>
          <a:p>
            <a:pPr eaLnBrk="1" hangingPunct="1"/>
            <a:endParaRPr lang="nl-NL" altLang="nl-NL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2703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A3F15CF-71AB-406A-9D35-BF21F1A027F0}" type="slidenum">
              <a:rPr lang="nl-NL" altLang="nl-NL" sz="1300" smtClean="0"/>
              <a:pPr>
                <a:spcBef>
                  <a:spcPct val="0"/>
                </a:spcBef>
              </a:pPr>
              <a:t>9</a:t>
            </a:fld>
            <a:endParaRPr lang="nl-NL" altLang="nl-NL" sz="1300" smtClean="0"/>
          </a:p>
        </p:txBody>
      </p:sp>
      <p:sp>
        <p:nvSpPr>
          <p:cNvPr id="2969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ln/>
        </p:spPr>
      </p:sp>
      <p:sp>
        <p:nvSpPr>
          <p:cNvPr id="29700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nl-NL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4232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647C28DF-096C-4BF5-9AD9-AD344463B8BA}" type="slidenum">
              <a:rPr lang="nl-NL" altLang="nl-NL" sz="1300" smtClean="0"/>
              <a:pPr>
                <a:spcBef>
                  <a:spcPct val="0"/>
                </a:spcBef>
              </a:pPr>
              <a:t>10</a:t>
            </a:fld>
            <a:endParaRPr lang="nl-NL" altLang="nl-NL" sz="1300" smtClean="0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6512" cy="3836988"/>
          </a:xfrm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nl-NL" altLang="nl-NL" smtClean="0">
                <a:latin typeface="Arial" panose="020B0604020202020204" pitchFamily="34" charset="0"/>
              </a:rPr>
              <a:t>Locatie Moerdijk</a:t>
            </a:r>
          </a:p>
        </p:txBody>
      </p:sp>
    </p:spTree>
    <p:extLst>
      <p:ext uri="{BB962C8B-B14F-4D97-AF65-F5344CB8AC3E}">
        <p14:creationId xmlns:p14="http://schemas.microsoft.com/office/powerpoint/2010/main" val="364903113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90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90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23C5F32C-C141-46D2-9A17-5C2549325F89}" type="slidenum">
              <a:rPr lang="nl-NL" altLang="nl-NL" sz="1300" smtClean="0"/>
              <a:pPr>
                <a:spcBef>
                  <a:spcPct val="0"/>
                </a:spcBef>
              </a:pPr>
              <a:t>13</a:t>
            </a:fld>
            <a:endParaRPr lang="nl-NL" altLang="nl-NL" sz="1300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nl-NL" altLang="nl-NL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23896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4" descr="zon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743200"/>
            <a:ext cx="91440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36"/>
          <p:cNvGrpSpPr>
            <a:grpSpLocks noChangeAspect="1"/>
          </p:cNvGrpSpPr>
          <p:nvPr userDrawn="1"/>
        </p:nvGrpSpPr>
        <p:grpSpPr bwMode="auto">
          <a:xfrm>
            <a:off x="-4763" y="2079625"/>
            <a:ext cx="9148763" cy="4778375"/>
            <a:chOff x="-3" y="1310"/>
            <a:chExt cx="5763" cy="3010"/>
          </a:xfrm>
        </p:grpSpPr>
        <p:sp>
          <p:nvSpPr>
            <p:cNvPr id="6" name="AutoShape 35"/>
            <p:cNvSpPr>
              <a:spLocks noChangeAspect="1" noChangeArrowheads="1" noTextEdit="1"/>
            </p:cNvSpPr>
            <p:nvPr userDrawn="1"/>
          </p:nvSpPr>
          <p:spPr bwMode="auto">
            <a:xfrm>
              <a:off x="-3" y="1310"/>
              <a:ext cx="5763" cy="3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7" name="Freeform 37"/>
            <p:cNvSpPr>
              <a:spLocks noEditPoints="1"/>
            </p:cNvSpPr>
            <p:nvPr userDrawn="1"/>
          </p:nvSpPr>
          <p:spPr bwMode="auto">
            <a:xfrm>
              <a:off x="-3" y="1310"/>
              <a:ext cx="5763" cy="3010"/>
            </a:xfrm>
            <a:custGeom>
              <a:avLst/>
              <a:gdLst>
                <a:gd name="T0" fmla="*/ 0 w 960"/>
                <a:gd name="T1" fmla="*/ 0 h 501"/>
                <a:gd name="T2" fmla="*/ 2147483646 w 960"/>
                <a:gd name="T3" fmla="*/ 2147483646 h 501"/>
                <a:gd name="T4" fmla="*/ 2147483646 w 960"/>
                <a:gd name="T5" fmla="*/ 2147483646 h 501"/>
                <a:gd name="T6" fmla="*/ 2147483646 w 960"/>
                <a:gd name="T7" fmla="*/ 2147483646 h 501"/>
                <a:gd name="T8" fmla="*/ 2147483646 w 960"/>
                <a:gd name="T9" fmla="*/ 2147483646 h 501"/>
                <a:gd name="T10" fmla="*/ 2147483646 w 960"/>
                <a:gd name="T11" fmla="*/ 2147483646 h 501"/>
                <a:gd name="T12" fmla="*/ 2147483646 w 960"/>
                <a:gd name="T13" fmla="*/ 2147483646 h 501"/>
                <a:gd name="T14" fmla="*/ 2147483646 w 960"/>
                <a:gd name="T15" fmla="*/ 2147483646 h 501"/>
                <a:gd name="T16" fmla="*/ 2147483646 w 960"/>
                <a:gd name="T17" fmla="*/ 2147483646 h 501"/>
                <a:gd name="T18" fmla="*/ 2147483646 w 960"/>
                <a:gd name="T19" fmla="*/ 2147483646 h 501"/>
                <a:gd name="T20" fmla="*/ 2147483646 w 960"/>
                <a:gd name="T21" fmla="*/ 2147483646 h 501"/>
                <a:gd name="T22" fmla="*/ 2147483646 w 960"/>
                <a:gd name="T23" fmla="*/ 2147483646 h 501"/>
                <a:gd name="T24" fmla="*/ 2147483646 w 960"/>
                <a:gd name="T25" fmla="*/ 2147483646 h 501"/>
                <a:gd name="T26" fmla="*/ 2147483646 w 960"/>
                <a:gd name="T27" fmla="*/ 2147483646 h 501"/>
                <a:gd name="T28" fmla="*/ 2147483646 w 960"/>
                <a:gd name="T29" fmla="*/ 2147483646 h 501"/>
                <a:gd name="T30" fmla="*/ 2147483646 w 960"/>
                <a:gd name="T31" fmla="*/ 2147483646 h 501"/>
                <a:gd name="T32" fmla="*/ 2147483646 w 960"/>
                <a:gd name="T33" fmla="*/ 2147483646 h 501"/>
                <a:gd name="T34" fmla="*/ 2147483646 w 960"/>
                <a:gd name="T35" fmla="*/ 2147483646 h 501"/>
                <a:gd name="T36" fmla="*/ 2147483646 w 960"/>
                <a:gd name="T37" fmla="*/ 2147483646 h 501"/>
                <a:gd name="T38" fmla="*/ 2147483646 w 960"/>
                <a:gd name="T39" fmla="*/ 2147483646 h 501"/>
                <a:gd name="T40" fmla="*/ 2147483646 w 960"/>
                <a:gd name="T41" fmla="*/ 2147483646 h 501"/>
                <a:gd name="T42" fmla="*/ 2147483646 w 960"/>
                <a:gd name="T43" fmla="*/ 2147483646 h 501"/>
                <a:gd name="T44" fmla="*/ 2147483646 w 960"/>
                <a:gd name="T45" fmla="*/ 2147483646 h 501"/>
                <a:gd name="T46" fmla="*/ 2147483646 w 960"/>
                <a:gd name="T47" fmla="*/ 2147483646 h 501"/>
                <a:gd name="T48" fmla="*/ 2147483646 w 960"/>
                <a:gd name="T49" fmla="*/ 2147483646 h 501"/>
                <a:gd name="T50" fmla="*/ 2147483646 w 960"/>
                <a:gd name="T51" fmla="*/ 2147483646 h 501"/>
                <a:gd name="T52" fmla="*/ 2147483646 w 960"/>
                <a:gd name="T53" fmla="*/ 2147483646 h 501"/>
                <a:gd name="T54" fmla="*/ 2147483646 w 960"/>
                <a:gd name="T55" fmla="*/ 2147483646 h 501"/>
                <a:gd name="T56" fmla="*/ 2147483646 w 960"/>
                <a:gd name="T57" fmla="*/ 2147483646 h 501"/>
                <a:gd name="T58" fmla="*/ 2147483646 w 960"/>
                <a:gd name="T59" fmla="*/ 2147483646 h 501"/>
                <a:gd name="T60" fmla="*/ 2147483646 w 960"/>
                <a:gd name="T61" fmla="*/ 2147483646 h 501"/>
                <a:gd name="T62" fmla="*/ 2147483646 w 960"/>
                <a:gd name="T63" fmla="*/ 2147483646 h 501"/>
                <a:gd name="T64" fmla="*/ 2147483646 w 960"/>
                <a:gd name="T65" fmla="*/ 2147483646 h 501"/>
                <a:gd name="T66" fmla="*/ 2147483646 w 960"/>
                <a:gd name="T67" fmla="*/ 2147483646 h 501"/>
                <a:gd name="T68" fmla="*/ 2147483646 w 960"/>
                <a:gd name="T69" fmla="*/ 2147483646 h 501"/>
                <a:gd name="T70" fmla="*/ 2147483646 w 960"/>
                <a:gd name="T71" fmla="*/ 2147483646 h 501"/>
                <a:gd name="T72" fmla="*/ 2147483646 w 960"/>
                <a:gd name="T73" fmla="*/ 2147483646 h 501"/>
                <a:gd name="T74" fmla="*/ 2147483646 w 960"/>
                <a:gd name="T75" fmla="*/ 2147483646 h 501"/>
                <a:gd name="T76" fmla="*/ 2147483646 w 960"/>
                <a:gd name="T77" fmla="*/ 2147483646 h 501"/>
                <a:gd name="T78" fmla="*/ 2147483646 w 960"/>
                <a:gd name="T79" fmla="*/ 2147483646 h 501"/>
                <a:gd name="T80" fmla="*/ 2147483646 w 960"/>
                <a:gd name="T81" fmla="*/ 2147483646 h 501"/>
                <a:gd name="T82" fmla="*/ 2147483646 w 960"/>
                <a:gd name="T83" fmla="*/ 2147483646 h 501"/>
                <a:gd name="T84" fmla="*/ 2147483646 w 960"/>
                <a:gd name="T85" fmla="*/ 2147483646 h 501"/>
                <a:gd name="T86" fmla="*/ 2147483646 w 960"/>
                <a:gd name="T87" fmla="*/ 2147483646 h 501"/>
                <a:gd name="T88" fmla="*/ 2147483646 w 960"/>
                <a:gd name="T89" fmla="*/ 2147483646 h 501"/>
                <a:gd name="T90" fmla="*/ 2147483646 w 960"/>
                <a:gd name="T91" fmla="*/ 2147483646 h 501"/>
                <a:gd name="T92" fmla="*/ 2147483646 w 960"/>
                <a:gd name="T93" fmla="*/ 2147483646 h 501"/>
                <a:gd name="T94" fmla="*/ 2147483646 w 960"/>
                <a:gd name="T95" fmla="*/ 2147483646 h 501"/>
                <a:gd name="T96" fmla="*/ 2147483646 w 960"/>
                <a:gd name="T97" fmla="*/ 2147483646 h 501"/>
                <a:gd name="T98" fmla="*/ 2147483646 w 960"/>
                <a:gd name="T99" fmla="*/ 2147483646 h 501"/>
                <a:gd name="T100" fmla="*/ 2147483646 w 960"/>
                <a:gd name="T101" fmla="*/ 2147483646 h 501"/>
                <a:gd name="T102" fmla="*/ 2147483646 w 960"/>
                <a:gd name="T103" fmla="*/ 2147483646 h 501"/>
                <a:gd name="T104" fmla="*/ 2147483646 w 960"/>
                <a:gd name="T105" fmla="*/ 2147483646 h 501"/>
                <a:gd name="T106" fmla="*/ 2147483646 w 960"/>
                <a:gd name="T107" fmla="*/ 2147483646 h 501"/>
                <a:gd name="T108" fmla="*/ 2147483646 w 960"/>
                <a:gd name="T109" fmla="*/ 2147483646 h 50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960" h="501">
                  <a:moveTo>
                    <a:pt x="0" y="0"/>
                  </a:moveTo>
                  <a:cubicBezTo>
                    <a:pt x="0" y="501"/>
                    <a:pt x="0" y="501"/>
                    <a:pt x="0" y="501"/>
                  </a:cubicBezTo>
                  <a:cubicBezTo>
                    <a:pt x="960" y="501"/>
                    <a:pt x="960" y="501"/>
                    <a:pt x="960" y="501"/>
                  </a:cubicBezTo>
                  <a:cubicBezTo>
                    <a:pt x="960" y="0"/>
                    <a:pt x="960" y="0"/>
                    <a:pt x="960" y="0"/>
                  </a:cubicBezTo>
                  <a:lnTo>
                    <a:pt x="0" y="0"/>
                  </a:lnTo>
                  <a:close/>
                  <a:moveTo>
                    <a:pt x="37" y="488"/>
                  </a:moveTo>
                  <a:cubicBezTo>
                    <a:pt x="25" y="488"/>
                    <a:pt x="15" y="478"/>
                    <a:pt x="15" y="466"/>
                  </a:cubicBezTo>
                  <a:cubicBezTo>
                    <a:pt x="15" y="453"/>
                    <a:pt x="25" y="443"/>
                    <a:pt x="37" y="443"/>
                  </a:cubicBezTo>
                  <a:cubicBezTo>
                    <a:pt x="50" y="443"/>
                    <a:pt x="60" y="453"/>
                    <a:pt x="60" y="466"/>
                  </a:cubicBezTo>
                  <a:cubicBezTo>
                    <a:pt x="60" y="478"/>
                    <a:pt x="50" y="488"/>
                    <a:pt x="37" y="488"/>
                  </a:cubicBezTo>
                  <a:close/>
                  <a:moveTo>
                    <a:pt x="37" y="432"/>
                  </a:moveTo>
                  <a:cubicBezTo>
                    <a:pt x="25" y="432"/>
                    <a:pt x="15" y="422"/>
                    <a:pt x="15" y="410"/>
                  </a:cubicBezTo>
                  <a:cubicBezTo>
                    <a:pt x="15" y="398"/>
                    <a:pt x="25" y="388"/>
                    <a:pt x="37" y="388"/>
                  </a:cubicBezTo>
                  <a:cubicBezTo>
                    <a:pt x="50" y="388"/>
                    <a:pt x="60" y="398"/>
                    <a:pt x="60" y="410"/>
                  </a:cubicBezTo>
                  <a:cubicBezTo>
                    <a:pt x="60" y="422"/>
                    <a:pt x="50" y="432"/>
                    <a:pt x="37" y="432"/>
                  </a:cubicBezTo>
                  <a:close/>
                  <a:moveTo>
                    <a:pt x="37" y="377"/>
                  </a:moveTo>
                  <a:cubicBezTo>
                    <a:pt x="25" y="377"/>
                    <a:pt x="15" y="367"/>
                    <a:pt x="15" y="355"/>
                  </a:cubicBezTo>
                  <a:cubicBezTo>
                    <a:pt x="15" y="342"/>
                    <a:pt x="25" y="333"/>
                    <a:pt x="37" y="333"/>
                  </a:cubicBezTo>
                  <a:cubicBezTo>
                    <a:pt x="50" y="333"/>
                    <a:pt x="60" y="342"/>
                    <a:pt x="60" y="355"/>
                  </a:cubicBezTo>
                  <a:cubicBezTo>
                    <a:pt x="60" y="367"/>
                    <a:pt x="50" y="377"/>
                    <a:pt x="37" y="377"/>
                  </a:cubicBezTo>
                  <a:close/>
                  <a:moveTo>
                    <a:pt x="37" y="322"/>
                  </a:moveTo>
                  <a:cubicBezTo>
                    <a:pt x="25" y="322"/>
                    <a:pt x="15" y="312"/>
                    <a:pt x="15" y="299"/>
                  </a:cubicBezTo>
                  <a:cubicBezTo>
                    <a:pt x="15" y="287"/>
                    <a:pt x="25" y="277"/>
                    <a:pt x="37" y="277"/>
                  </a:cubicBezTo>
                  <a:cubicBezTo>
                    <a:pt x="50" y="277"/>
                    <a:pt x="60" y="287"/>
                    <a:pt x="60" y="299"/>
                  </a:cubicBezTo>
                  <a:cubicBezTo>
                    <a:pt x="60" y="312"/>
                    <a:pt x="50" y="322"/>
                    <a:pt x="37" y="322"/>
                  </a:cubicBezTo>
                  <a:close/>
                  <a:moveTo>
                    <a:pt x="37" y="266"/>
                  </a:moveTo>
                  <a:cubicBezTo>
                    <a:pt x="25" y="266"/>
                    <a:pt x="15" y="256"/>
                    <a:pt x="15" y="244"/>
                  </a:cubicBezTo>
                  <a:cubicBezTo>
                    <a:pt x="15" y="232"/>
                    <a:pt x="25" y="222"/>
                    <a:pt x="37" y="222"/>
                  </a:cubicBezTo>
                  <a:cubicBezTo>
                    <a:pt x="50" y="222"/>
                    <a:pt x="60" y="232"/>
                    <a:pt x="60" y="244"/>
                  </a:cubicBezTo>
                  <a:cubicBezTo>
                    <a:pt x="60" y="256"/>
                    <a:pt x="50" y="266"/>
                    <a:pt x="37" y="266"/>
                  </a:cubicBezTo>
                  <a:close/>
                  <a:moveTo>
                    <a:pt x="37" y="211"/>
                  </a:moveTo>
                  <a:cubicBezTo>
                    <a:pt x="25" y="211"/>
                    <a:pt x="15" y="201"/>
                    <a:pt x="15" y="189"/>
                  </a:cubicBezTo>
                  <a:cubicBezTo>
                    <a:pt x="15" y="176"/>
                    <a:pt x="25" y="166"/>
                    <a:pt x="37" y="166"/>
                  </a:cubicBezTo>
                  <a:cubicBezTo>
                    <a:pt x="50" y="166"/>
                    <a:pt x="60" y="176"/>
                    <a:pt x="60" y="189"/>
                  </a:cubicBezTo>
                  <a:cubicBezTo>
                    <a:pt x="60" y="201"/>
                    <a:pt x="50" y="211"/>
                    <a:pt x="37" y="211"/>
                  </a:cubicBezTo>
                  <a:close/>
                  <a:moveTo>
                    <a:pt x="93" y="488"/>
                  </a:moveTo>
                  <a:cubicBezTo>
                    <a:pt x="80" y="488"/>
                    <a:pt x="70" y="478"/>
                    <a:pt x="70" y="466"/>
                  </a:cubicBezTo>
                  <a:cubicBezTo>
                    <a:pt x="70" y="453"/>
                    <a:pt x="80" y="443"/>
                    <a:pt x="93" y="443"/>
                  </a:cubicBezTo>
                  <a:cubicBezTo>
                    <a:pt x="105" y="443"/>
                    <a:pt x="115" y="453"/>
                    <a:pt x="115" y="466"/>
                  </a:cubicBezTo>
                  <a:cubicBezTo>
                    <a:pt x="115" y="478"/>
                    <a:pt x="105" y="488"/>
                    <a:pt x="93" y="488"/>
                  </a:cubicBezTo>
                  <a:close/>
                  <a:moveTo>
                    <a:pt x="93" y="432"/>
                  </a:moveTo>
                  <a:cubicBezTo>
                    <a:pt x="80" y="432"/>
                    <a:pt x="70" y="422"/>
                    <a:pt x="70" y="410"/>
                  </a:cubicBezTo>
                  <a:cubicBezTo>
                    <a:pt x="70" y="398"/>
                    <a:pt x="80" y="388"/>
                    <a:pt x="93" y="388"/>
                  </a:cubicBezTo>
                  <a:cubicBezTo>
                    <a:pt x="105" y="388"/>
                    <a:pt x="115" y="398"/>
                    <a:pt x="115" y="410"/>
                  </a:cubicBezTo>
                  <a:cubicBezTo>
                    <a:pt x="115" y="422"/>
                    <a:pt x="105" y="432"/>
                    <a:pt x="93" y="432"/>
                  </a:cubicBezTo>
                  <a:close/>
                  <a:moveTo>
                    <a:pt x="93" y="377"/>
                  </a:moveTo>
                  <a:cubicBezTo>
                    <a:pt x="80" y="377"/>
                    <a:pt x="70" y="367"/>
                    <a:pt x="70" y="355"/>
                  </a:cubicBezTo>
                  <a:cubicBezTo>
                    <a:pt x="70" y="342"/>
                    <a:pt x="80" y="333"/>
                    <a:pt x="93" y="333"/>
                  </a:cubicBezTo>
                  <a:cubicBezTo>
                    <a:pt x="105" y="333"/>
                    <a:pt x="115" y="342"/>
                    <a:pt x="115" y="355"/>
                  </a:cubicBezTo>
                  <a:cubicBezTo>
                    <a:pt x="115" y="367"/>
                    <a:pt x="105" y="377"/>
                    <a:pt x="93" y="377"/>
                  </a:cubicBezTo>
                  <a:close/>
                  <a:moveTo>
                    <a:pt x="93" y="322"/>
                  </a:moveTo>
                  <a:cubicBezTo>
                    <a:pt x="80" y="322"/>
                    <a:pt x="70" y="312"/>
                    <a:pt x="70" y="299"/>
                  </a:cubicBezTo>
                  <a:cubicBezTo>
                    <a:pt x="70" y="287"/>
                    <a:pt x="80" y="277"/>
                    <a:pt x="93" y="277"/>
                  </a:cubicBezTo>
                  <a:cubicBezTo>
                    <a:pt x="105" y="277"/>
                    <a:pt x="115" y="287"/>
                    <a:pt x="115" y="299"/>
                  </a:cubicBezTo>
                  <a:cubicBezTo>
                    <a:pt x="115" y="312"/>
                    <a:pt x="105" y="322"/>
                    <a:pt x="93" y="322"/>
                  </a:cubicBezTo>
                  <a:close/>
                  <a:moveTo>
                    <a:pt x="148" y="432"/>
                  </a:moveTo>
                  <a:cubicBezTo>
                    <a:pt x="136" y="432"/>
                    <a:pt x="126" y="422"/>
                    <a:pt x="126" y="410"/>
                  </a:cubicBezTo>
                  <a:cubicBezTo>
                    <a:pt x="126" y="398"/>
                    <a:pt x="136" y="388"/>
                    <a:pt x="148" y="388"/>
                  </a:cubicBezTo>
                  <a:cubicBezTo>
                    <a:pt x="160" y="388"/>
                    <a:pt x="170" y="398"/>
                    <a:pt x="170" y="410"/>
                  </a:cubicBezTo>
                  <a:cubicBezTo>
                    <a:pt x="170" y="422"/>
                    <a:pt x="160" y="432"/>
                    <a:pt x="148" y="432"/>
                  </a:cubicBezTo>
                  <a:close/>
                  <a:moveTo>
                    <a:pt x="204" y="488"/>
                  </a:moveTo>
                  <a:cubicBezTo>
                    <a:pt x="191" y="488"/>
                    <a:pt x="181" y="478"/>
                    <a:pt x="181" y="466"/>
                  </a:cubicBezTo>
                  <a:cubicBezTo>
                    <a:pt x="181" y="453"/>
                    <a:pt x="191" y="443"/>
                    <a:pt x="204" y="443"/>
                  </a:cubicBezTo>
                  <a:cubicBezTo>
                    <a:pt x="216" y="443"/>
                    <a:pt x="226" y="453"/>
                    <a:pt x="226" y="466"/>
                  </a:cubicBezTo>
                  <a:cubicBezTo>
                    <a:pt x="226" y="478"/>
                    <a:pt x="216" y="488"/>
                    <a:pt x="204" y="488"/>
                  </a:cubicBezTo>
                  <a:close/>
                  <a:moveTo>
                    <a:pt x="204" y="432"/>
                  </a:moveTo>
                  <a:cubicBezTo>
                    <a:pt x="191" y="432"/>
                    <a:pt x="181" y="422"/>
                    <a:pt x="181" y="410"/>
                  </a:cubicBezTo>
                  <a:cubicBezTo>
                    <a:pt x="181" y="398"/>
                    <a:pt x="191" y="388"/>
                    <a:pt x="204" y="388"/>
                  </a:cubicBezTo>
                  <a:cubicBezTo>
                    <a:pt x="216" y="388"/>
                    <a:pt x="226" y="398"/>
                    <a:pt x="226" y="410"/>
                  </a:cubicBezTo>
                  <a:cubicBezTo>
                    <a:pt x="226" y="422"/>
                    <a:pt x="216" y="432"/>
                    <a:pt x="204" y="432"/>
                  </a:cubicBezTo>
                  <a:close/>
                  <a:moveTo>
                    <a:pt x="259" y="432"/>
                  </a:moveTo>
                  <a:cubicBezTo>
                    <a:pt x="247" y="432"/>
                    <a:pt x="237" y="422"/>
                    <a:pt x="237" y="410"/>
                  </a:cubicBezTo>
                  <a:cubicBezTo>
                    <a:pt x="237" y="398"/>
                    <a:pt x="247" y="388"/>
                    <a:pt x="259" y="388"/>
                  </a:cubicBezTo>
                  <a:cubicBezTo>
                    <a:pt x="271" y="388"/>
                    <a:pt x="281" y="398"/>
                    <a:pt x="281" y="410"/>
                  </a:cubicBezTo>
                  <a:cubicBezTo>
                    <a:pt x="281" y="422"/>
                    <a:pt x="271" y="432"/>
                    <a:pt x="259" y="432"/>
                  </a:cubicBezTo>
                  <a:close/>
                  <a:moveTo>
                    <a:pt x="314" y="488"/>
                  </a:moveTo>
                  <a:cubicBezTo>
                    <a:pt x="302" y="488"/>
                    <a:pt x="292" y="478"/>
                    <a:pt x="292" y="466"/>
                  </a:cubicBezTo>
                  <a:cubicBezTo>
                    <a:pt x="292" y="453"/>
                    <a:pt x="302" y="443"/>
                    <a:pt x="314" y="443"/>
                  </a:cubicBezTo>
                  <a:cubicBezTo>
                    <a:pt x="327" y="443"/>
                    <a:pt x="337" y="453"/>
                    <a:pt x="337" y="466"/>
                  </a:cubicBezTo>
                  <a:cubicBezTo>
                    <a:pt x="337" y="478"/>
                    <a:pt x="327" y="488"/>
                    <a:pt x="314" y="488"/>
                  </a:cubicBezTo>
                  <a:close/>
                  <a:moveTo>
                    <a:pt x="314" y="432"/>
                  </a:moveTo>
                  <a:cubicBezTo>
                    <a:pt x="302" y="432"/>
                    <a:pt x="292" y="422"/>
                    <a:pt x="292" y="410"/>
                  </a:cubicBezTo>
                  <a:cubicBezTo>
                    <a:pt x="292" y="398"/>
                    <a:pt x="302" y="388"/>
                    <a:pt x="314" y="388"/>
                  </a:cubicBezTo>
                  <a:cubicBezTo>
                    <a:pt x="327" y="388"/>
                    <a:pt x="337" y="398"/>
                    <a:pt x="337" y="410"/>
                  </a:cubicBezTo>
                  <a:cubicBezTo>
                    <a:pt x="337" y="422"/>
                    <a:pt x="327" y="432"/>
                    <a:pt x="314" y="432"/>
                  </a:cubicBezTo>
                  <a:close/>
                  <a:moveTo>
                    <a:pt x="314" y="377"/>
                  </a:moveTo>
                  <a:cubicBezTo>
                    <a:pt x="302" y="377"/>
                    <a:pt x="292" y="367"/>
                    <a:pt x="292" y="355"/>
                  </a:cubicBezTo>
                  <a:cubicBezTo>
                    <a:pt x="292" y="342"/>
                    <a:pt x="302" y="333"/>
                    <a:pt x="314" y="333"/>
                  </a:cubicBezTo>
                  <a:cubicBezTo>
                    <a:pt x="327" y="333"/>
                    <a:pt x="337" y="342"/>
                    <a:pt x="337" y="355"/>
                  </a:cubicBezTo>
                  <a:cubicBezTo>
                    <a:pt x="337" y="367"/>
                    <a:pt x="327" y="377"/>
                    <a:pt x="314" y="377"/>
                  </a:cubicBezTo>
                  <a:close/>
                  <a:moveTo>
                    <a:pt x="314" y="322"/>
                  </a:moveTo>
                  <a:cubicBezTo>
                    <a:pt x="302" y="322"/>
                    <a:pt x="292" y="312"/>
                    <a:pt x="292" y="299"/>
                  </a:cubicBezTo>
                  <a:cubicBezTo>
                    <a:pt x="292" y="287"/>
                    <a:pt x="302" y="277"/>
                    <a:pt x="314" y="277"/>
                  </a:cubicBezTo>
                  <a:cubicBezTo>
                    <a:pt x="327" y="277"/>
                    <a:pt x="337" y="287"/>
                    <a:pt x="337" y="299"/>
                  </a:cubicBezTo>
                  <a:cubicBezTo>
                    <a:pt x="337" y="312"/>
                    <a:pt x="327" y="322"/>
                    <a:pt x="314" y="322"/>
                  </a:cubicBezTo>
                  <a:close/>
                  <a:moveTo>
                    <a:pt x="370" y="432"/>
                  </a:moveTo>
                  <a:cubicBezTo>
                    <a:pt x="357" y="432"/>
                    <a:pt x="348" y="422"/>
                    <a:pt x="348" y="410"/>
                  </a:cubicBezTo>
                  <a:cubicBezTo>
                    <a:pt x="348" y="398"/>
                    <a:pt x="357" y="388"/>
                    <a:pt x="370" y="388"/>
                  </a:cubicBezTo>
                  <a:cubicBezTo>
                    <a:pt x="382" y="388"/>
                    <a:pt x="392" y="398"/>
                    <a:pt x="392" y="410"/>
                  </a:cubicBezTo>
                  <a:cubicBezTo>
                    <a:pt x="392" y="422"/>
                    <a:pt x="382" y="432"/>
                    <a:pt x="370" y="432"/>
                  </a:cubicBezTo>
                  <a:close/>
                  <a:moveTo>
                    <a:pt x="370" y="377"/>
                  </a:moveTo>
                  <a:cubicBezTo>
                    <a:pt x="357" y="377"/>
                    <a:pt x="348" y="367"/>
                    <a:pt x="348" y="355"/>
                  </a:cubicBezTo>
                  <a:cubicBezTo>
                    <a:pt x="348" y="342"/>
                    <a:pt x="357" y="333"/>
                    <a:pt x="370" y="333"/>
                  </a:cubicBezTo>
                  <a:cubicBezTo>
                    <a:pt x="382" y="333"/>
                    <a:pt x="392" y="342"/>
                    <a:pt x="392" y="355"/>
                  </a:cubicBezTo>
                  <a:cubicBezTo>
                    <a:pt x="392" y="367"/>
                    <a:pt x="382" y="377"/>
                    <a:pt x="370" y="377"/>
                  </a:cubicBezTo>
                  <a:close/>
                  <a:moveTo>
                    <a:pt x="425" y="432"/>
                  </a:moveTo>
                  <a:cubicBezTo>
                    <a:pt x="413" y="432"/>
                    <a:pt x="403" y="422"/>
                    <a:pt x="403" y="410"/>
                  </a:cubicBezTo>
                  <a:cubicBezTo>
                    <a:pt x="403" y="398"/>
                    <a:pt x="413" y="388"/>
                    <a:pt x="425" y="388"/>
                  </a:cubicBezTo>
                  <a:cubicBezTo>
                    <a:pt x="437" y="388"/>
                    <a:pt x="447" y="398"/>
                    <a:pt x="447" y="410"/>
                  </a:cubicBezTo>
                  <a:cubicBezTo>
                    <a:pt x="447" y="422"/>
                    <a:pt x="437" y="432"/>
                    <a:pt x="425" y="432"/>
                  </a:cubicBezTo>
                  <a:close/>
                  <a:moveTo>
                    <a:pt x="425" y="377"/>
                  </a:moveTo>
                  <a:cubicBezTo>
                    <a:pt x="413" y="377"/>
                    <a:pt x="403" y="367"/>
                    <a:pt x="403" y="355"/>
                  </a:cubicBezTo>
                  <a:cubicBezTo>
                    <a:pt x="403" y="342"/>
                    <a:pt x="413" y="333"/>
                    <a:pt x="425" y="333"/>
                  </a:cubicBezTo>
                  <a:cubicBezTo>
                    <a:pt x="437" y="333"/>
                    <a:pt x="447" y="342"/>
                    <a:pt x="447" y="355"/>
                  </a:cubicBezTo>
                  <a:cubicBezTo>
                    <a:pt x="447" y="367"/>
                    <a:pt x="437" y="377"/>
                    <a:pt x="425" y="377"/>
                  </a:cubicBezTo>
                  <a:close/>
                  <a:moveTo>
                    <a:pt x="425" y="322"/>
                  </a:moveTo>
                  <a:cubicBezTo>
                    <a:pt x="413" y="322"/>
                    <a:pt x="403" y="312"/>
                    <a:pt x="403" y="299"/>
                  </a:cubicBezTo>
                  <a:cubicBezTo>
                    <a:pt x="403" y="287"/>
                    <a:pt x="413" y="277"/>
                    <a:pt x="425" y="277"/>
                  </a:cubicBezTo>
                  <a:cubicBezTo>
                    <a:pt x="437" y="277"/>
                    <a:pt x="447" y="287"/>
                    <a:pt x="447" y="299"/>
                  </a:cubicBezTo>
                  <a:cubicBezTo>
                    <a:pt x="447" y="312"/>
                    <a:pt x="437" y="322"/>
                    <a:pt x="425" y="322"/>
                  </a:cubicBezTo>
                  <a:close/>
                  <a:moveTo>
                    <a:pt x="481" y="488"/>
                  </a:moveTo>
                  <a:cubicBezTo>
                    <a:pt x="468" y="488"/>
                    <a:pt x="458" y="478"/>
                    <a:pt x="458" y="466"/>
                  </a:cubicBezTo>
                  <a:cubicBezTo>
                    <a:pt x="458" y="453"/>
                    <a:pt x="468" y="443"/>
                    <a:pt x="481" y="443"/>
                  </a:cubicBezTo>
                  <a:cubicBezTo>
                    <a:pt x="493" y="443"/>
                    <a:pt x="503" y="453"/>
                    <a:pt x="503" y="466"/>
                  </a:cubicBezTo>
                  <a:cubicBezTo>
                    <a:pt x="503" y="478"/>
                    <a:pt x="493" y="488"/>
                    <a:pt x="481" y="488"/>
                  </a:cubicBezTo>
                  <a:close/>
                  <a:moveTo>
                    <a:pt x="481" y="432"/>
                  </a:moveTo>
                  <a:cubicBezTo>
                    <a:pt x="468" y="432"/>
                    <a:pt x="458" y="422"/>
                    <a:pt x="458" y="410"/>
                  </a:cubicBezTo>
                  <a:cubicBezTo>
                    <a:pt x="458" y="398"/>
                    <a:pt x="468" y="388"/>
                    <a:pt x="481" y="388"/>
                  </a:cubicBezTo>
                  <a:cubicBezTo>
                    <a:pt x="493" y="388"/>
                    <a:pt x="503" y="398"/>
                    <a:pt x="503" y="410"/>
                  </a:cubicBezTo>
                  <a:cubicBezTo>
                    <a:pt x="503" y="422"/>
                    <a:pt x="493" y="432"/>
                    <a:pt x="481" y="432"/>
                  </a:cubicBezTo>
                  <a:close/>
                  <a:moveTo>
                    <a:pt x="481" y="377"/>
                  </a:moveTo>
                  <a:cubicBezTo>
                    <a:pt x="468" y="377"/>
                    <a:pt x="458" y="367"/>
                    <a:pt x="458" y="355"/>
                  </a:cubicBezTo>
                  <a:cubicBezTo>
                    <a:pt x="458" y="342"/>
                    <a:pt x="468" y="333"/>
                    <a:pt x="481" y="333"/>
                  </a:cubicBezTo>
                  <a:cubicBezTo>
                    <a:pt x="493" y="333"/>
                    <a:pt x="503" y="342"/>
                    <a:pt x="503" y="355"/>
                  </a:cubicBezTo>
                  <a:cubicBezTo>
                    <a:pt x="503" y="367"/>
                    <a:pt x="493" y="377"/>
                    <a:pt x="481" y="377"/>
                  </a:cubicBezTo>
                  <a:close/>
                  <a:moveTo>
                    <a:pt x="536" y="488"/>
                  </a:moveTo>
                  <a:cubicBezTo>
                    <a:pt x="524" y="488"/>
                    <a:pt x="514" y="478"/>
                    <a:pt x="514" y="466"/>
                  </a:cubicBezTo>
                  <a:cubicBezTo>
                    <a:pt x="514" y="453"/>
                    <a:pt x="524" y="443"/>
                    <a:pt x="536" y="443"/>
                  </a:cubicBezTo>
                  <a:cubicBezTo>
                    <a:pt x="548" y="443"/>
                    <a:pt x="558" y="453"/>
                    <a:pt x="558" y="466"/>
                  </a:cubicBezTo>
                  <a:cubicBezTo>
                    <a:pt x="558" y="478"/>
                    <a:pt x="548" y="488"/>
                    <a:pt x="536" y="488"/>
                  </a:cubicBezTo>
                  <a:close/>
                  <a:moveTo>
                    <a:pt x="536" y="432"/>
                  </a:moveTo>
                  <a:cubicBezTo>
                    <a:pt x="524" y="432"/>
                    <a:pt x="514" y="422"/>
                    <a:pt x="514" y="410"/>
                  </a:cubicBezTo>
                  <a:cubicBezTo>
                    <a:pt x="514" y="398"/>
                    <a:pt x="524" y="388"/>
                    <a:pt x="536" y="388"/>
                  </a:cubicBezTo>
                  <a:cubicBezTo>
                    <a:pt x="548" y="388"/>
                    <a:pt x="558" y="398"/>
                    <a:pt x="558" y="410"/>
                  </a:cubicBezTo>
                  <a:cubicBezTo>
                    <a:pt x="558" y="422"/>
                    <a:pt x="548" y="432"/>
                    <a:pt x="536" y="432"/>
                  </a:cubicBezTo>
                  <a:close/>
                  <a:moveTo>
                    <a:pt x="536" y="377"/>
                  </a:moveTo>
                  <a:cubicBezTo>
                    <a:pt x="524" y="377"/>
                    <a:pt x="514" y="367"/>
                    <a:pt x="514" y="355"/>
                  </a:cubicBezTo>
                  <a:cubicBezTo>
                    <a:pt x="514" y="342"/>
                    <a:pt x="524" y="333"/>
                    <a:pt x="536" y="333"/>
                  </a:cubicBezTo>
                  <a:cubicBezTo>
                    <a:pt x="548" y="333"/>
                    <a:pt x="558" y="342"/>
                    <a:pt x="558" y="355"/>
                  </a:cubicBezTo>
                  <a:cubicBezTo>
                    <a:pt x="558" y="367"/>
                    <a:pt x="548" y="377"/>
                    <a:pt x="536" y="377"/>
                  </a:cubicBezTo>
                  <a:close/>
                  <a:moveTo>
                    <a:pt x="591" y="488"/>
                  </a:moveTo>
                  <a:cubicBezTo>
                    <a:pt x="579" y="488"/>
                    <a:pt x="569" y="478"/>
                    <a:pt x="569" y="466"/>
                  </a:cubicBezTo>
                  <a:cubicBezTo>
                    <a:pt x="569" y="453"/>
                    <a:pt x="579" y="443"/>
                    <a:pt x="591" y="443"/>
                  </a:cubicBezTo>
                  <a:cubicBezTo>
                    <a:pt x="604" y="443"/>
                    <a:pt x="614" y="453"/>
                    <a:pt x="614" y="466"/>
                  </a:cubicBezTo>
                  <a:cubicBezTo>
                    <a:pt x="614" y="478"/>
                    <a:pt x="604" y="488"/>
                    <a:pt x="591" y="488"/>
                  </a:cubicBezTo>
                  <a:close/>
                  <a:moveTo>
                    <a:pt x="591" y="432"/>
                  </a:moveTo>
                  <a:cubicBezTo>
                    <a:pt x="579" y="432"/>
                    <a:pt x="569" y="422"/>
                    <a:pt x="569" y="410"/>
                  </a:cubicBezTo>
                  <a:cubicBezTo>
                    <a:pt x="569" y="398"/>
                    <a:pt x="579" y="388"/>
                    <a:pt x="591" y="388"/>
                  </a:cubicBezTo>
                  <a:cubicBezTo>
                    <a:pt x="604" y="388"/>
                    <a:pt x="614" y="398"/>
                    <a:pt x="614" y="410"/>
                  </a:cubicBezTo>
                  <a:cubicBezTo>
                    <a:pt x="614" y="422"/>
                    <a:pt x="604" y="432"/>
                    <a:pt x="591" y="432"/>
                  </a:cubicBezTo>
                  <a:close/>
                  <a:moveTo>
                    <a:pt x="591" y="377"/>
                  </a:moveTo>
                  <a:cubicBezTo>
                    <a:pt x="579" y="377"/>
                    <a:pt x="569" y="367"/>
                    <a:pt x="569" y="355"/>
                  </a:cubicBezTo>
                  <a:cubicBezTo>
                    <a:pt x="569" y="342"/>
                    <a:pt x="579" y="333"/>
                    <a:pt x="591" y="333"/>
                  </a:cubicBezTo>
                  <a:cubicBezTo>
                    <a:pt x="604" y="333"/>
                    <a:pt x="614" y="342"/>
                    <a:pt x="614" y="355"/>
                  </a:cubicBezTo>
                  <a:cubicBezTo>
                    <a:pt x="614" y="367"/>
                    <a:pt x="604" y="377"/>
                    <a:pt x="591" y="377"/>
                  </a:cubicBezTo>
                  <a:close/>
                  <a:moveTo>
                    <a:pt x="591" y="322"/>
                  </a:moveTo>
                  <a:cubicBezTo>
                    <a:pt x="579" y="322"/>
                    <a:pt x="569" y="312"/>
                    <a:pt x="569" y="299"/>
                  </a:cubicBezTo>
                  <a:cubicBezTo>
                    <a:pt x="569" y="287"/>
                    <a:pt x="579" y="277"/>
                    <a:pt x="591" y="277"/>
                  </a:cubicBezTo>
                  <a:cubicBezTo>
                    <a:pt x="604" y="277"/>
                    <a:pt x="614" y="287"/>
                    <a:pt x="614" y="299"/>
                  </a:cubicBezTo>
                  <a:cubicBezTo>
                    <a:pt x="614" y="312"/>
                    <a:pt x="604" y="322"/>
                    <a:pt x="591" y="322"/>
                  </a:cubicBezTo>
                  <a:close/>
                  <a:moveTo>
                    <a:pt x="647" y="488"/>
                  </a:moveTo>
                  <a:cubicBezTo>
                    <a:pt x="635" y="488"/>
                    <a:pt x="625" y="478"/>
                    <a:pt x="625" y="466"/>
                  </a:cubicBezTo>
                  <a:cubicBezTo>
                    <a:pt x="625" y="453"/>
                    <a:pt x="635" y="443"/>
                    <a:pt x="647" y="443"/>
                  </a:cubicBezTo>
                  <a:cubicBezTo>
                    <a:pt x="659" y="443"/>
                    <a:pt x="669" y="453"/>
                    <a:pt x="669" y="466"/>
                  </a:cubicBezTo>
                  <a:cubicBezTo>
                    <a:pt x="669" y="478"/>
                    <a:pt x="659" y="488"/>
                    <a:pt x="647" y="488"/>
                  </a:cubicBezTo>
                  <a:close/>
                  <a:moveTo>
                    <a:pt x="647" y="432"/>
                  </a:moveTo>
                  <a:cubicBezTo>
                    <a:pt x="635" y="432"/>
                    <a:pt x="625" y="422"/>
                    <a:pt x="625" y="410"/>
                  </a:cubicBezTo>
                  <a:cubicBezTo>
                    <a:pt x="625" y="398"/>
                    <a:pt x="635" y="388"/>
                    <a:pt x="647" y="388"/>
                  </a:cubicBezTo>
                  <a:cubicBezTo>
                    <a:pt x="659" y="388"/>
                    <a:pt x="669" y="398"/>
                    <a:pt x="669" y="410"/>
                  </a:cubicBezTo>
                  <a:cubicBezTo>
                    <a:pt x="669" y="422"/>
                    <a:pt x="659" y="432"/>
                    <a:pt x="647" y="432"/>
                  </a:cubicBezTo>
                  <a:close/>
                  <a:moveTo>
                    <a:pt x="647" y="377"/>
                  </a:moveTo>
                  <a:cubicBezTo>
                    <a:pt x="635" y="377"/>
                    <a:pt x="625" y="367"/>
                    <a:pt x="625" y="355"/>
                  </a:cubicBezTo>
                  <a:cubicBezTo>
                    <a:pt x="625" y="342"/>
                    <a:pt x="635" y="333"/>
                    <a:pt x="647" y="333"/>
                  </a:cubicBezTo>
                  <a:cubicBezTo>
                    <a:pt x="659" y="333"/>
                    <a:pt x="669" y="342"/>
                    <a:pt x="669" y="355"/>
                  </a:cubicBezTo>
                  <a:cubicBezTo>
                    <a:pt x="669" y="367"/>
                    <a:pt x="659" y="377"/>
                    <a:pt x="647" y="377"/>
                  </a:cubicBezTo>
                  <a:close/>
                  <a:moveTo>
                    <a:pt x="647" y="322"/>
                  </a:moveTo>
                  <a:cubicBezTo>
                    <a:pt x="635" y="322"/>
                    <a:pt x="625" y="312"/>
                    <a:pt x="625" y="299"/>
                  </a:cubicBezTo>
                  <a:cubicBezTo>
                    <a:pt x="625" y="287"/>
                    <a:pt x="635" y="277"/>
                    <a:pt x="647" y="277"/>
                  </a:cubicBezTo>
                  <a:cubicBezTo>
                    <a:pt x="659" y="277"/>
                    <a:pt x="669" y="287"/>
                    <a:pt x="669" y="299"/>
                  </a:cubicBezTo>
                  <a:cubicBezTo>
                    <a:pt x="669" y="312"/>
                    <a:pt x="659" y="322"/>
                    <a:pt x="647" y="322"/>
                  </a:cubicBezTo>
                  <a:close/>
                  <a:moveTo>
                    <a:pt x="647" y="266"/>
                  </a:moveTo>
                  <a:cubicBezTo>
                    <a:pt x="635" y="266"/>
                    <a:pt x="625" y="256"/>
                    <a:pt x="625" y="244"/>
                  </a:cubicBezTo>
                  <a:cubicBezTo>
                    <a:pt x="625" y="232"/>
                    <a:pt x="635" y="222"/>
                    <a:pt x="647" y="222"/>
                  </a:cubicBezTo>
                  <a:cubicBezTo>
                    <a:pt x="659" y="222"/>
                    <a:pt x="669" y="232"/>
                    <a:pt x="669" y="244"/>
                  </a:cubicBezTo>
                  <a:cubicBezTo>
                    <a:pt x="669" y="256"/>
                    <a:pt x="659" y="266"/>
                    <a:pt x="647" y="266"/>
                  </a:cubicBezTo>
                  <a:close/>
                  <a:moveTo>
                    <a:pt x="702" y="432"/>
                  </a:moveTo>
                  <a:cubicBezTo>
                    <a:pt x="690" y="432"/>
                    <a:pt x="680" y="422"/>
                    <a:pt x="680" y="410"/>
                  </a:cubicBezTo>
                  <a:cubicBezTo>
                    <a:pt x="680" y="398"/>
                    <a:pt x="690" y="388"/>
                    <a:pt x="702" y="388"/>
                  </a:cubicBezTo>
                  <a:cubicBezTo>
                    <a:pt x="714" y="388"/>
                    <a:pt x="724" y="398"/>
                    <a:pt x="724" y="410"/>
                  </a:cubicBezTo>
                  <a:cubicBezTo>
                    <a:pt x="724" y="422"/>
                    <a:pt x="714" y="432"/>
                    <a:pt x="702" y="432"/>
                  </a:cubicBezTo>
                  <a:close/>
                  <a:moveTo>
                    <a:pt x="702" y="377"/>
                  </a:moveTo>
                  <a:cubicBezTo>
                    <a:pt x="690" y="377"/>
                    <a:pt x="680" y="367"/>
                    <a:pt x="680" y="355"/>
                  </a:cubicBezTo>
                  <a:cubicBezTo>
                    <a:pt x="680" y="342"/>
                    <a:pt x="690" y="333"/>
                    <a:pt x="702" y="333"/>
                  </a:cubicBezTo>
                  <a:cubicBezTo>
                    <a:pt x="714" y="333"/>
                    <a:pt x="724" y="342"/>
                    <a:pt x="724" y="355"/>
                  </a:cubicBezTo>
                  <a:cubicBezTo>
                    <a:pt x="724" y="367"/>
                    <a:pt x="714" y="377"/>
                    <a:pt x="702" y="377"/>
                  </a:cubicBezTo>
                  <a:close/>
                  <a:moveTo>
                    <a:pt x="758" y="488"/>
                  </a:moveTo>
                  <a:cubicBezTo>
                    <a:pt x="745" y="488"/>
                    <a:pt x="735" y="478"/>
                    <a:pt x="735" y="466"/>
                  </a:cubicBezTo>
                  <a:cubicBezTo>
                    <a:pt x="735" y="453"/>
                    <a:pt x="745" y="443"/>
                    <a:pt x="758" y="443"/>
                  </a:cubicBezTo>
                  <a:cubicBezTo>
                    <a:pt x="770" y="443"/>
                    <a:pt x="780" y="453"/>
                    <a:pt x="780" y="466"/>
                  </a:cubicBezTo>
                  <a:cubicBezTo>
                    <a:pt x="780" y="478"/>
                    <a:pt x="770" y="488"/>
                    <a:pt x="758" y="488"/>
                  </a:cubicBezTo>
                  <a:close/>
                  <a:moveTo>
                    <a:pt x="758" y="432"/>
                  </a:moveTo>
                  <a:cubicBezTo>
                    <a:pt x="745" y="432"/>
                    <a:pt x="735" y="422"/>
                    <a:pt x="735" y="410"/>
                  </a:cubicBezTo>
                  <a:cubicBezTo>
                    <a:pt x="735" y="398"/>
                    <a:pt x="745" y="388"/>
                    <a:pt x="758" y="388"/>
                  </a:cubicBezTo>
                  <a:cubicBezTo>
                    <a:pt x="770" y="388"/>
                    <a:pt x="780" y="398"/>
                    <a:pt x="780" y="410"/>
                  </a:cubicBezTo>
                  <a:cubicBezTo>
                    <a:pt x="780" y="422"/>
                    <a:pt x="770" y="432"/>
                    <a:pt x="758" y="432"/>
                  </a:cubicBezTo>
                  <a:close/>
                  <a:moveTo>
                    <a:pt x="758" y="377"/>
                  </a:moveTo>
                  <a:cubicBezTo>
                    <a:pt x="745" y="377"/>
                    <a:pt x="735" y="367"/>
                    <a:pt x="735" y="355"/>
                  </a:cubicBezTo>
                  <a:cubicBezTo>
                    <a:pt x="735" y="342"/>
                    <a:pt x="745" y="333"/>
                    <a:pt x="758" y="333"/>
                  </a:cubicBezTo>
                  <a:cubicBezTo>
                    <a:pt x="770" y="333"/>
                    <a:pt x="780" y="342"/>
                    <a:pt x="780" y="355"/>
                  </a:cubicBezTo>
                  <a:cubicBezTo>
                    <a:pt x="780" y="367"/>
                    <a:pt x="770" y="377"/>
                    <a:pt x="758" y="377"/>
                  </a:cubicBezTo>
                  <a:close/>
                  <a:moveTo>
                    <a:pt x="758" y="322"/>
                  </a:moveTo>
                  <a:cubicBezTo>
                    <a:pt x="745" y="322"/>
                    <a:pt x="735" y="312"/>
                    <a:pt x="735" y="299"/>
                  </a:cubicBezTo>
                  <a:cubicBezTo>
                    <a:pt x="735" y="287"/>
                    <a:pt x="745" y="277"/>
                    <a:pt x="758" y="277"/>
                  </a:cubicBezTo>
                  <a:cubicBezTo>
                    <a:pt x="770" y="277"/>
                    <a:pt x="780" y="287"/>
                    <a:pt x="780" y="299"/>
                  </a:cubicBezTo>
                  <a:cubicBezTo>
                    <a:pt x="780" y="312"/>
                    <a:pt x="770" y="322"/>
                    <a:pt x="758" y="322"/>
                  </a:cubicBezTo>
                  <a:close/>
                  <a:moveTo>
                    <a:pt x="758" y="266"/>
                  </a:moveTo>
                  <a:cubicBezTo>
                    <a:pt x="745" y="266"/>
                    <a:pt x="735" y="256"/>
                    <a:pt x="735" y="244"/>
                  </a:cubicBezTo>
                  <a:cubicBezTo>
                    <a:pt x="735" y="232"/>
                    <a:pt x="745" y="222"/>
                    <a:pt x="758" y="222"/>
                  </a:cubicBezTo>
                  <a:cubicBezTo>
                    <a:pt x="770" y="222"/>
                    <a:pt x="780" y="232"/>
                    <a:pt x="780" y="244"/>
                  </a:cubicBezTo>
                  <a:cubicBezTo>
                    <a:pt x="780" y="256"/>
                    <a:pt x="770" y="266"/>
                    <a:pt x="758" y="266"/>
                  </a:cubicBezTo>
                  <a:close/>
                  <a:moveTo>
                    <a:pt x="813" y="488"/>
                  </a:moveTo>
                  <a:cubicBezTo>
                    <a:pt x="801" y="488"/>
                    <a:pt x="791" y="478"/>
                    <a:pt x="791" y="466"/>
                  </a:cubicBezTo>
                  <a:cubicBezTo>
                    <a:pt x="791" y="453"/>
                    <a:pt x="801" y="443"/>
                    <a:pt x="813" y="443"/>
                  </a:cubicBezTo>
                  <a:cubicBezTo>
                    <a:pt x="825" y="443"/>
                    <a:pt x="835" y="453"/>
                    <a:pt x="835" y="466"/>
                  </a:cubicBezTo>
                  <a:cubicBezTo>
                    <a:pt x="835" y="478"/>
                    <a:pt x="825" y="488"/>
                    <a:pt x="813" y="488"/>
                  </a:cubicBezTo>
                  <a:close/>
                  <a:moveTo>
                    <a:pt x="813" y="432"/>
                  </a:moveTo>
                  <a:cubicBezTo>
                    <a:pt x="801" y="432"/>
                    <a:pt x="791" y="422"/>
                    <a:pt x="791" y="410"/>
                  </a:cubicBezTo>
                  <a:cubicBezTo>
                    <a:pt x="791" y="398"/>
                    <a:pt x="801" y="388"/>
                    <a:pt x="813" y="388"/>
                  </a:cubicBezTo>
                  <a:cubicBezTo>
                    <a:pt x="825" y="388"/>
                    <a:pt x="835" y="398"/>
                    <a:pt x="835" y="410"/>
                  </a:cubicBezTo>
                  <a:cubicBezTo>
                    <a:pt x="835" y="422"/>
                    <a:pt x="825" y="432"/>
                    <a:pt x="813" y="432"/>
                  </a:cubicBezTo>
                  <a:close/>
                  <a:moveTo>
                    <a:pt x="813" y="377"/>
                  </a:moveTo>
                  <a:cubicBezTo>
                    <a:pt x="801" y="377"/>
                    <a:pt x="791" y="367"/>
                    <a:pt x="791" y="355"/>
                  </a:cubicBezTo>
                  <a:cubicBezTo>
                    <a:pt x="791" y="342"/>
                    <a:pt x="801" y="333"/>
                    <a:pt x="813" y="333"/>
                  </a:cubicBezTo>
                  <a:cubicBezTo>
                    <a:pt x="825" y="333"/>
                    <a:pt x="835" y="342"/>
                    <a:pt x="835" y="355"/>
                  </a:cubicBezTo>
                  <a:cubicBezTo>
                    <a:pt x="835" y="367"/>
                    <a:pt x="825" y="377"/>
                    <a:pt x="813" y="377"/>
                  </a:cubicBezTo>
                  <a:close/>
                  <a:moveTo>
                    <a:pt x="813" y="322"/>
                  </a:moveTo>
                  <a:cubicBezTo>
                    <a:pt x="801" y="322"/>
                    <a:pt x="791" y="312"/>
                    <a:pt x="791" y="299"/>
                  </a:cubicBezTo>
                  <a:cubicBezTo>
                    <a:pt x="791" y="287"/>
                    <a:pt x="801" y="277"/>
                    <a:pt x="813" y="277"/>
                  </a:cubicBezTo>
                  <a:cubicBezTo>
                    <a:pt x="825" y="277"/>
                    <a:pt x="835" y="287"/>
                    <a:pt x="835" y="299"/>
                  </a:cubicBezTo>
                  <a:cubicBezTo>
                    <a:pt x="835" y="312"/>
                    <a:pt x="825" y="322"/>
                    <a:pt x="813" y="322"/>
                  </a:cubicBezTo>
                  <a:close/>
                  <a:moveTo>
                    <a:pt x="813" y="266"/>
                  </a:moveTo>
                  <a:cubicBezTo>
                    <a:pt x="801" y="266"/>
                    <a:pt x="791" y="256"/>
                    <a:pt x="791" y="244"/>
                  </a:cubicBezTo>
                  <a:cubicBezTo>
                    <a:pt x="791" y="232"/>
                    <a:pt x="801" y="222"/>
                    <a:pt x="813" y="222"/>
                  </a:cubicBezTo>
                  <a:cubicBezTo>
                    <a:pt x="825" y="222"/>
                    <a:pt x="835" y="232"/>
                    <a:pt x="835" y="244"/>
                  </a:cubicBezTo>
                  <a:cubicBezTo>
                    <a:pt x="835" y="256"/>
                    <a:pt x="825" y="266"/>
                    <a:pt x="813" y="266"/>
                  </a:cubicBezTo>
                  <a:close/>
                  <a:moveTo>
                    <a:pt x="813" y="211"/>
                  </a:moveTo>
                  <a:cubicBezTo>
                    <a:pt x="801" y="211"/>
                    <a:pt x="791" y="201"/>
                    <a:pt x="791" y="189"/>
                  </a:cubicBezTo>
                  <a:cubicBezTo>
                    <a:pt x="791" y="176"/>
                    <a:pt x="801" y="166"/>
                    <a:pt x="813" y="166"/>
                  </a:cubicBezTo>
                  <a:cubicBezTo>
                    <a:pt x="825" y="166"/>
                    <a:pt x="835" y="176"/>
                    <a:pt x="835" y="189"/>
                  </a:cubicBezTo>
                  <a:cubicBezTo>
                    <a:pt x="835" y="201"/>
                    <a:pt x="825" y="211"/>
                    <a:pt x="813" y="211"/>
                  </a:cubicBezTo>
                  <a:close/>
                  <a:moveTo>
                    <a:pt x="868" y="432"/>
                  </a:moveTo>
                  <a:cubicBezTo>
                    <a:pt x="856" y="432"/>
                    <a:pt x="846" y="422"/>
                    <a:pt x="846" y="410"/>
                  </a:cubicBezTo>
                  <a:cubicBezTo>
                    <a:pt x="846" y="398"/>
                    <a:pt x="856" y="388"/>
                    <a:pt x="868" y="388"/>
                  </a:cubicBezTo>
                  <a:cubicBezTo>
                    <a:pt x="881" y="388"/>
                    <a:pt x="891" y="398"/>
                    <a:pt x="891" y="410"/>
                  </a:cubicBezTo>
                  <a:cubicBezTo>
                    <a:pt x="891" y="422"/>
                    <a:pt x="881" y="432"/>
                    <a:pt x="868" y="432"/>
                  </a:cubicBezTo>
                  <a:close/>
                  <a:moveTo>
                    <a:pt x="924" y="488"/>
                  </a:moveTo>
                  <a:cubicBezTo>
                    <a:pt x="912" y="488"/>
                    <a:pt x="902" y="478"/>
                    <a:pt x="902" y="466"/>
                  </a:cubicBezTo>
                  <a:cubicBezTo>
                    <a:pt x="902" y="453"/>
                    <a:pt x="912" y="443"/>
                    <a:pt x="924" y="443"/>
                  </a:cubicBezTo>
                  <a:cubicBezTo>
                    <a:pt x="936" y="443"/>
                    <a:pt x="946" y="453"/>
                    <a:pt x="946" y="466"/>
                  </a:cubicBezTo>
                  <a:cubicBezTo>
                    <a:pt x="946" y="478"/>
                    <a:pt x="936" y="488"/>
                    <a:pt x="924" y="488"/>
                  </a:cubicBezTo>
                  <a:close/>
                  <a:moveTo>
                    <a:pt x="924" y="432"/>
                  </a:moveTo>
                  <a:cubicBezTo>
                    <a:pt x="912" y="432"/>
                    <a:pt x="902" y="422"/>
                    <a:pt x="902" y="410"/>
                  </a:cubicBezTo>
                  <a:cubicBezTo>
                    <a:pt x="902" y="398"/>
                    <a:pt x="912" y="388"/>
                    <a:pt x="924" y="388"/>
                  </a:cubicBezTo>
                  <a:cubicBezTo>
                    <a:pt x="936" y="388"/>
                    <a:pt x="946" y="398"/>
                    <a:pt x="946" y="410"/>
                  </a:cubicBezTo>
                  <a:cubicBezTo>
                    <a:pt x="946" y="422"/>
                    <a:pt x="936" y="432"/>
                    <a:pt x="924" y="432"/>
                  </a:cubicBezTo>
                  <a:close/>
                </a:path>
              </a:pathLst>
            </a:custGeom>
            <a:solidFill>
              <a:srgbClr val="9CAC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pic>
        <p:nvPicPr>
          <p:cNvPr id="8" name="Picture 20" descr="L_Attero_RGB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75" y="381000"/>
            <a:ext cx="1681163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133600"/>
            <a:ext cx="7772400" cy="762000"/>
          </a:xfrm>
        </p:spPr>
        <p:txBody>
          <a:bodyPr anchorCtr="1"/>
          <a:lstStyle>
            <a:lvl1pPr>
              <a:defRPr/>
            </a:lvl1pPr>
          </a:lstStyle>
          <a:p>
            <a:pPr lvl="0"/>
            <a:r>
              <a:rPr lang="nl-NL" altLang="nl-NL" noProof="0"/>
              <a:t>Klik om het opmaakprofiel te bewerken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048000"/>
            <a:ext cx="6400800" cy="838200"/>
          </a:xfrm>
        </p:spPr>
        <p:txBody>
          <a:bodyPr lIns="91440" tIns="45720" rIns="91440" bIns="45720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altLang="nl-NL" noProof="0"/>
              <a:t>Klik om het opmaakprofiel van de modelondertit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9511311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DADE0C-4B1C-4FC2-9DBB-2B379FEEFDD7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55159048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/>
          <p:cNvSpPr>
            <a:spLocks noGrp="1"/>
          </p:cNvSpPr>
          <p:nvPr>
            <p:ph type="title" orient="vert"/>
          </p:nvPr>
        </p:nvSpPr>
        <p:spPr>
          <a:xfrm>
            <a:off x="6753225" y="152400"/>
            <a:ext cx="2009775" cy="5867400"/>
          </a:xfrm>
        </p:spPr>
        <p:txBody>
          <a:bodyPr vert="eaVert"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verticale tekst 2"/>
          <p:cNvSpPr>
            <a:spLocks noGrp="1"/>
          </p:cNvSpPr>
          <p:nvPr>
            <p:ph type="body" orient="vert" idx="1"/>
          </p:nvPr>
        </p:nvSpPr>
        <p:spPr>
          <a:xfrm>
            <a:off x="719138" y="152400"/>
            <a:ext cx="5881687" cy="5867400"/>
          </a:xfrm>
        </p:spPr>
        <p:txBody>
          <a:bodyPr vert="eaVert"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0DD8D8-95D4-46A5-83C1-B4BF0299FAF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9098502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el en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043862" cy="990600"/>
          </a:xfrm>
        </p:spPr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abel 2"/>
          <p:cNvSpPr>
            <a:spLocks noGrp="1"/>
          </p:cNvSpPr>
          <p:nvPr>
            <p:ph type="tbl" idx="1"/>
          </p:nvPr>
        </p:nvSpPr>
        <p:spPr>
          <a:xfrm>
            <a:off x="719138" y="1600200"/>
            <a:ext cx="8043862" cy="4419600"/>
          </a:xfrm>
        </p:spPr>
        <p:txBody>
          <a:bodyPr/>
          <a:lstStyle/>
          <a:p>
            <a:pPr lvl="0"/>
            <a:endParaRPr lang="nl-NL" noProof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AD931E-797B-4B0D-A826-798FDF6A395C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2008575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165E1-E700-468C-BE0A-E587E33566E5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3826715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E60E93-0F6B-4DBF-BFE3-82C28194AF0F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309888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sz="half" idx="1"/>
          </p:nvPr>
        </p:nvSpPr>
        <p:spPr>
          <a:xfrm>
            <a:off x="719138" y="1600200"/>
            <a:ext cx="3944937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816475" y="1600200"/>
            <a:ext cx="3946525" cy="4419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B64025-486E-4892-86FC-8E83462B4D32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5619187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4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6" name="Tijdelijke aanduiding voor inhou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B84BE4-BDA8-4E7C-A43D-6CC05FF9D7AD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56231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42C2B3-480D-49AD-AF15-65ECF77FFA2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887652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93174A-56F9-469F-BF59-3FB47C27C52E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882030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625AFB-3487-4EE6-9E62-4620B49330AA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12713773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nl-NL"/>
              <a:t>Klik om de stijl te bewerken</a:t>
            </a:r>
          </a:p>
        </p:txBody>
      </p:sp>
      <p:sp>
        <p:nvSpPr>
          <p:cNvPr id="3" name="Tijdelijke aanduiding voor afbeelding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NL" noProof="0"/>
          </a:p>
        </p:txBody>
      </p:sp>
      <p:sp>
        <p:nvSpPr>
          <p:cNvPr id="4" name="Tijdelijke aanduiding vo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l-NL"/>
              <a:t>Klik om de modelstijlen te bewerk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BDA4ECF-D2A3-44DE-9145-1DE4A670F68B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25711763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8"/>
          <p:cNvSpPr>
            <a:spLocks noChangeArrowheads="1"/>
          </p:cNvSpPr>
          <p:nvPr userDrawn="1"/>
        </p:nvSpPr>
        <p:spPr bwMode="auto">
          <a:xfrm>
            <a:off x="0" y="0"/>
            <a:ext cx="9144000" cy="1219200"/>
          </a:xfrm>
          <a:prstGeom prst="rect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19138" y="152400"/>
            <a:ext cx="8043862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het opmaakprofiel te bewerk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19138" y="1600200"/>
            <a:ext cx="8043862" cy="441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/>
              <a:t>Klik om de opmaakprofielen van de modeltekst te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  <a:p>
            <a:pPr lvl="4"/>
            <a:r>
              <a:rPr lang="nl-NL" altLang="nl-NL"/>
              <a:t>Vijfde niveau</a:t>
            </a:r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5715000" y="6553200"/>
            <a:ext cx="11430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>
                <a:latin typeface="+mn-lt"/>
              </a:defRPr>
            </a:lvl1pPr>
          </a:lstStyle>
          <a:p>
            <a:pPr>
              <a:defRPr/>
            </a:pPr>
            <a:fld id="{9FD3816A-2997-48B3-AFDF-951CF0E339AD}" type="datetime1">
              <a:rPr lang="nl-NL" altLang="nl-NL"/>
              <a:pPr>
                <a:defRPr/>
              </a:pPr>
              <a:t>28-11-2019</a:t>
            </a:fld>
            <a:endParaRPr lang="nl-NL" altLang="nl-NL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905000" y="6553200"/>
            <a:ext cx="373380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000" b="1">
                <a:latin typeface="+mn-lt"/>
              </a:defRPr>
            </a:lvl1pPr>
          </a:lstStyle>
          <a:p>
            <a:pPr>
              <a:defRPr/>
            </a:pPr>
            <a:r>
              <a:rPr lang="nl-NL" altLang="nl-NL"/>
              <a:t>26 februari 2015</a:t>
            </a:r>
          </a:p>
        </p:txBody>
      </p:sp>
      <p:sp>
        <p:nvSpPr>
          <p:cNvPr id="1031" name="Oval 9"/>
          <p:cNvSpPr>
            <a:spLocks noChangeArrowheads="1"/>
          </p:cNvSpPr>
          <p:nvPr userDrawn="1"/>
        </p:nvSpPr>
        <p:spPr bwMode="auto">
          <a:xfrm>
            <a:off x="76200" y="6500813"/>
            <a:ext cx="284163" cy="280987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2" name="Oval 10"/>
          <p:cNvSpPr>
            <a:spLocks noChangeArrowheads="1"/>
          </p:cNvSpPr>
          <p:nvPr userDrawn="1"/>
        </p:nvSpPr>
        <p:spPr bwMode="auto">
          <a:xfrm>
            <a:off x="409575" y="6500813"/>
            <a:ext cx="280988" cy="280987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3" name="Oval 11"/>
          <p:cNvSpPr>
            <a:spLocks noChangeArrowheads="1"/>
          </p:cNvSpPr>
          <p:nvPr userDrawn="1"/>
        </p:nvSpPr>
        <p:spPr bwMode="auto">
          <a:xfrm>
            <a:off x="741363" y="6500813"/>
            <a:ext cx="282575" cy="280987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4" name="Oval 12"/>
          <p:cNvSpPr>
            <a:spLocks noChangeArrowheads="1"/>
          </p:cNvSpPr>
          <p:nvPr userDrawn="1"/>
        </p:nvSpPr>
        <p:spPr bwMode="auto">
          <a:xfrm>
            <a:off x="1074738" y="6500813"/>
            <a:ext cx="280987" cy="280987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5" name="Oval 13"/>
          <p:cNvSpPr>
            <a:spLocks noChangeArrowheads="1"/>
          </p:cNvSpPr>
          <p:nvPr userDrawn="1"/>
        </p:nvSpPr>
        <p:spPr bwMode="auto">
          <a:xfrm>
            <a:off x="1404938" y="6500813"/>
            <a:ext cx="284162" cy="280987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6" name="Oval 14"/>
          <p:cNvSpPr>
            <a:spLocks noChangeArrowheads="1"/>
          </p:cNvSpPr>
          <p:nvPr userDrawn="1"/>
        </p:nvSpPr>
        <p:spPr bwMode="auto">
          <a:xfrm>
            <a:off x="76200" y="6167438"/>
            <a:ext cx="284163" cy="282575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7" name="Oval 15"/>
          <p:cNvSpPr>
            <a:spLocks noChangeArrowheads="1"/>
          </p:cNvSpPr>
          <p:nvPr userDrawn="1"/>
        </p:nvSpPr>
        <p:spPr bwMode="auto">
          <a:xfrm>
            <a:off x="409575" y="6167438"/>
            <a:ext cx="280988" cy="282575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8" name="Oval 17"/>
          <p:cNvSpPr>
            <a:spLocks noChangeArrowheads="1"/>
          </p:cNvSpPr>
          <p:nvPr userDrawn="1"/>
        </p:nvSpPr>
        <p:spPr bwMode="auto">
          <a:xfrm>
            <a:off x="1074738" y="6167438"/>
            <a:ext cx="280987" cy="282575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9" name="Oval 19"/>
          <p:cNvSpPr>
            <a:spLocks noChangeArrowheads="1"/>
          </p:cNvSpPr>
          <p:nvPr userDrawn="1"/>
        </p:nvSpPr>
        <p:spPr bwMode="auto">
          <a:xfrm>
            <a:off x="76200" y="5835650"/>
            <a:ext cx="284163" cy="280988"/>
          </a:xfrm>
          <a:prstGeom prst="ellipse">
            <a:avLst/>
          </a:prstGeom>
          <a:solidFill>
            <a:srgbClr val="9CAC1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endParaRPr lang="nl-NL" altLang="nl-NL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409700" y="6553200"/>
            <a:ext cx="290513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000" b="1">
                <a:solidFill>
                  <a:schemeClr val="bg1"/>
                </a:solidFill>
                <a:latin typeface="Trebuchet MS" panose="020B0603020202020204" pitchFamily="34" charset="0"/>
              </a:defRPr>
            </a:lvl1pPr>
          </a:lstStyle>
          <a:p>
            <a:pPr>
              <a:defRPr/>
            </a:pPr>
            <a:fld id="{DC5DFD53-0F2A-40D2-8730-F3E1BAB17994}" type="slidenum">
              <a:rPr lang="nl-NL" altLang="nl-NL"/>
              <a:pPr>
                <a:defRPr/>
              </a:pPr>
              <a:t>‹nr.›</a:t>
            </a:fld>
            <a:endParaRPr lang="nl-NL" altLang="nl-NL"/>
          </a:p>
        </p:txBody>
      </p:sp>
      <p:pic>
        <p:nvPicPr>
          <p:cNvPr id="1041" name="Picture 26" descr="L_Attero_RGB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7200" y="5989638"/>
            <a:ext cx="885825" cy="696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867" r:id="rId1"/>
    <p:sldLayoutId id="2147484868" r:id="rId2"/>
    <p:sldLayoutId id="2147484869" r:id="rId3"/>
    <p:sldLayoutId id="2147484870" r:id="rId4"/>
    <p:sldLayoutId id="2147484871" r:id="rId5"/>
    <p:sldLayoutId id="2147484872" r:id="rId6"/>
    <p:sldLayoutId id="2147484873" r:id="rId7"/>
    <p:sldLayoutId id="2147484874" r:id="rId8"/>
    <p:sldLayoutId id="2147484875" r:id="rId9"/>
    <p:sldLayoutId id="2147484876" r:id="rId10"/>
    <p:sldLayoutId id="2147484877" r:id="rId11"/>
    <p:sldLayoutId id="2147484878" r:id="rId12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Trebuchet MS" pitchFamily="34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1813" indent="-171450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2pPr>
      <a:lvl3pPr marL="892175" indent="-180975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3pPr>
      <a:lvl4pPr marL="1258888" indent="-187325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4pPr>
      <a:lvl5pPr marL="1611313" indent="-1714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5pPr>
      <a:lvl6pPr marL="2068513" indent="-1714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6pPr>
      <a:lvl7pPr marL="2525713" indent="-1714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7pPr>
      <a:lvl8pPr marL="2982913" indent="-1714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8pPr>
      <a:lvl9pPr marL="3440113" indent="-171450" algn="l" rtl="0" fontAlgn="base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+mn-lt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8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wm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1.jpeg"/><Relationship Id="rId5" Type="http://schemas.openxmlformats.org/officeDocument/2006/relationships/image" Target="../media/image13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image" Target="../media/image21.jpeg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34" Type="http://schemas.openxmlformats.org/officeDocument/2006/relationships/image" Target="../media/image16.emf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image" Target="../media/image15.emf"/><Relationship Id="rId38" Type="http://schemas.openxmlformats.org/officeDocument/2006/relationships/image" Target="../media/image20.emf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slideLayout" Target="../slideLayouts/slideLayout2.xml"/><Relationship Id="rId37" Type="http://schemas.openxmlformats.org/officeDocument/2006/relationships/image" Target="../media/image19.emf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image" Target="../media/image18.emf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13" Type="http://schemas.openxmlformats.org/officeDocument/2006/relationships/tags" Target="../tags/tag44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tags" Target="../tags/tag43.xml"/><Relationship Id="rId2" Type="http://schemas.openxmlformats.org/officeDocument/2006/relationships/tags" Target="../tags/tag33.xml"/><Relationship Id="rId16" Type="http://schemas.openxmlformats.org/officeDocument/2006/relationships/image" Target="../media/image23.jpeg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5" Type="http://schemas.openxmlformats.org/officeDocument/2006/relationships/tags" Target="../tags/tag36.xml"/><Relationship Id="rId15" Type="http://schemas.openxmlformats.org/officeDocument/2006/relationships/image" Target="../media/image22.jpeg"/><Relationship Id="rId10" Type="http://schemas.openxmlformats.org/officeDocument/2006/relationships/tags" Target="../tags/tag4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5" descr="water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520" b="11520"/>
          <a:stretch>
            <a:fillRect/>
          </a:stretch>
        </p:blipFill>
        <p:spPr bwMode="auto">
          <a:xfrm>
            <a:off x="0" y="2085975"/>
            <a:ext cx="9144000" cy="477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387" name="Group 8"/>
          <p:cNvGrpSpPr>
            <a:grpSpLocks noChangeAspect="1"/>
          </p:cNvGrpSpPr>
          <p:nvPr/>
        </p:nvGrpSpPr>
        <p:grpSpPr bwMode="auto">
          <a:xfrm>
            <a:off x="-11587" y="2079625"/>
            <a:ext cx="9148763" cy="4778375"/>
            <a:chOff x="-3" y="1310"/>
            <a:chExt cx="5763" cy="3010"/>
          </a:xfrm>
        </p:grpSpPr>
        <p:sp>
          <p:nvSpPr>
            <p:cNvPr id="16391" name="AutoShape 7"/>
            <p:cNvSpPr>
              <a:spLocks noChangeAspect="1" noChangeArrowheads="1" noTextEdit="1"/>
            </p:cNvSpPr>
            <p:nvPr/>
          </p:nvSpPr>
          <p:spPr bwMode="auto">
            <a:xfrm>
              <a:off x="-3" y="1310"/>
              <a:ext cx="5763" cy="3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  <p:sp>
          <p:nvSpPr>
            <p:cNvPr id="16392" name="Freeform 9"/>
            <p:cNvSpPr>
              <a:spLocks noEditPoints="1"/>
            </p:cNvSpPr>
            <p:nvPr/>
          </p:nvSpPr>
          <p:spPr bwMode="auto">
            <a:xfrm>
              <a:off x="-3" y="1310"/>
              <a:ext cx="5763" cy="3010"/>
            </a:xfrm>
            <a:custGeom>
              <a:avLst/>
              <a:gdLst>
                <a:gd name="T0" fmla="*/ 0 w 960"/>
                <a:gd name="T1" fmla="*/ 0 h 501"/>
                <a:gd name="T2" fmla="*/ 2147483646 w 960"/>
                <a:gd name="T3" fmla="*/ 2147483646 h 501"/>
                <a:gd name="T4" fmla="*/ 2147483646 w 960"/>
                <a:gd name="T5" fmla="*/ 2147483646 h 501"/>
                <a:gd name="T6" fmla="*/ 2147483646 w 960"/>
                <a:gd name="T7" fmla="*/ 2147483646 h 501"/>
                <a:gd name="T8" fmla="*/ 2147483646 w 960"/>
                <a:gd name="T9" fmla="*/ 2147483646 h 501"/>
                <a:gd name="T10" fmla="*/ 2147483646 w 960"/>
                <a:gd name="T11" fmla="*/ 2147483646 h 501"/>
                <a:gd name="T12" fmla="*/ 2147483646 w 960"/>
                <a:gd name="T13" fmla="*/ 2147483646 h 501"/>
                <a:gd name="T14" fmla="*/ 2147483646 w 960"/>
                <a:gd name="T15" fmla="*/ 2147483646 h 501"/>
                <a:gd name="T16" fmla="*/ 2147483646 w 960"/>
                <a:gd name="T17" fmla="*/ 2147483646 h 501"/>
                <a:gd name="T18" fmla="*/ 2147483646 w 960"/>
                <a:gd name="T19" fmla="*/ 2147483646 h 501"/>
                <a:gd name="T20" fmla="*/ 2147483646 w 960"/>
                <a:gd name="T21" fmla="*/ 2147483646 h 501"/>
                <a:gd name="T22" fmla="*/ 2147483646 w 960"/>
                <a:gd name="T23" fmla="*/ 2147483646 h 501"/>
                <a:gd name="T24" fmla="*/ 2147483646 w 960"/>
                <a:gd name="T25" fmla="*/ 2147483646 h 501"/>
                <a:gd name="T26" fmla="*/ 2147483646 w 960"/>
                <a:gd name="T27" fmla="*/ 2147483646 h 501"/>
                <a:gd name="T28" fmla="*/ 2147483646 w 960"/>
                <a:gd name="T29" fmla="*/ 2147483646 h 501"/>
                <a:gd name="T30" fmla="*/ 2147483646 w 960"/>
                <a:gd name="T31" fmla="*/ 2147483646 h 501"/>
                <a:gd name="T32" fmla="*/ 2147483646 w 960"/>
                <a:gd name="T33" fmla="*/ 2147483646 h 501"/>
                <a:gd name="T34" fmla="*/ 2147483646 w 960"/>
                <a:gd name="T35" fmla="*/ 2147483646 h 501"/>
                <a:gd name="T36" fmla="*/ 2147483646 w 960"/>
                <a:gd name="T37" fmla="*/ 2147483646 h 501"/>
                <a:gd name="T38" fmla="*/ 2147483646 w 960"/>
                <a:gd name="T39" fmla="*/ 2147483646 h 501"/>
                <a:gd name="T40" fmla="*/ 2147483646 w 960"/>
                <a:gd name="T41" fmla="*/ 2147483646 h 501"/>
                <a:gd name="T42" fmla="*/ 2147483646 w 960"/>
                <a:gd name="T43" fmla="*/ 2147483646 h 501"/>
                <a:gd name="T44" fmla="*/ 2147483646 w 960"/>
                <a:gd name="T45" fmla="*/ 2147483646 h 501"/>
                <a:gd name="T46" fmla="*/ 2147483646 w 960"/>
                <a:gd name="T47" fmla="*/ 2147483646 h 501"/>
                <a:gd name="T48" fmla="*/ 2147483646 w 960"/>
                <a:gd name="T49" fmla="*/ 2147483646 h 501"/>
                <a:gd name="T50" fmla="*/ 2147483646 w 960"/>
                <a:gd name="T51" fmla="*/ 2147483646 h 501"/>
                <a:gd name="T52" fmla="*/ 2147483646 w 960"/>
                <a:gd name="T53" fmla="*/ 2147483646 h 501"/>
                <a:gd name="T54" fmla="*/ 2147483646 w 960"/>
                <a:gd name="T55" fmla="*/ 2147483646 h 501"/>
                <a:gd name="T56" fmla="*/ 2147483646 w 960"/>
                <a:gd name="T57" fmla="*/ 2147483646 h 501"/>
                <a:gd name="T58" fmla="*/ 2147483646 w 960"/>
                <a:gd name="T59" fmla="*/ 2147483646 h 501"/>
                <a:gd name="T60" fmla="*/ 2147483646 w 960"/>
                <a:gd name="T61" fmla="*/ 2147483646 h 501"/>
                <a:gd name="T62" fmla="*/ 2147483646 w 960"/>
                <a:gd name="T63" fmla="*/ 2147483646 h 501"/>
                <a:gd name="T64" fmla="*/ 2147483646 w 960"/>
                <a:gd name="T65" fmla="*/ 2147483646 h 501"/>
                <a:gd name="T66" fmla="*/ 2147483646 w 960"/>
                <a:gd name="T67" fmla="*/ 2147483646 h 501"/>
                <a:gd name="T68" fmla="*/ 2147483646 w 960"/>
                <a:gd name="T69" fmla="*/ 2147483646 h 501"/>
                <a:gd name="T70" fmla="*/ 2147483646 w 960"/>
                <a:gd name="T71" fmla="*/ 2147483646 h 501"/>
                <a:gd name="T72" fmla="*/ 2147483646 w 960"/>
                <a:gd name="T73" fmla="*/ 2147483646 h 501"/>
                <a:gd name="T74" fmla="*/ 2147483646 w 960"/>
                <a:gd name="T75" fmla="*/ 2147483646 h 501"/>
                <a:gd name="T76" fmla="*/ 2147483646 w 960"/>
                <a:gd name="T77" fmla="*/ 2147483646 h 501"/>
                <a:gd name="T78" fmla="*/ 2147483646 w 960"/>
                <a:gd name="T79" fmla="*/ 2147483646 h 501"/>
                <a:gd name="T80" fmla="*/ 2147483646 w 960"/>
                <a:gd name="T81" fmla="*/ 2147483646 h 501"/>
                <a:gd name="T82" fmla="*/ 2147483646 w 960"/>
                <a:gd name="T83" fmla="*/ 2147483646 h 501"/>
                <a:gd name="T84" fmla="*/ 2147483646 w 960"/>
                <a:gd name="T85" fmla="*/ 2147483646 h 501"/>
                <a:gd name="T86" fmla="*/ 2147483646 w 960"/>
                <a:gd name="T87" fmla="*/ 2147483646 h 501"/>
                <a:gd name="T88" fmla="*/ 2147483646 w 960"/>
                <a:gd name="T89" fmla="*/ 2147483646 h 501"/>
                <a:gd name="T90" fmla="*/ 2147483646 w 960"/>
                <a:gd name="T91" fmla="*/ 2147483646 h 501"/>
                <a:gd name="T92" fmla="*/ 2147483646 w 960"/>
                <a:gd name="T93" fmla="*/ 2147483646 h 501"/>
                <a:gd name="T94" fmla="*/ 2147483646 w 960"/>
                <a:gd name="T95" fmla="*/ 2147483646 h 501"/>
                <a:gd name="T96" fmla="*/ 2147483646 w 960"/>
                <a:gd name="T97" fmla="*/ 2147483646 h 501"/>
                <a:gd name="T98" fmla="*/ 2147483646 w 960"/>
                <a:gd name="T99" fmla="*/ 2147483646 h 501"/>
                <a:gd name="T100" fmla="*/ 2147483646 w 960"/>
                <a:gd name="T101" fmla="*/ 2147483646 h 501"/>
                <a:gd name="T102" fmla="*/ 2147483646 w 960"/>
                <a:gd name="T103" fmla="*/ 2147483646 h 501"/>
                <a:gd name="T104" fmla="*/ 2147483646 w 960"/>
                <a:gd name="T105" fmla="*/ 2147483646 h 501"/>
                <a:gd name="T106" fmla="*/ 2147483646 w 960"/>
                <a:gd name="T107" fmla="*/ 2147483646 h 501"/>
                <a:gd name="T108" fmla="*/ 2147483646 w 960"/>
                <a:gd name="T109" fmla="*/ 2147483646 h 50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960" h="501">
                  <a:moveTo>
                    <a:pt x="0" y="0"/>
                  </a:moveTo>
                  <a:cubicBezTo>
                    <a:pt x="0" y="501"/>
                    <a:pt x="0" y="501"/>
                    <a:pt x="0" y="501"/>
                  </a:cubicBezTo>
                  <a:cubicBezTo>
                    <a:pt x="960" y="501"/>
                    <a:pt x="960" y="501"/>
                    <a:pt x="960" y="501"/>
                  </a:cubicBezTo>
                  <a:cubicBezTo>
                    <a:pt x="960" y="0"/>
                    <a:pt x="960" y="0"/>
                    <a:pt x="960" y="0"/>
                  </a:cubicBezTo>
                  <a:lnTo>
                    <a:pt x="0" y="0"/>
                  </a:lnTo>
                  <a:close/>
                  <a:moveTo>
                    <a:pt x="37" y="488"/>
                  </a:moveTo>
                  <a:cubicBezTo>
                    <a:pt x="25" y="488"/>
                    <a:pt x="15" y="478"/>
                    <a:pt x="15" y="466"/>
                  </a:cubicBezTo>
                  <a:cubicBezTo>
                    <a:pt x="15" y="453"/>
                    <a:pt x="25" y="443"/>
                    <a:pt x="37" y="443"/>
                  </a:cubicBezTo>
                  <a:cubicBezTo>
                    <a:pt x="50" y="443"/>
                    <a:pt x="60" y="453"/>
                    <a:pt x="60" y="466"/>
                  </a:cubicBezTo>
                  <a:cubicBezTo>
                    <a:pt x="60" y="478"/>
                    <a:pt x="50" y="488"/>
                    <a:pt x="37" y="488"/>
                  </a:cubicBezTo>
                  <a:close/>
                  <a:moveTo>
                    <a:pt x="37" y="432"/>
                  </a:moveTo>
                  <a:cubicBezTo>
                    <a:pt x="25" y="432"/>
                    <a:pt x="15" y="422"/>
                    <a:pt x="15" y="410"/>
                  </a:cubicBezTo>
                  <a:cubicBezTo>
                    <a:pt x="15" y="398"/>
                    <a:pt x="25" y="388"/>
                    <a:pt x="37" y="388"/>
                  </a:cubicBezTo>
                  <a:cubicBezTo>
                    <a:pt x="50" y="388"/>
                    <a:pt x="60" y="398"/>
                    <a:pt x="60" y="410"/>
                  </a:cubicBezTo>
                  <a:cubicBezTo>
                    <a:pt x="60" y="422"/>
                    <a:pt x="50" y="432"/>
                    <a:pt x="37" y="432"/>
                  </a:cubicBezTo>
                  <a:close/>
                  <a:moveTo>
                    <a:pt x="37" y="377"/>
                  </a:moveTo>
                  <a:cubicBezTo>
                    <a:pt x="25" y="377"/>
                    <a:pt x="15" y="367"/>
                    <a:pt x="15" y="355"/>
                  </a:cubicBezTo>
                  <a:cubicBezTo>
                    <a:pt x="15" y="342"/>
                    <a:pt x="25" y="333"/>
                    <a:pt x="37" y="333"/>
                  </a:cubicBezTo>
                  <a:cubicBezTo>
                    <a:pt x="50" y="333"/>
                    <a:pt x="60" y="342"/>
                    <a:pt x="60" y="355"/>
                  </a:cubicBezTo>
                  <a:cubicBezTo>
                    <a:pt x="60" y="367"/>
                    <a:pt x="50" y="377"/>
                    <a:pt x="37" y="377"/>
                  </a:cubicBezTo>
                  <a:close/>
                  <a:moveTo>
                    <a:pt x="37" y="322"/>
                  </a:moveTo>
                  <a:cubicBezTo>
                    <a:pt x="25" y="322"/>
                    <a:pt x="15" y="312"/>
                    <a:pt x="15" y="299"/>
                  </a:cubicBezTo>
                  <a:cubicBezTo>
                    <a:pt x="15" y="287"/>
                    <a:pt x="25" y="277"/>
                    <a:pt x="37" y="277"/>
                  </a:cubicBezTo>
                  <a:cubicBezTo>
                    <a:pt x="50" y="277"/>
                    <a:pt x="60" y="287"/>
                    <a:pt x="60" y="299"/>
                  </a:cubicBezTo>
                  <a:cubicBezTo>
                    <a:pt x="60" y="312"/>
                    <a:pt x="50" y="322"/>
                    <a:pt x="37" y="322"/>
                  </a:cubicBezTo>
                  <a:close/>
                  <a:moveTo>
                    <a:pt x="37" y="266"/>
                  </a:moveTo>
                  <a:cubicBezTo>
                    <a:pt x="25" y="266"/>
                    <a:pt x="15" y="256"/>
                    <a:pt x="15" y="244"/>
                  </a:cubicBezTo>
                  <a:cubicBezTo>
                    <a:pt x="15" y="232"/>
                    <a:pt x="25" y="222"/>
                    <a:pt x="37" y="222"/>
                  </a:cubicBezTo>
                  <a:cubicBezTo>
                    <a:pt x="50" y="222"/>
                    <a:pt x="60" y="232"/>
                    <a:pt x="60" y="244"/>
                  </a:cubicBezTo>
                  <a:cubicBezTo>
                    <a:pt x="60" y="256"/>
                    <a:pt x="50" y="266"/>
                    <a:pt x="37" y="266"/>
                  </a:cubicBezTo>
                  <a:close/>
                  <a:moveTo>
                    <a:pt x="37" y="211"/>
                  </a:moveTo>
                  <a:cubicBezTo>
                    <a:pt x="25" y="211"/>
                    <a:pt x="15" y="201"/>
                    <a:pt x="15" y="189"/>
                  </a:cubicBezTo>
                  <a:cubicBezTo>
                    <a:pt x="15" y="176"/>
                    <a:pt x="25" y="166"/>
                    <a:pt x="37" y="166"/>
                  </a:cubicBezTo>
                  <a:cubicBezTo>
                    <a:pt x="50" y="166"/>
                    <a:pt x="60" y="176"/>
                    <a:pt x="60" y="189"/>
                  </a:cubicBezTo>
                  <a:cubicBezTo>
                    <a:pt x="60" y="201"/>
                    <a:pt x="50" y="211"/>
                    <a:pt x="37" y="211"/>
                  </a:cubicBezTo>
                  <a:close/>
                  <a:moveTo>
                    <a:pt x="93" y="488"/>
                  </a:moveTo>
                  <a:cubicBezTo>
                    <a:pt x="80" y="488"/>
                    <a:pt x="70" y="478"/>
                    <a:pt x="70" y="466"/>
                  </a:cubicBezTo>
                  <a:cubicBezTo>
                    <a:pt x="70" y="453"/>
                    <a:pt x="80" y="443"/>
                    <a:pt x="93" y="443"/>
                  </a:cubicBezTo>
                  <a:cubicBezTo>
                    <a:pt x="105" y="443"/>
                    <a:pt x="115" y="453"/>
                    <a:pt x="115" y="466"/>
                  </a:cubicBezTo>
                  <a:cubicBezTo>
                    <a:pt x="115" y="478"/>
                    <a:pt x="105" y="488"/>
                    <a:pt x="93" y="488"/>
                  </a:cubicBezTo>
                  <a:close/>
                  <a:moveTo>
                    <a:pt x="93" y="432"/>
                  </a:moveTo>
                  <a:cubicBezTo>
                    <a:pt x="80" y="432"/>
                    <a:pt x="70" y="422"/>
                    <a:pt x="70" y="410"/>
                  </a:cubicBezTo>
                  <a:cubicBezTo>
                    <a:pt x="70" y="398"/>
                    <a:pt x="80" y="388"/>
                    <a:pt x="93" y="388"/>
                  </a:cubicBezTo>
                  <a:cubicBezTo>
                    <a:pt x="105" y="388"/>
                    <a:pt x="115" y="398"/>
                    <a:pt x="115" y="410"/>
                  </a:cubicBezTo>
                  <a:cubicBezTo>
                    <a:pt x="115" y="422"/>
                    <a:pt x="105" y="432"/>
                    <a:pt x="93" y="432"/>
                  </a:cubicBezTo>
                  <a:close/>
                  <a:moveTo>
                    <a:pt x="93" y="377"/>
                  </a:moveTo>
                  <a:cubicBezTo>
                    <a:pt x="80" y="377"/>
                    <a:pt x="70" y="367"/>
                    <a:pt x="70" y="355"/>
                  </a:cubicBezTo>
                  <a:cubicBezTo>
                    <a:pt x="70" y="342"/>
                    <a:pt x="80" y="333"/>
                    <a:pt x="93" y="333"/>
                  </a:cubicBezTo>
                  <a:cubicBezTo>
                    <a:pt x="105" y="333"/>
                    <a:pt x="115" y="342"/>
                    <a:pt x="115" y="355"/>
                  </a:cubicBezTo>
                  <a:cubicBezTo>
                    <a:pt x="115" y="367"/>
                    <a:pt x="105" y="377"/>
                    <a:pt x="93" y="377"/>
                  </a:cubicBezTo>
                  <a:close/>
                  <a:moveTo>
                    <a:pt x="93" y="322"/>
                  </a:moveTo>
                  <a:cubicBezTo>
                    <a:pt x="80" y="322"/>
                    <a:pt x="70" y="312"/>
                    <a:pt x="70" y="299"/>
                  </a:cubicBezTo>
                  <a:cubicBezTo>
                    <a:pt x="70" y="287"/>
                    <a:pt x="80" y="277"/>
                    <a:pt x="93" y="277"/>
                  </a:cubicBezTo>
                  <a:cubicBezTo>
                    <a:pt x="105" y="277"/>
                    <a:pt x="115" y="287"/>
                    <a:pt x="115" y="299"/>
                  </a:cubicBezTo>
                  <a:cubicBezTo>
                    <a:pt x="115" y="312"/>
                    <a:pt x="105" y="322"/>
                    <a:pt x="93" y="322"/>
                  </a:cubicBezTo>
                  <a:close/>
                  <a:moveTo>
                    <a:pt x="148" y="432"/>
                  </a:moveTo>
                  <a:cubicBezTo>
                    <a:pt x="136" y="432"/>
                    <a:pt x="126" y="422"/>
                    <a:pt x="126" y="410"/>
                  </a:cubicBezTo>
                  <a:cubicBezTo>
                    <a:pt x="126" y="398"/>
                    <a:pt x="136" y="388"/>
                    <a:pt x="148" y="388"/>
                  </a:cubicBezTo>
                  <a:cubicBezTo>
                    <a:pt x="160" y="388"/>
                    <a:pt x="170" y="398"/>
                    <a:pt x="170" y="410"/>
                  </a:cubicBezTo>
                  <a:cubicBezTo>
                    <a:pt x="170" y="422"/>
                    <a:pt x="160" y="432"/>
                    <a:pt x="148" y="432"/>
                  </a:cubicBezTo>
                  <a:close/>
                  <a:moveTo>
                    <a:pt x="204" y="488"/>
                  </a:moveTo>
                  <a:cubicBezTo>
                    <a:pt x="191" y="488"/>
                    <a:pt x="181" y="478"/>
                    <a:pt x="181" y="466"/>
                  </a:cubicBezTo>
                  <a:cubicBezTo>
                    <a:pt x="181" y="453"/>
                    <a:pt x="191" y="443"/>
                    <a:pt x="204" y="443"/>
                  </a:cubicBezTo>
                  <a:cubicBezTo>
                    <a:pt x="216" y="443"/>
                    <a:pt x="226" y="453"/>
                    <a:pt x="226" y="466"/>
                  </a:cubicBezTo>
                  <a:cubicBezTo>
                    <a:pt x="226" y="478"/>
                    <a:pt x="216" y="488"/>
                    <a:pt x="204" y="488"/>
                  </a:cubicBezTo>
                  <a:close/>
                  <a:moveTo>
                    <a:pt x="204" y="432"/>
                  </a:moveTo>
                  <a:cubicBezTo>
                    <a:pt x="191" y="432"/>
                    <a:pt x="181" y="422"/>
                    <a:pt x="181" y="410"/>
                  </a:cubicBezTo>
                  <a:cubicBezTo>
                    <a:pt x="181" y="398"/>
                    <a:pt x="191" y="388"/>
                    <a:pt x="204" y="388"/>
                  </a:cubicBezTo>
                  <a:cubicBezTo>
                    <a:pt x="216" y="388"/>
                    <a:pt x="226" y="398"/>
                    <a:pt x="226" y="410"/>
                  </a:cubicBezTo>
                  <a:cubicBezTo>
                    <a:pt x="226" y="422"/>
                    <a:pt x="216" y="432"/>
                    <a:pt x="204" y="432"/>
                  </a:cubicBezTo>
                  <a:close/>
                  <a:moveTo>
                    <a:pt x="259" y="432"/>
                  </a:moveTo>
                  <a:cubicBezTo>
                    <a:pt x="247" y="432"/>
                    <a:pt x="237" y="422"/>
                    <a:pt x="237" y="410"/>
                  </a:cubicBezTo>
                  <a:cubicBezTo>
                    <a:pt x="237" y="398"/>
                    <a:pt x="247" y="388"/>
                    <a:pt x="259" y="388"/>
                  </a:cubicBezTo>
                  <a:cubicBezTo>
                    <a:pt x="271" y="388"/>
                    <a:pt x="281" y="398"/>
                    <a:pt x="281" y="410"/>
                  </a:cubicBezTo>
                  <a:cubicBezTo>
                    <a:pt x="281" y="422"/>
                    <a:pt x="271" y="432"/>
                    <a:pt x="259" y="432"/>
                  </a:cubicBezTo>
                  <a:close/>
                  <a:moveTo>
                    <a:pt x="314" y="488"/>
                  </a:moveTo>
                  <a:cubicBezTo>
                    <a:pt x="302" y="488"/>
                    <a:pt x="292" y="478"/>
                    <a:pt x="292" y="466"/>
                  </a:cubicBezTo>
                  <a:cubicBezTo>
                    <a:pt x="292" y="453"/>
                    <a:pt x="302" y="443"/>
                    <a:pt x="314" y="443"/>
                  </a:cubicBezTo>
                  <a:cubicBezTo>
                    <a:pt x="327" y="443"/>
                    <a:pt x="337" y="453"/>
                    <a:pt x="337" y="466"/>
                  </a:cubicBezTo>
                  <a:cubicBezTo>
                    <a:pt x="337" y="478"/>
                    <a:pt x="327" y="488"/>
                    <a:pt x="314" y="488"/>
                  </a:cubicBezTo>
                  <a:close/>
                  <a:moveTo>
                    <a:pt x="314" y="432"/>
                  </a:moveTo>
                  <a:cubicBezTo>
                    <a:pt x="302" y="432"/>
                    <a:pt x="292" y="422"/>
                    <a:pt x="292" y="410"/>
                  </a:cubicBezTo>
                  <a:cubicBezTo>
                    <a:pt x="292" y="398"/>
                    <a:pt x="302" y="388"/>
                    <a:pt x="314" y="388"/>
                  </a:cubicBezTo>
                  <a:cubicBezTo>
                    <a:pt x="327" y="388"/>
                    <a:pt x="337" y="398"/>
                    <a:pt x="337" y="410"/>
                  </a:cubicBezTo>
                  <a:cubicBezTo>
                    <a:pt x="337" y="422"/>
                    <a:pt x="327" y="432"/>
                    <a:pt x="314" y="432"/>
                  </a:cubicBezTo>
                  <a:close/>
                  <a:moveTo>
                    <a:pt x="314" y="377"/>
                  </a:moveTo>
                  <a:cubicBezTo>
                    <a:pt x="302" y="377"/>
                    <a:pt x="292" y="367"/>
                    <a:pt x="292" y="355"/>
                  </a:cubicBezTo>
                  <a:cubicBezTo>
                    <a:pt x="292" y="342"/>
                    <a:pt x="302" y="333"/>
                    <a:pt x="314" y="333"/>
                  </a:cubicBezTo>
                  <a:cubicBezTo>
                    <a:pt x="327" y="333"/>
                    <a:pt x="337" y="342"/>
                    <a:pt x="337" y="355"/>
                  </a:cubicBezTo>
                  <a:cubicBezTo>
                    <a:pt x="337" y="367"/>
                    <a:pt x="327" y="377"/>
                    <a:pt x="314" y="377"/>
                  </a:cubicBezTo>
                  <a:close/>
                  <a:moveTo>
                    <a:pt x="314" y="322"/>
                  </a:moveTo>
                  <a:cubicBezTo>
                    <a:pt x="302" y="322"/>
                    <a:pt x="292" y="312"/>
                    <a:pt x="292" y="299"/>
                  </a:cubicBezTo>
                  <a:cubicBezTo>
                    <a:pt x="292" y="287"/>
                    <a:pt x="302" y="277"/>
                    <a:pt x="314" y="277"/>
                  </a:cubicBezTo>
                  <a:cubicBezTo>
                    <a:pt x="327" y="277"/>
                    <a:pt x="337" y="287"/>
                    <a:pt x="337" y="299"/>
                  </a:cubicBezTo>
                  <a:cubicBezTo>
                    <a:pt x="337" y="312"/>
                    <a:pt x="327" y="322"/>
                    <a:pt x="314" y="322"/>
                  </a:cubicBezTo>
                  <a:close/>
                  <a:moveTo>
                    <a:pt x="370" y="432"/>
                  </a:moveTo>
                  <a:cubicBezTo>
                    <a:pt x="357" y="432"/>
                    <a:pt x="348" y="422"/>
                    <a:pt x="348" y="410"/>
                  </a:cubicBezTo>
                  <a:cubicBezTo>
                    <a:pt x="348" y="398"/>
                    <a:pt x="357" y="388"/>
                    <a:pt x="370" y="388"/>
                  </a:cubicBezTo>
                  <a:cubicBezTo>
                    <a:pt x="382" y="388"/>
                    <a:pt x="392" y="398"/>
                    <a:pt x="392" y="410"/>
                  </a:cubicBezTo>
                  <a:cubicBezTo>
                    <a:pt x="392" y="422"/>
                    <a:pt x="382" y="432"/>
                    <a:pt x="370" y="432"/>
                  </a:cubicBezTo>
                  <a:close/>
                  <a:moveTo>
                    <a:pt x="370" y="377"/>
                  </a:moveTo>
                  <a:cubicBezTo>
                    <a:pt x="357" y="377"/>
                    <a:pt x="348" y="367"/>
                    <a:pt x="348" y="355"/>
                  </a:cubicBezTo>
                  <a:cubicBezTo>
                    <a:pt x="348" y="342"/>
                    <a:pt x="357" y="333"/>
                    <a:pt x="370" y="333"/>
                  </a:cubicBezTo>
                  <a:cubicBezTo>
                    <a:pt x="382" y="333"/>
                    <a:pt x="392" y="342"/>
                    <a:pt x="392" y="355"/>
                  </a:cubicBezTo>
                  <a:cubicBezTo>
                    <a:pt x="392" y="367"/>
                    <a:pt x="382" y="377"/>
                    <a:pt x="370" y="377"/>
                  </a:cubicBezTo>
                  <a:close/>
                  <a:moveTo>
                    <a:pt x="425" y="432"/>
                  </a:moveTo>
                  <a:cubicBezTo>
                    <a:pt x="413" y="432"/>
                    <a:pt x="403" y="422"/>
                    <a:pt x="403" y="410"/>
                  </a:cubicBezTo>
                  <a:cubicBezTo>
                    <a:pt x="403" y="398"/>
                    <a:pt x="413" y="388"/>
                    <a:pt x="425" y="388"/>
                  </a:cubicBezTo>
                  <a:cubicBezTo>
                    <a:pt x="437" y="388"/>
                    <a:pt x="447" y="398"/>
                    <a:pt x="447" y="410"/>
                  </a:cubicBezTo>
                  <a:cubicBezTo>
                    <a:pt x="447" y="422"/>
                    <a:pt x="437" y="432"/>
                    <a:pt x="425" y="432"/>
                  </a:cubicBezTo>
                  <a:close/>
                  <a:moveTo>
                    <a:pt x="425" y="377"/>
                  </a:moveTo>
                  <a:cubicBezTo>
                    <a:pt x="413" y="377"/>
                    <a:pt x="403" y="367"/>
                    <a:pt x="403" y="355"/>
                  </a:cubicBezTo>
                  <a:cubicBezTo>
                    <a:pt x="403" y="342"/>
                    <a:pt x="413" y="333"/>
                    <a:pt x="425" y="333"/>
                  </a:cubicBezTo>
                  <a:cubicBezTo>
                    <a:pt x="437" y="333"/>
                    <a:pt x="447" y="342"/>
                    <a:pt x="447" y="355"/>
                  </a:cubicBezTo>
                  <a:cubicBezTo>
                    <a:pt x="447" y="367"/>
                    <a:pt x="437" y="377"/>
                    <a:pt x="425" y="377"/>
                  </a:cubicBezTo>
                  <a:close/>
                  <a:moveTo>
                    <a:pt x="425" y="322"/>
                  </a:moveTo>
                  <a:cubicBezTo>
                    <a:pt x="413" y="322"/>
                    <a:pt x="403" y="312"/>
                    <a:pt x="403" y="299"/>
                  </a:cubicBezTo>
                  <a:cubicBezTo>
                    <a:pt x="403" y="287"/>
                    <a:pt x="413" y="277"/>
                    <a:pt x="425" y="277"/>
                  </a:cubicBezTo>
                  <a:cubicBezTo>
                    <a:pt x="437" y="277"/>
                    <a:pt x="447" y="287"/>
                    <a:pt x="447" y="299"/>
                  </a:cubicBezTo>
                  <a:cubicBezTo>
                    <a:pt x="447" y="312"/>
                    <a:pt x="437" y="322"/>
                    <a:pt x="425" y="322"/>
                  </a:cubicBezTo>
                  <a:close/>
                  <a:moveTo>
                    <a:pt x="481" y="488"/>
                  </a:moveTo>
                  <a:cubicBezTo>
                    <a:pt x="468" y="488"/>
                    <a:pt x="458" y="478"/>
                    <a:pt x="458" y="466"/>
                  </a:cubicBezTo>
                  <a:cubicBezTo>
                    <a:pt x="458" y="453"/>
                    <a:pt x="468" y="443"/>
                    <a:pt x="481" y="443"/>
                  </a:cubicBezTo>
                  <a:cubicBezTo>
                    <a:pt x="493" y="443"/>
                    <a:pt x="503" y="453"/>
                    <a:pt x="503" y="466"/>
                  </a:cubicBezTo>
                  <a:cubicBezTo>
                    <a:pt x="503" y="478"/>
                    <a:pt x="493" y="488"/>
                    <a:pt x="481" y="488"/>
                  </a:cubicBezTo>
                  <a:close/>
                  <a:moveTo>
                    <a:pt x="481" y="432"/>
                  </a:moveTo>
                  <a:cubicBezTo>
                    <a:pt x="468" y="432"/>
                    <a:pt x="458" y="422"/>
                    <a:pt x="458" y="410"/>
                  </a:cubicBezTo>
                  <a:cubicBezTo>
                    <a:pt x="458" y="398"/>
                    <a:pt x="468" y="388"/>
                    <a:pt x="481" y="388"/>
                  </a:cubicBezTo>
                  <a:cubicBezTo>
                    <a:pt x="493" y="388"/>
                    <a:pt x="503" y="398"/>
                    <a:pt x="503" y="410"/>
                  </a:cubicBezTo>
                  <a:cubicBezTo>
                    <a:pt x="503" y="422"/>
                    <a:pt x="493" y="432"/>
                    <a:pt x="481" y="432"/>
                  </a:cubicBezTo>
                  <a:close/>
                  <a:moveTo>
                    <a:pt x="481" y="377"/>
                  </a:moveTo>
                  <a:cubicBezTo>
                    <a:pt x="468" y="377"/>
                    <a:pt x="458" y="367"/>
                    <a:pt x="458" y="355"/>
                  </a:cubicBezTo>
                  <a:cubicBezTo>
                    <a:pt x="458" y="342"/>
                    <a:pt x="468" y="333"/>
                    <a:pt x="481" y="333"/>
                  </a:cubicBezTo>
                  <a:cubicBezTo>
                    <a:pt x="493" y="333"/>
                    <a:pt x="503" y="342"/>
                    <a:pt x="503" y="355"/>
                  </a:cubicBezTo>
                  <a:cubicBezTo>
                    <a:pt x="503" y="367"/>
                    <a:pt x="493" y="377"/>
                    <a:pt x="481" y="377"/>
                  </a:cubicBezTo>
                  <a:close/>
                  <a:moveTo>
                    <a:pt x="536" y="488"/>
                  </a:moveTo>
                  <a:cubicBezTo>
                    <a:pt x="524" y="488"/>
                    <a:pt x="514" y="478"/>
                    <a:pt x="514" y="466"/>
                  </a:cubicBezTo>
                  <a:cubicBezTo>
                    <a:pt x="514" y="453"/>
                    <a:pt x="524" y="443"/>
                    <a:pt x="536" y="443"/>
                  </a:cubicBezTo>
                  <a:cubicBezTo>
                    <a:pt x="548" y="443"/>
                    <a:pt x="558" y="453"/>
                    <a:pt x="558" y="466"/>
                  </a:cubicBezTo>
                  <a:cubicBezTo>
                    <a:pt x="558" y="478"/>
                    <a:pt x="548" y="488"/>
                    <a:pt x="536" y="488"/>
                  </a:cubicBezTo>
                  <a:close/>
                  <a:moveTo>
                    <a:pt x="536" y="432"/>
                  </a:moveTo>
                  <a:cubicBezTo>
                    <a:pt x="524" y="432"/>
                    <a:pt x="514" y="422"/>
                    <a:pt x="514" y="410"/>
                  </a:cubicBezTo>
                  <a:cubicBezTo>
                    <a:pt x="514" y="398"/>
                    <a:pt x="524" y="388"/>
                    <a:pt x="536" y="388"/>
                  </a:cubicBezTo>
                  <a:cubicBezTo>
                    <a:pt x="548" y="388"/>
                    <a:pt x="558" y="398"/>
                    <a:pt x="558" y="410"/>
                  </a:cubicBezTo>
                  <a:cubicBezTo>
                    <a:pt x="558" y="422"/>
                    <a:pt x="548" y="432"/>
                    <a:pt x="536" y="432"/>
                  </a:cubicBezTo>
                  <a:close/>
                  <a:moveTo>
                    <a:pt x="536" y="377"/>
                  </a:moveTo>
                  <a:cubicBezTo>
                    <a:pt x="524" y="377"/>
                    <a:pt x="514" y="367"/>
                    <a:pt x="514" y="355"/>
                  </a:cubicBezTo>
                  <a:cubicBezTo>
                    <a:pt x="514" y="342"/>
                    <a:pt x="524" y="333"/>
                    <a:pt x="536" y="333"/>
                  </a:cubicBezTo>
                  <a:cubicBezTo>
                    <a:pt x="548" y="333"/>
                    <a:pt x="558" y="342"/>
                    <a:pt x="558" y="355"/>
                  </a:cubicBezTo>
                  <a:cubicBezTo>
                    <a:pt x="558" y="367"/>
                    <a:pt x="548" y="377"/>
                    <a:pt x="536" y="377"/>
                  </a:cubicBezTo>
                  <a:close/>
                  <a:moveTo>
                    <a:pt x="591" y="488"/>
                  </a:moveTo>
                  <a:cubicBezTo>
                    <a:pt x="579" y="488"/>
                    <a:pt x="569" y="478"/>
                    <a:pt x="569" y="466"/>
                  </a:cubicBezTo>
                  <a:cubicBezTo>
                    <a:pt x="569" y="453"/>
                    <a:pt x="579" y="443"/>
                    <a:pt x="591" y="443"/>
                  </a:cubicBezTo>
                  <a:cubicBezTo>
                    <a:pt x="604" y="443"/>
                    <a:pt x="614" y="453"/>
                    <a:pt x="614" y="466"/>
                  </a:cubicBezTo>
                  <a:cubicBezTo>
                    <a:pt x="614" y="478"/>
                    <a:pt x="604" y="488"/>
                    <a:pt x="591" y="488"/>
                  </a:cubicBezTo>
                  <a:close/>
                  <a:moveTo>
                    <a:pt x="591" y="432"/>
                  </a:moveTo>
                  <a:cubicBezTo>
                    <a:pt x="579" y="432"/>
                    <a:pt x="569" y="422"/>
                    <a:pt x="569" y="410"/>
                  </a:cubicBezTo>
                  <a:cubicBezTo>
                    <a:pt x="569" y="398"/>
                    <a:pt x="579" y="388"/>
                    <a:pt x="591" y="388"/>
                  </a:cubicBezTo>
                  <a:cubicBezTo>
                    <a:pt x="604" y="388"/>
                    <a:pt x="614" y="398"/>
                    <a:pt x="614" y="410"/>
                  </a:cubicBezTo>
                  <a:cubicBezTo>
                    <a:pt x="614" y="422"/>
                    <a:pt x="604" y="432"/>
                    <a:pt x="591" y="432"/>
                  </a:cubicBezTo>
                  <a:close/>
                  <a:moveTo>
                    <a:pt x="591" y="377"/>
                  </a:moveTo>
                  <a:cubicBezTo>
                    <a:pt x="579" y="377"/>
                    <a:pt x="569" y="367"/>
                    <a:pt x="569" y="355"/>
                  </a:cubicBezTo>
                  <a:cubicBezTo>
                    <a:pt x="569" y="342"/>
                    <a:pt x="579" y="333"/>
                    <a:pt x="591" y="333"/>
                  </a:cubicBezTo>
                  <a:cubicBezTo>
                    <a:pt x="604" y="333"/>
                    <a:pt x="614" y="342"/>
                    <a:pt x="614" y="355"/>
                  </a:cubicBezTo>
                  <a:cubicBezTo>
                    <a:pt x="614" y="367"/>
                    <a:pt x="604" y="377"/>
                    <a:pt x="591" y="377"/>
                  </a:cubicBezTo>
                  <a:close/>
                  <a:moveTo>
                    <a:pt x="591" y="322"/>
                  </a:moveTo>
                  <a:cubicBezTo>
                    <a:pt x="579" y="322"/>
                    <a:pt x="569" y="312"/>
                    <a:pt x="569" y="299"/>
                  </a:cubicBezTo>
                  <a:cubicBezTo>
                    <a:pt x="569" y="287"/>
                    <a:pt x="579" y="277"/>
                    <a:pt x="591" y="277"/>
                  </a:cubicBezTo>
                  <a:cubicBezTo>
                    <a:pt x="604" y="277"/>
                    <a:pt x="614" y="287"/>
                    <a:pt x="614" y="299"/>
                  </a:cubicBezTo>
                  <a:cubicBezTo>
                    <a:pt x="614" y="312"/>
                    <a:pt x="604" y="322"/>
                    <a:pt x="591" y="322"/>
                  </a:cubicBezTo>
                  <a:close/>
                  <a:moveTo>
                    <a:pt x="647" y="488"/>
                  </a:moveTo>
                  <a:cubicBezTo>
                    <a:pt x="635" y="488"/>
                    <a:pt x="625" y="478"/>
                    <a:pt x="625" y="466"/>
                  </a:cubicBezTo>
                  <a:cubicBezTo>
                    <a:pt x="625" y="453"/>
                    <a:pt x="635" y="443"/>
                    <a:pt x="647" y="443"/>
                  </a:cubicBezTo>
                  <a:cubicBezTo>
                    <a:pt x="659" y="443"/>
                    <a:pt x="669" y="453"/>
                    <a:pt x="669" y="466"/>
                  </a:cubicBezTo>
                  <a:cubicBezTo>
                    <a:pt x="669" y="478"/>
                    <a:pt x="659" y="488"/>
                    <a:pt x="647" y="488"/>
                  </a:cubicBezTo>
                  <a:close/>
                  <a:moveTo>
                    <a:pt x="647" y="432"/>
                  </a:moveTo>
                  <a:cubicBezTo>
                    <a:pt x="635" y="432"/>
                    <a:pt x="625" y="422"/>
                    <a:pt x="625" y="410"/>
                  </a:cubicBezTo>
                  <a:cubicBezTo>
                    <a:pt x="625" y="398"/>
                    <a:pt x="635" y="388"/>
                    <a:pt x="647" y="388"/>
                  </a:cubicBezTo>
                  <a:cubicBezTo>
                    <a:pt x="659" y="388"/>
                    <a:pt x="669" y="398"/>
                    <a:pt x="669" y="410"/>
                  </a:cubicBezTo>
                  <a:cubicBezTo>
                    <a:pt x="669" y="422"/>
                    <a:pt x="659" y="432"/>
                    <a:pt x="647" y="432"/>
                  </a:cubicBezTo>
                  <a:close/>
                  <a:moveTo>
                    <a:pt x="647" y="377"/>
                  </a:moveTo>
                  <a:cubicBezTo>
                    <a:pt x="635" y="377"/>
                    <a:pt x="625" y="367"/>
                    <a:pt x="625" y="355"/>
                  </a:cubicBezTo>
                  <a:cubicBezTo>
                    <a:pt x="625" y="342"/>
                    <a:pt x="635" y="333"/>
                    <a:pt x="647" y="333"/>
                  </a:cubicBezTo>
                  <a:cubicBezTo>
                    <a:pt x="659" y="333"/>
                    <a:pt x="669" y="342"/>
                    <a:pt x="669" y="355"/>
                  </a:cubicBezTo>
                  <a:cubicBezTo>
                    <a:pt x="669" y="367"/>
                    <a:pt x="659" y="377"/>
                    <a:pt x="647" y="377"/>
                  </a:cubicBezTo>
                  <a:close/>
                  <a:moveTo>
                    <a:pt x="647" y="322"/>
                  </a:moveTo>
                  <a:cubicBezTo>
                    <a:pt x="635" y="322"/>
                    <a:pt x="625" y="312"/>
                    <a:pt x="625" y="299"/>
                  </a:cubicBezTo>
                  <a:cubicBezTo>
                    <a:pt x="625" y="287"/>
                    <a:pt x="635" y="277"/>
                    <a:pt x="647" y="277"/>
                  </a:cubicBezTo>
                  <a:cubicBezTo>
                    <a:pt x="659" y="277"/>
                    <a:pt x="669" y="287"/>
                    <a:pt x="669" y="299"/>
                  </a:cubicBezTo>
                  <a:cubicBezTo>
                    <a:pt x="669" y="312"/>
                    <a:pt x="659" y="322"/>
                    <a:pt x="647" y="322"/>
                  </a:cubicBezTo>
                  <a:close/>
                  <a:moveTo>
                    <a:pt x="647" y="266"/>
                  </a:moveTo>
                  <a:cubicBezTo>
                    <a:pt x="635" y="266"/>
                    <a:pt x="625" y="256"/>
                    <a:pt x="625" y="244"/>
                  </a:cubicBezTo>
                  <a:cubicBezTo>
                    <a:pt x="625" y="232"/>
                    <a:pt x="635" y="222"/>
                    <a:pt x="647" y="222"/>
                  </a:cubicBezTo>
                  <a:cubicBezTo>
                    <a:pt x="659" y="222"/>
                    <a:pt x="669" y="232"/>
                    <a:pt x="669" y="244"/>
                  </a:cubicBezTo>
                  <a:cubicBezTo>
                    <a:pt x="669" y="256"/>
                    <a:pt x="659" y="266"/>
                    <a:pt x="647" y="266"/>
                  </a:cubicBezTo>
                  <a:close/>
                  <a:moveTo>
                    <a:pt x="702" y="432"/>
                  </a:moveTo>
                  <a:cubicBezTo>
                    <a:pt x="690" y="432"/>
                    <a:pt x="680" y="422"/>
                    <a:pt x="680" y="410"/>
                  </a:cubicBezTo>
                  <a:cubicBezTo>
                    <a:pt x="680" y="398"/>
                    <a:pt x="690" y="388"/>
                    <a:pt x="702" y="388"/>
                  </a:cubicBezTo>
                  <a:cubicBezTo>
                    <a:pt x="714" y="388"/>
                    <a:pt x="724" y="398"/>
                    <a:pt x="724" y="410"/>
                  </a:cubicBezTo>
                  <a:cubicBezTo>
                    <a:pt x="724" y="422"/>
                    <a:pt x="714" y="432"/>
                    <a:pt x="702" y="432"/>
                  </a:cubicBezTo>
                  <a:close/>
                  <a:moveTo>
                    <a:pt x="702" y="377"/>
                  </a:moveTo>
                  <a:cubicBezTo>
                    <a:pt x="690" y="377"/>
                    <a:pt x="680" y="367"/>
                    <a:pt x="680" y="355"/>
                  </a:cubicBezTo>
                  <a:cubicBezTo>
                    <a:pt x="680" y="342"/>
                    <a:pt x="690" y="333"/>
                    <a:pt x="702" y="333"/>
                  </a:cubicBezTo>
                  <a:cubicBezTo>
                    <a:pt x="714" y="333"/>
                    <a:pt x="724" y="342"/>
                    <a:pt x="724" y="355"/>
                  </a:cubicBezTo>
                  <a:cubicBezTo>
                    <a:pt x="724" y="367"/>
                    <a:pt x="714" y="377"/>
                    <a:pt x="702" y="377"/>
                  </a:cubicBezTo>
                  <a:close/>
                  <a:moveTo>
                    <a:pt x="758" y="488"/>
                  </a:moveTo>
                  <a:cubicBezTo>
                    <a:pt x="745" y="488"/>
                    <a:pt x="735" y="478"/>
                    <a:pt x="735" y="466"/>
                  </a:cubicBezTo>
                  <a:cubicBezTo>
                    <a:pt x="735" y="453"/>
                    <a:pt x="745" y="443"/>
                    <a:pt x="758" y="443"/>
                  </a:cubicBezTo>
                  <a:cubicBezTo>
                    <a:pt x="770" y="443"/>
                    <a:pt x="780" y="453"/>
                    <a:pt x="780" y="466"/>
                  </a:cubicBezTo>
                  <a:cubicBezTo>
                    <a:pt x="780" y="478"/>
                    <a:pt x="770" y="488"/>
                    <a:pt x="758" y="488"/>
                  </a:cubicBezTo>
                  <a:close/>
                  <a:moveTo>
                    <a:pt x="758" y="432"/>
                  </a:moveTo>
                  <a:cubicBezTo>
                    <a:pt x="745" y="432"/>
                    <a:pt x="735" y="422"/>
                    <a:pt x="735" y="410"/>
                  </a:cubicBezTo>
                  <a:cubicBezTo>
                    <a:pt x="735" y="398"/>
                    <a:pt x="745" y="388"/>
                    <a:pt x="758" y="388"/>
                  </a:cubicBezTo>
                  <a:cubicBezTo>
                    <a:pt x="770" y="388"/>
                    <a:pt x="780" y="398"/>
                    <a:pt x="780" y="410"/>
                  </a:cubicBezTo>
                  <a:cubicBezTo>
                    <a:pt x="780" y="422"/>
                    <a:pt x="770" y="432"/>
                    <a:pt x="758" y="432"/>
                  </a:cubicBezTo>
                  <a:close/>
                  <a:moveTo>
                    <a:pt x="758" y="377"/>
                  </a:moveTo>
                  <a:cubicBezTo>
                    <a:pt x="745" y="377"/>
                    <a:pt x="735" y="367"/>
                    <a:pt x="735" y="355"/>
                  </a:cubicBezTo>
                  <a:cubicBezTo>
                    <a:pt x="735" y="342"/>
                    <a:pt x="745" y="333"/>
                    <a:pt x="758" y="333"/>
                  </a:cubicBezTo>
                  <a:cubicBezTo>
                    <a:pt x="770" y="333"/>
                    <a:pt x="780" y="342"/>
                    <a:pt x="780" y="355"/>
                  </a:cubicBezTo>
                  <a:cubicBezTo>
                    <a:pt x="780" y="367"/>
                    <a:pt x="770" y="377"/>
                    <a:pt x="758" y="377"/>
                  </a:cubicBezTo>
                  <a:close/>
                  <a:moveTo>
                    <a:pt x="758" y="322"/>
                  </a:moveTo>
                  <a:cubicBezTo>
                    <a:pt x="745" y="322"/>
                    <a:pt x="735" y="312"/>
                    <a:pt x="735" y="299"/>
                  </a:cubicBezTo>
                  <a:cubicBezTo>
                    <a:pt x="735" y="287"/>
                    <a:pt x="745" y="277"/>
                    <a:pt x="758" y="277"/>
                  </a:cubicBezTo>
                  <a:cubicBezTo>
                    <a:pt x="770" y="277"/>
                    <a:pt x="780" y="287"/>
                    <a:pt x="780" y="299"/>
                  </a:cubicBezTo>
                  <a:cubicBezTo>
                    <a:pt x="780" y="312"/>
                    <a:pt x="770" y="322"/>
                    <a:pt x="758" y="322"/>
                  </a:cubicBezTo>
                  <a:close/>
                  <a:moveTo>
                    <a:pt x="758" y="266"/>
                  </a:moveTo>
                  <a:cubicBezTo>
                    <a:pt x="745" y="266"/>
                    <a:pt x="735" y="256"/>
                    <a:pt x="735" y="244"/>
                  </a:cubicBezTo>
                  <a:cubicBezTo>
                    <a:pt x="735" y="232"/>
                    <a:pt x="745" y="222"/>
                    <a:pt x="758" y="222"/>
                  </a:cubicBezTo>
                  <a:cubicBezTo>
                    <a:pt x="770" y="222"/>
                    <a:pt x="780" y="232"/>
                    <a:pt x="780" y="244"/>
                  </a:cubicBezTo>
                  <a:cubicBezTo>
                    <a:pt x="780" y="256"/>
                    <a:pt x="770" y="266"/>
                    <a:pt x="758" y="266"/>
                  </a:cubicBezTo>
                  <a:close/>
                  <a:moveTo>
                    <a:pt x="813" y="488"/>
                  </a:moveTo>
                  <a:cubicBezTo>
                    <a:pt x="801" y="488"/>
                    <a:pt x="791" y="478"/>
                    <a:pt x="791" y="466"/>
                  </a:cubicBezTo>
                  <a:cubicBezTo>
                    <a:pt x="791" y="453"/>
                    <a:pt x="801" y="443"/>
                    <a:pt x="813" y="443"/>
                  </a:cubicBezTo>
                  <a:cubicBezTo>
                    <a:pt x="825" y="443"/>
                    <a:pt x="835" y="453"/>
                    <a:pt x="835" y="466"/>
                  </a:cubicBezTo>
                  <a:cubicBezTo>
                    <a:pt x="835" y="478"/>
                    <a:pt x="825" y="488"/>
                    <a:pt x="813" y="488"/>
                  </a:cubicBezTo>
                  <a:close/>
                  <a:moveTo>
                    <a:pt x="813" y="432"/>
                  </a:moveTo>
                  <a:cubicBezTo>
                    <a:pt x="801" y="432"/>
                    <a:pt x="791" y="422"/>
                    <a:pt x="791" y="410"/>
                  </a:cubicBezTo>
                  <a:cubicBezTo>
                    <a:pt x="791" y="398"/>
                    <a:pt x="801" y="388"/>
                    <a:pt x="813" y="388"/>
                  </a:cubicBezTo>
                  <a:cubicBezTo>
                    <a:pt x="825" y="388"/>
                    <a:pt x="835" y="398"/>
                    <a:pt x="835" y="410"/>
                  </a:cubicBezTo>
                  <a:cubicBezTo>
                    <a:pt x="835" y="422"/>
                    <a:pt x="825" y="432"/>
                    <a:pt x="813" y="432"/>
                  </a:cubicBezTo>
                  <a:close/>
                  <a:moveTo>
                    <a:pt x="813" y="377"/>
                  </a:moveTo>
                  <a:cubicBezTo>
                    <a:pt x="801" y="377"/>
                    <a:pt x="791" y="367"/>
                    <a:pt x="791" y="355"/>
                  </a:cubicBezTo>
                  <a:cubicBezTo>
                    <a:pt x="791" y="342"/>
                    <a:pt x="801" y="333"/>
                    <a:pt x="813" y="333"/>
                  </a:cubicBezTo>
                  <a:cubicBezTo>
                    <a:pt x="825" y="333"/>
                    <a:pt x="835" y="342"/>
                    <a:pt x="835" y="355"/>
                  </a:cubicBezTo>
                  <a:cubicBezTo>
                    <a:pt x="835" y="367"/>
                    <a:pt x="825" y="377"/>
                    <a:pt x="813" y="377"/>
                  </a:cubicBezTo>
                  <a:close/>
                  <a:moveTo>
                    <a:pt x="813" y="322"/>
                  </a:moveTo>
                  <a:cubicBezTo>
                    <a:pt x="801" y="322"/>
                    <a:pt x="791" y="312"/>
                    <a:pt x="791" y="299"/>
                  </a:cubicBezTo>
                  <a:cubicBezTo>
                    <a:pt x="791" y="287"/>
                    <a:pt x="801" y="277"/>
                    <a:pt x="813" y="277"/>
                  </a:cubicBezTo>
                  <a:cubicBezTo>
                    <a:pt x="825" y="277"/>
                    <a:pt x="835" y="287"/>
                    <a:pt x="835" y="299"/>
                  </a:cubicBezTo>
                  <a:cubicBezTo>
                    <a:pt x="835" y="312"/>
                    <a:pt x="825" y="322"/>
                    <a:pt x="813" y="322"/>
                  </a:cubicBezTo>
                  <a:close/>
                  <a:moveTo>
                    <a:pt x="813" y="266"/>
                  </a:moveTo>
                  <a:cubicBezTo>
                    <a:pt x="801" y="266"/>
                    <a:pt x="791" y="256"/>
                    <a:pt x="791" y="244"/>
                  </a:cubicBezTo>
                  <a:cubicBezTo>
                    <a:pt x="791" y="232"/>
                    <a:pt x="801" y="222"/>
                    <a:pt x="813" y="222"/>
                  </a:cubicBezTo>
                  <a:cubicBezTo>
                    <a:pt x="825" y="222"/>
                    <a:pt x="835" y="232"/>
                    <a:pt x="835" y="244"/>
                  </a:cubicBezTo>
                  <a:cubicBezTo>
                    <a:pt x="835" y="256"/>
                    <a:pt x="825" y="266"/>
                    <a:pt x="813" y="266"/>
                  </a:cubicBezTo>
                  <a:close/>
                  <a:moveTo>
                    <a:pt x="813" y="211"/>
                  </a:moveTo>
                  <a:cubicBezTo>
                    <a:pt x="801" y="211"/>
                    <a:pt x="791" y="201"/>
                    <a:pt x="791" y="189"/>
                  </a:cubicBezTo>
                  <a:cubicBezTo>
                    <a:pt x="791" y="176"/>
                    <a:pt x="801" y="166"/>
                    <a:pt x="813" y="166"/>
                  </a:cubicBezTo>
                  <a:cubicBezTo>
                    <a:pt x="825" y="166"/>
                    <a:pt x="835" y="176"/>
                    <a:pt x="835" y="189"/>
                  </a:cubicBezTo>
                  <a:cubicBezTo>
                    <a:pt x="835" y="201"/>
                    <a:pt x="825" y="211"/>
                    <a:pt x="813" y="211"/>
                  </a:cubicBezTo>
                  <a:close/>
                  <a:moveTo>
                    <a:pt x="868" y="432"/>
                  </a:moveTo>
                  <a:cubicBezTo>
                    <a:pt x="856" y="432"/>
                    <a:pt x="846" y="422"/>
                    <a:pt x="846" y="410"/>
                  </a:cubicBezTo>
                  <a:cubicBezTo>
                    <a:pt x="846" y="398"/>
                    <a:pt x="856" y="388"/>
                    <a:pt x="868" y="388"/>
                  </a:cubicBezTo>
                  <a:cubicBezTo>
                    <a:pt x="881" y="388"/>
                    <a:pt x="891" y="398"/>
                    <a:pt x="891" y="410"/>
                  </a:cubicBezTo>
                  <a:cubicBezTo>
                    <a:pt x="891" y="422"/>
                    <a:pt x="881" y="432"/>
                    <a:pt x="868" y="432"/>
                  </a:cubicBezTo>
                  <a:close/>
                  <a:moveTo>
                    <a:pt x="924" y="488"/>
                  </a:moveTo>
                  <a:cubicBezTo>
                    <a:pt x="912" y="488"/>
                    <a:pt x="902" y="478"/>
                    <a:pt x="902" y="466"/>
                  </a:cubicBezTo>
                  <a:cubicBezTo>
                    <a:pt x="902" y="453"/>
                    <a:pt x="912" y="443"/>
                    <a:pt x="924" y="443"/>
                  </a:cubicBezTo>
                  <a:cubicBezTo>
                    <a:pt x="936" y="443"/>
                    <a:pt x="946" y="453"/>
                    <a:pt x="946" y="466"/>
                  </a:cubicBezTo>
                  <a:cubicBezTo>
                    <a:pt x="946" y="478"/>
                    <a:pt x="936" y="488"/>
                    <a:pt x="924" y="488"/>
                  </a:cubicBezTo>
                  <a:close/>
                  <a:moveTo>
                    <a:pt x="924" y="432"/>
                  </a:moveTo>
                  <a:cubicBezTo>
                    <a:pt x="912" y="432"/>
                    <a:pt x="902" y="422"/>
                    <a:pt x="902" y="410"/>
                  </a:cubicBezTo>
                  <a:cubicBezTo>
                    <a:pt x="902" y="398"/>
                    <a:pt x="912" y="388"/>
                    <a:pt x="924" y="388"/>
                  </a:cubicBezTo>
                  <a:cubicBezTo>
                    <a:pt x="936" y="388"/>
                    <a:pt x="946" y="398"/>
                    <a:pt x="946" y="410"/>
                  </a:cubicBezTo>
                  <a:cubicBezTo>
                    <a:pt x="946" y="422"/>
                    <a:pt x="936" y="432"/>
                    <a:pt x="924" y="432"/>
                  </a:cubicBezTo>
                  <a:close/>
                </a:path>
              </a:pathLst>
            </a:custGeom>
            <a:solidFill>
              <a:srgbClr val="9CAC1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nl-NL"/>
            </a:p>
          </p:txBody>
        </p:sp>
      </p:grpSp>
      <p:sp>
        <p:nvSpPr>
          <p:cNvPr id="1638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1000" y="2525088"/>
            <a:ext cx="7772400" cy="762000"/>
          </a:xfrm>
        </p:spPr>
        <p:txBody>
          <a:bodyPr/>
          <a:lstStyle/>
          <a:p>
            <a:pPr algn="ctr" eaLnBrk="1" hangingPunct="1"/>
            <a:r>
              <a:rPr lang="nl-NL" altLang="nl-NL" sz="3200" dirty="0" smtClean="0"/>
              <a:t/>
            </a:r>
            <a:br>
              <a:rPr lang="nl-NL" altLang="nl-NL" sz="3200" dirty="0" smtClean="0"/>
            </a:br>
            <a:r>
              <a:rPr lang="nl-NL" altLang="nl-NL" sz="3200" dirty="0" smtClean="0"/>
              <a:t>Welkom</a:t>
            </a:r>
            <a:endParaRPr lang="nl-NL" altLang="nl-NL" sz="2400" dirty="0"/>
          </a:p>
        </p:txBody>
      </p:sp>
      <p:sp>
        <p:nvSpPr>
          <p:cNvPr id="1638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066800" y="3639006"/>
            <a:ext cx="6400800" cy="533400"/>
          </a:xfrm>
        </p:spPr>
        <p:txBody>
          <a:bodyPr/>
          <a:lstStyle/>
          <a:p>
            <a:r>
              <a:rPr lang="nl-NL" altLang="nl-NL" dirty="0" smtClean="0"/>
              <a:t>Bij Attero.</a:t>
            </a:r>
            <a:endParaRPr lang="nl-NL" altLang="nl-NL" dirty="0"/>
          </a:p>
          <a:p>
            <a:pPr eaLnBrk="1" hangingPunct="1"/>
            <a:endParaRPr lang="nl-NL" altLang="nl-NL" dirty="0"/>
          </a:p>
        </p:txBody>
      </p:sp>
      <p:pic>
        <p:nvPicPr>
          <p:cNvPr id="16390" name="Picture 6" descr="L_Attero_RG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4675" y="381000"/>
            <a:ext cx="1681163" cy="1322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advClick="0" advTm="200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ijdelijke aanduiding voor dianummer 3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nl-NL" altLang="nl-NL" sz="1000" dirty="0" smtClean="0">
              <a:solidFill>
                <a:schemeClr val="bg1"/>
              </a:solidFill>
            </a:endParaRPr>
          </a:p>
        </p:txBody>
      </p:sp>
      <p:pic>
        <p:nvPicPr>
          <p:cNvPr id="30723" name="Picture 2" descr="Moerdijk-20100918 0019-k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608" b="4520"/>
          <a:stretch>
            <a:fillRect/>
          </a:stretch>
        </p:blipFill>
        <p:spPr bwMode="auto">
          <a:xfrm>
            <a:off x="0" y="0"/>
            <a:ext cx="9144000" cy="548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24" name="AutoShape 3"/>
          <p:cNvSpPr>
            <a:spLocks noChangeArrowheads="1"/>
          </p:cNvSpPr>
          <p:nvPr/>
        </p:nvSpPr>
        <p:spPr bwMode="auto">
          <a:xfrm>
            <a:off x="2057400" y="3657600"/>
            <a:ext cx="1219200" cy="304800"/>
          </a:xfrm>
          <a:prstGeom prst="roundRect">
            <a:avLst>
              <a:gd name="adj" fmla="val 16667"/>
            </a:avLst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compostfabriek</a:t>
            </a:r>
          </a:p>
        </p:txBody>
      </p:sp>
      <p:sp>
        <p:nvSpPr>
          <p:cNvPr id="30725" name="Rectangle 4"/>
          <p:cNvSpPr>
            <a:spLocks noChangeArrowheads="1"/>
          </p:cNvSpPr>
          <p:nvPr/>
        </p:nvSpPr>
        <p:spPr bwMode="auto">
          <a:xfrm>
            <a:off x="1143000" y="5486400"/>
            <a:ext cx="7086600" cy="457200"/>
          </a:xfrm>
          <a:prstGeom prst="rect">
            <a:avLst/>
          </a:prstGeom>
          <a:solidFill>
            <a:srgbClr val="6E14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marL="180975" indent="-1809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531813" indent="-1714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892175" indent="-1809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258888" indent="-18732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1611313" indent="-17145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068513" indent="-17145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525713" indent="-17145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2982913" indent="-17145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440113" indent="-17145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buFontTx/>
              <a:buNone/>
            </a:pPr>
            <a:r>
              <a:rPr lang="nl-NL" altLang="nl-NL" b="1">
                <a:solidFill>
                  <a:schemeClr val="bg1"/>
                </a:solidFill>
              </a:rPr>
              <a:t> </a:t>
            </a:r>
            <a:r>
              <a:rPr lang="nl-NL" altLang="nl-NL" b="1" u="sng">
                <a:solidFill>
                  <a:schemeClr val="bg1"/>
                </a:solidFill>
              </a:rPr>
              <a:t>Locatie Moerdijk</a:t>
            </a:r>
            <a:r>
              <a:rPr lang="nl-NL" altLang="nl-NL" b="1">
                <a:solidFill>
                  <a:schemeClr val="bg1"/>
                </a:solidFill>
              </a:rPr>
              <a:t>: afvalenergiecentrale en compostfabriek</a:t>
            </a:r>
          </a:p>
        </p:txBody>
      </p:sp>
      <p:sp>
        <p:nvSpPr>
          <p:cNvPr id="30726" name="AutoShape 5"/>
          <p:cNvSpPr>
            <a:spLocks noChangeArrowheads="1"/>
          </p:cNvSpPr>
          <p:nvPr/>
        </p:nvSpPr>
        <p:spPr bwMode="auto">
          <a:xfrm>
            <a:off x="5715000" y="685800"/>
            <a:ext cx="1600200" cy="304800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afvalenergiecentrale</a:t>
            </a:r>
          </a:p>
        </p:txBody>
      </p:sp>
      <p:sp>
        <p:nvSpPr>
          <p:cNvPr id="30727" name="AutoShape 6"/>
          <p:cNvSpPr>
            <a:spLocks noChangeArrowheads="1"/>
          </p:cNvSpPr>
          <p:nvPr/>
        </p:nvSpPr>
        <p:spPr bwMode="auto">
          <a:xfrm>
            <a:off x="5486400" y="4419600"/>
            <a:ext cx="1371600" cy="304800"/>
          </a:xfrm>
          <a:prstGeom prst="roundRect">
            <a:avLst>
              <a:gd name="adj" fmla="val 16667"/>
            </a:avLst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containerterminal</a:t>
            </a:r>
          </a:p>
        </p:txBody>
      </p:sp>
      <p:sp>
        <p:nvSpPr>
          <p:cNvPr id="30728" name="AutoShape 7"/>
          <p:cNvSpPr>
            <a:spLocks noChangeArrowheads="1"/>
          </p:cNvSpPr>
          <p:nvPr/>
        </p:nvSpPr>
        <p:spPr bwMode="auto">
          <a:xfrm>
            <a:off x="6858000" y="3352800"/>
            <a:ext cx="762000" cy="304800"/>
          </a:xfrm>
          <a:prstGeom prst="roundRect">
            <a:avLst>
              <a:gd name="adj" fmla="val 16667"/>
            </a:avLst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weegbrug</a:t>
            </a:r>
          </a:p>
        </p:txBody>
      </p:sp>
      <p:sp>
        <p:nvSpPr>
          <p:cNvPr id="30729" name="AutoShape 8"/>
          <p:cNvSpPr>
            <a:spLocks noChangeArrowheads="1"/>
          </p:cNvSpPr>
          <p:nvPr/>
        </p:nvSpPr>
        <p:spPr bwMode="auto">
          <a:xfrm>
            <a:off x="2743200" y="1905000"/>
            <a:ext cx="1524000" cy="304800"/>
          </a:xfrm>
          <a:prstGeom prst="roundRect">
            <a:avLst>
              <a:gd name="adj" fmla="val 16667"/>
            </a:avLst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opwerking bodemas</a:t>
            </a:r>
          </a:p>
        </p:txBody>
      </p:sp>
      <p:sp>
        <p:nvSpPr>
          <p:cNvPr id="30730" name="AutoShape 9"/>
          <p:cNvSpPr>
            <a:spLocks noChangeArrowheads="1"/>
          </p:cNvSpPr>
          <p:nvPr/>
        </p:nvSpPr>
        <p:spPr bwMode="auto">
          <a:xfrm>
            <a:off x="4114800" y="914400"/>
            <a:ext cx="685800" cy="304800"/>
          </a:xfrm>
          <a:prstGeom prst="roundRect">
            <a:avLst>
              <a:gd name="adj" fmla="val 16667"/>
            </a:avLst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loskade</a:t>
            </a:r>
          </a:p>
        </p:txBody>
      </p:sp>
      <p:sp>
        <p:nvSpPr>
          <p:cNvPr id="2" name="Vrije vorm 1"/>
          <p:cNvSpPr/>
          <p:nvPr/>
        </p:nvSpPr>
        <p:spPr>
          <a:xfrm>
            <a:off x="7286625" y="2214563"/>
            <a:ext cx="1871663" cy="971550"/>
          </a:xfrm>
          <a:custGeom>
            <a:avLst/>
            <a:gdLst>
              <a:gd name="connsiteX0" fmla="*/ 0 w 1743075"/>
              <a:gd name="connsiteY0" fmla="*/ 285750 h 957262"/>
              <a:gd name="connsiteX1" fmla="*/ 1485900 w 1743075"/>
              <a:gd name="connsiteY1" fmla="*/ 0 h 957262"/>
              <a:gd name="connsiteX2" fmla="*/ 1714500 w 1743075"/>
              <a:gd name="connsiteY2" fmla="*/ 142875 h 957262"/>
              <a:gd name="connsiteX3" fmla="*/ 1743075 w 1743075"/>
              <a:gd name="connsiteY3" fmla="*/ 785812 h 957262"/>
              <a:gd name="connsiteX4" fmla="*/ 900112 w 1743075"/>
              <a:gd name="connsiteY4" fmla="*/ 957262 h 957262"/>
              <a:gd name="connsiteX5" fmla="*/ 0 w 1743075"/>
              <a:gd name="connsiteY5" fmla="*/ 285750 h 957262"/>
              <a:gd name="connsiteX0" fmla="*/ 0 w 1871663"/>
              <a:gd name="connsiteY0" fmla="*/ 300037 h 957262"/>
              <a:gd name="connsiteX1" fmla="*/ 1614488 w 1871663"/>
              <a:gd name="connsiteY1" fmla="*/ 0 h 957262"/>
              <a:gd name="connsiteX2" fmla="*/ 1843088 w 1871663"/>
              <a:gd name="connsiteY2" fmla="*/ 142875 h 957262"/>
              <a:gd name="connsiteX3" fmla="*/ 1871663 w 1871663"/>
              <a:gd name="connsiteY3" fmla="*/ 785812 h 957262"/>
              <a:gd name="connsiteX4" fmla="*/ 1028700 w 1871663"/>
              <a:gd name="connsiteY4" fmla="*/ 957262 h 957262"/>
              <a:gd name="connsiteX5" fmla="*/ 0 w 1871663"/>
              <a:gd name="connsiteY5" fmla="*/ 300037 h 957262"/>
              <a:gd name="connsiteX0" fmla="*/ 0 w 1871663"/>
              <a:gd name="connsiteY0" fmla="*/ 300037 h 971550"/>
              <a:gd name="connsiteX1" fmla="*/ 1614488 w 1871663"/>
              <a:gd name="connsiteY1" fmla="*/ 0 h 971550"/>
              <a:gd name="connsiteX2" fmla="*/ 1843088 w 1871663"/>
              <a:gd name="connsiteY2" fmla="*/ 142875 h 971550"/>
              <a:gd name="connsiteX3" fmla="*/ 1871663 w 1871663"/>
              <a:gd name="connsiteY3" fmla="*/ 785812 h 971550"/>
              <a:gd name="connsiteX4" fmla="*/ 971550 w 1871663"/>
              <a:gd name="connsiteY4" fmla="*/ 971550 h 971550"/>
              <a:gd name="connsiteX5" fmla="*/ 0 w 1871663"/>
              <a:gd name="connsiteY5" fmla="*/ 300037 h 971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71663" h="971550">
                <a:moveTo>
                  <a:pt x="0" y="300037"/>
                </a:moveTo>
                <a:lnTo>
                  <a:pt x="1614488" y="0"/>
                </a:lnTo>
                <a:lnTo>
                  <a:pt x="1843088" y="142875"/>
                </a:lnTo>
                <a:lnTo>
                  <a:pt x="1871663" y="785812"/>
                </a:lnTo>
                <a:lnTo>
                  <a:pt x="971550" y="971550"/>
                </a:lnTo>
                <a:lnTo>
                  <a:pt x="0" y="300037"/>
                </a:lnTo>
                <a:close/>
              </a:path>
            </a:pathLst>
          </a:cu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nl-NL" dirty="0"/>
              <a:t>        </a:t>
            </a:r>
            <a:r>
              <a:rPr lang="nl-NL" b="1" dirty="0"/>
              <a:t>Bouwplaats</a:t>
            </a:r>
          </a:p>
          <a:p>
            <a:pPr algn="ctr">
              <a:defRPr/>
            </a:pPr>
            <a:r>
              <a:rPr lang="nl-NL" b="1" dirty="0"/>
              <a:t>          stoomturbine</a:t>
            </a:r>
          </a:p>
        </p:txBody>
      </p:sp>
    </p:spTree>
    <p:extLst>
      <p:ext uri="{BB962C8B-B14F-4D97-AF65-F5344CB8AC3E}">
        <p14:creationId xmlns:p14="http://schemas.microsoft.com/office/powerpoint/2010/main" val="659454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smtClean="0"/>
              <a:t>Korte geschiedenis van de AEC Moerdijk</a:t>
            </a:r>
          </a:p>
        </p:txBody>
      </p:sp>
      <p:sp>
        <p:nvSpPr>
          <p:cNvPr id="32771" name="Tijdelijke aanduiding voor inhou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altLang="nl-NL" smtClean="0"/>
              <a:t>In 1993 is de NV Afvalverbrandingsinstallatie Zuid-Nederland (AZN) opgericht op verzoek van de provincies Limburg, Noord-Brabant en Zeeland</a:t>
            </a:r>
          </a:p>
          <a:p>
            <a:r>
              <a:rPr lang="nl-NL" altLang="nl-NL" smtClean="0"/>
              <a:t>Doel: het bouwen van 2 afvalverbrandingsinstallaties</a:t>
            </a:r>
          </a:p>
          <a:p>
            <a:r>
              <a:rPr lang="nl-NL" altLang="nl-NL" smtClean="0"/>
              <a:t>Begin 1997 is de bouw voltooid en de operatie gestart</a:t>
            </a:r>
          </a:p>
          <a:p>
            <a:r>
              <a:rPr lang="nl-NL" altLang="nl-NL" smtClean="0"/>
              <a:t>Bijzonderheid van deze installatie was de koppeling met de WKC van het toenmalige EPZ, nu onderdeel van RWE</a:t>
            </a:r>
          </a:p>
          <a:p>
            <a:r>
              <a:rPr lang="nl-NL" altLang="nl-NL" smtClean="0"/>
              <a:t>Door deze koppeling een hoog rendement qua energieproductie, goed voor het E-verbruik van een stad als Tilburg</a:t>
            </a:r>
          </a:p>
          <a:p>
            <a:r>
              <a:rPr lang="nl-NL" altLang="nl-NL" smtClean="0"/>
              <a:t>In de periode 2007-2009 is de AEC uitgebreid met een 4</a:t>
            </a:r>
            <a:r>
              <a:rPr lang="nl-NL" altLang="nl-NL" baseline="30000" smtClean="0"/>
              <a:t>e</a:t>
            </a:r>
            <a:r>
              <a:rPr lang="nl-NL" altLang="nl-NL" smtClean="0"/>
              <a:t> verbrandingslijn</a:t>
            </a:r>
          </a:p>
          <a:p>
            <a:r>
              <a:rPr lang="nl-NL" altLang="nl-NL" smtClean="0"/>
              <a:t>Door het stopzetten van de WKC van RWE na 2017 is de noodzaak tot de bouw van een eigen turbine installatie ontstaan</a:t>
            </a:r>
          </a:p>
        </p:txBody>
      </p:sp>
      <p:sp>
        <p:nvSpPr>
          <p:cNvPr id="32772" name="Tijdelijke aanduiding voor dianummer 3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fld id="{E3DA4612-65AA-4AA2-A582-D887F16BB81A}" type="slidenum">
              <a:rPr lang="nl-NL" altLang="nl-NL" sz="1000" smtClean="0">
                <a:solidFill>
                  <a:schemeClr val="bg1"/>
                </a:solidFill>
              </a:rPr>
              <a:pPr/>
              <a:t>11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37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348662" cy="990600"/>
          </a:xfrm>
        </p:spPr>
        <p:txBody>
          <a:bodyPr/>
          <a:lstStyle/>
          <a:p>
            <a:r>
              <a:rPr lang="nl-NL" altLang="nl-NL" smtClean="0"/>
              <a:t>De groei van de AEC in beeld – van 3 naar 4 lijnen</a:t>
            </a:r>
          </a:p>
        </p:txBody>
      </p:sp>
      <p:sp>
        <p:nvSpPr>
          <p:cNvPr id="33795" name="Tijdelijke aanduiding voor dianummer 2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fld id="{3AA3A04E-49DF-4698-B830-B185FF97904E}" type="slidenum">
              <a:rPr lang="nl-NL" altLang="nl-NL" sz="1000" smtClean="0">
                <a:solidFill>
                  <a:schemeClr val="bg1"/>
                </a:solidFill>
              </a:rPr>
              <a:pPr/>
              <a:t>12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pic>
        <p:nvPicPr>
          <p:cNvPr id="33796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3813" y="1382713"/>
            <a:ext cx="2693987" cy="2693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7" name="Afbeelding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138" y="1295400"/>
            <a:ext cx="3708400" cy="2781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8" name="Afbeelding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0563" y="3711575"/>
            <a:ext cx="4343400" cy="3070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4917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B41D2430-7899-43F3-BF8E-8F9A8160FAEF}" type="slidenum">
              <a:rPr lang="nl-NL" altLang="nl-NL" sz="10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3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sp>
        <p:nvSpPr>
          <p:cNvPr id="34819" name="Text Box 2"/>
          <p:cNvSpPr txBox="1">
            <a:spLocks noChangeArrowheads="1"/>
          </p:cNvSpPr>
          <p:nvPr/>
        </p:nvSpPr>
        <p:spPr bwMode="auto">
          <a:xfrm>
            <a:off x="228600" y="1600200"/>
            <a:ext cx="3509963" cy="39195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cs typeface="Arial" panose="020B0604020202020204" pitchFamily="34" charset="0"/>
              </a:rPr>
              <a:t>Energie efficiency</a:t>
            </a: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:         32%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cs typeface="Arial" panose="020B0604020202020204" pitchFamily="34" charset="0"/>
              </a:rPr>
              <a:t>Energie efficiency</a:t>
            </a: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:  R1=1.00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cs typeface="Arial" panose="020B0604020202020204" pitchFamily="34" charset="0"/>
              </a:rPr>
              <a:t>Productie van hogedrukstoom</a:t>
            </a: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:</a:t>
            </a:r>
          </a:p>
          <a:p>
            <a:pPr eaLnBrk="1" hangingPunct="1">
              <a:spcBef>
                <a:spcPct val="0"/>
              </a:spcBef>
            </a:pP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(lijn 1-3):        2.250.000 to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cs typeface="Arial" panose="020B0604020202020204" pitchFamily="34" charset="0"/>
              </a:rPr>
              <a:t>Productie van lagedrukstoom:</a:t>
            </a:r>
          </a:p>
          <a:p>
            <a:pPr eaLnBrk="1" hangingPunct="1">
              <a:spcBef>
                <a:spcPct val="0"/>
              </a:spcBef>
            </a:pP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(lijn 4):               970.000 to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cs typeface="Arial" panose="020B0604020202020204" pitchFamily="34" charset="0"/>
              </a:rPr>
              <a:t>E-productie:</a:t>
            </a:r>
            <a:r>
              <a:rPr lang="nl-NL" altLang="nl-NL" sz="1800">
                <a:solidFill>
                  <a:schemeClr val="bg1"/>
                </a:solidFill>
                <a:cs typeface="Arial" panose="020B0604020202020204" pitchFamily="34" charset="0"/>
              </a:rPr>
              <a:t>       110.000 MWh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chemeClr val="bg1"/>
              </a:solidFill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800" b="1">
                <a:solidFill>
                  <a:schemeClr val="bg1"/>
                </a:solidFill>
                <a:latin typeface="Arial" panose="020B0604020202020204" pitchFamily="34" charset="0"/>
              </a:rPr>
              <a:t>Verbrandingscapaciteit:</a:t>
            </a:r>
          </a:p>
          <a:p>
            <a:pPr eaLnBrk="1" hangingPunct="1">
              <a:spcBef>
                <a:spcPct val="0"/>
              </a:spcBef>
            </a:pPr>
            <a:r>
              <a:rPr lang="nl-NL" altLang="nl-NL" sz="1800">
                <a:solidFill>
                  <a:schemeClr val="bg1"/>
                </a:solidFill>
                <a:latin typeface="Arial" panose="020B0604020202020204" pitchFamily="34" charset="0"/>
              </a:rPr>
              <a:t>    1.000.000 ton / jaar/ 4 lijnen</a:t>
            </a:r>
          </a:p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80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34820" name="Rectangle 3"/>
          <p:cNvSpPr>
            <a:spLocks noGrp="1" noChangeArrowheads="1"/>
          </p:cNvSpPr>
          <p:nvPr>
            <p:ph type="title"/>
          </p:nvPr>
        </p:nvSpPr>
        <p:spPr>
          <a:xfrm>
            <a:off x="228600" y="152400"/>
            <a:ext cx="8043863" cy="762000"/>
          </a:xfrm>
        </p:spPr>
        <p:txBody>
          <a:bodyPr/>
          <a:lstStyle/>
          <a:p>
            <a:pPr algn="ctr"/>
            <a:r>
              <a:rPr lang="nl-NL" altLang="nl-NL" dirty="0" smtClean="0"/>
              <a:t>Afvalenergiecentrale Moerdijk </a:t>
            </a:r>
          </a:p>
        </p:txBody>
      </p:sp>
      <p:pic>
        <p:nvPicPr>
          <p:cNvPr id="3482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6418" b="2287"/>
          <a:stretch>
            <a:fillRect/>
          </a:stretch>
        </p:blipFill>
        <p:spPr bwMode="auto">
          <a:xfrm>
            <a:off x="3967163" y="1600200"/>
            <a:ext cx="4572000" cy="3917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822" name="Rectangle 5"/>
          <p:cNvSpPr>
            <a:spLocks noChangeArrowheads="1"/>
          </p:cNvSpPr>
          <p:nvPr/>
        </p:nvSpPr>
        <p:spPr bwMode="auto">
          <a:xfrm>
            <a:off x="5414963" y="1676400"/>
            <a:ext cx="3078162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>
                <a:cs typeface="Arial" panose="020B0604020202020204" pitchFamily="34" charset="0"/>
              </a:rPr>
              <a:t>Operationeel sinds 1997</a:t>
            </a:r>
          </a:p>
        </p:txBody>
      </p:sp>
    </p:spTree>
    <p:extLst>
      <p:ext uri="{BB962C8B-B14F-4D97-AF65-F5344CB8AC3E}">
        <p14:creationId xmlns:p14="http://schemas.microsoft.com/office/powerpoint/2010/main" val="2637874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335644C-AE4C-4AE4-9929-433095071E81}" type="slidenum">
              <a:rPr lang="nl-NL" altLang="nl-NL" sz="10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14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sp>
        <p:nvSpPr>
          <p:cNvPr id="36867" name="Rectangle 2"/>
          <p:cNvSpPr>
            <a:spLocks noGrp="1" noChangeArrowheads="1"/>
          </p:cNvSpPr>
          <p:nvPr>
            <p:ph type="title"/>
          </p:nvPr>
        </p:nvSpPr>
        <p:spPr>
          <a:xfrm>
            <a:off x="261938" y="152400"/>
            <a:ext cx="8043862" cy="762000"/>
          </a:xfrm>
        </p:spPr>
        <p:txBody>
          <a:bodyPr/>
          <a:lstStyle/>
          <a:p>
            <a:pPr algn="ctr"/>
            <a:r>
              <a:rPr lang="nl-NL" altLang="nl-NL" dirty="0" smtClean="0"/>
              <a:t>Afvalenergiecentrale Moerdijk </a:t>
            </a:r>
          </a:p>
        </p:txBody>
      </p:sp>
      <p:pic>
        <p:nvPicPr>
          <p:cNvPr id="36868" name="Picture 4" descr="040331 - fabrieknieuw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8F6F7"/>
              </a:clrFrom>
              <a:clrTo>
                <a:srgbClr val="F8F6F7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0" y="1143001"/>
            <a:ext cx="8458200" cy="510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3333CC">
                      <a:alpha val="50000"/>
                    </a:srgbClr>
                  </a:outerShdw>
                </a:effectLst>
              </a14:hiddenEffects>
            </a:ext>
          </a:extLst>
        </p:spPr>
      </p:pic>
      <p:sp>
        <p:nvSpPr>
          <p:cNvPr id="36869" name="Rectangle 5"/>
          <p:cNvSpPr>
            <a:spLocks noChangeArrowheads="1"/>
          </p:cNvSpPr>
          <p:nvPr/>
        </p:nvSpPr>
        <p:spPr bwMode="auto">
          <a:xfrm>
            <a:off x="1828800" y="2514600"/>
            <a:ext cx="990600" cy="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600">
                <a:solidFill>
                  <a:schemeClr val="bg1"/>
                </a:solidFill>
              </a:rPr>
              <a:t>bunker</a:t>
            </a:r>
          </a:p>
        </p:txBody>
      </p:sp>
      <p:sp>
        <p:nvSpPr>
          <p:cNvPr id="36870" name="Rectangle 6"/>
          <p:cNvSpPr>
            <a:spLocks noChangeArrowheads="1"/>
          </p:cNvSpPr>
          <p:nvPr/>
        </p:nvSpPr>
        <p:spPr bwMode="auto">
          <a:xfrm>
            <a:off x="3124200" y="2514600"/>
            <a:ext cx="990600" cy="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600">
                <a:solidFill>
                  <a:schemeClr val="bg1"/>
                </a:solidFill>
              </a:rPr>
              <a:t>oven</a:t>
            </a:r>
          </a:p>
        </p:txBody>
      </p:sp>
      <p:sp>
        <p:nvSpPr>
          <p:cNvPr id="36871" name="Rectangle 7"/>
          <p:cNvSpPr>
            <a:spLocks noChangeArrowheads="1"/>
          </p:cNvSpPr>
          <p:nvPr/>
        </p:nvSpPr>
        <p:spPr bwMode="auto">
          <a:xfrm>
            <a:off x="4343400" y="2514600"/>
            <a:ext cx="1752600" cy="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600">
                <a:solidFill>
                  <a:schemeClr val="bg1"/>
                </a:solidFill>
              </a:rPr>
              <a:t>rookgasreiniging</a:t>
            </a:r>
          </a:p>
        </p:txBody>
      </p:sp>
      <p:sp>
        <p:nvSpPr>
          <p:cNvPr id="36872" name="Rectangle 8"/>
          <p:cNvSpPr>
            <a:spLocks noChangeArrowheads="1"/>
          </p:cNvSpPr>
          <p:nvPr/>
        </p:nvSpPr>
        <p:spPr bwMode="auto">
          <a:xfrm>
            <a:off x="609600" y="2514600"/>
            <a:ext cx="990600" cy="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600">
                <a:solidFill>
                  <a:schemeClr val="bg1"/>
                </a:solidFill>
              </a:rPr>
              <a:t>loshal</a:t>
            </a:r>
          </a:p>
        </p:txBody>
      </p:sp>
      <p:sp>
        <p:nvSpPr>
          <p:cNvPr id="36873" name="Line 9"/>
          <p:cNvSpPr>
            <a:spLocks noChangeShapeType="1"/>
          </p:cNvSpPr>
          <p:nvPr/>
        </p:nvSpPr>
        <p:spPr bwMode="auto">
          <a:xfrm>
            <a:off x="1676400" y="1981200"/>
            <a:ext cx="0" cy="129540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874" name="Line 10"/>
          <p:cNvSpPr>
            <a:spLocks noChangeShapeType="1"/>
          </p:cNvSpPr>
          <p:nvPr/>
        </p:nvSpPr>
        <p:spPr bwMode="auto">
          <a:xfrm>
            <a:off x="2971800" y="1981200"/>
            <a:ext cx="0" cy="129540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875" name="Line 11"/>
          <p:cNvSpPr>
            <a:spLocks noChangeShapeType="1"/>
          </p:cNvSpPr>
          <p:nvPr/>
        </p:nvSpPr>
        <p:spPr bwMode="auto">
          <a:xfrm>
            <a:off x="4191000" y="1981200"/>
            <a:ext cx="0" cy="129540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85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043862" cy="762000"/>
          </a:xfrm>
        </p:spPr>
        <p:txBody>
          <a:bodyPr/>
          <a:lstStyle/>
          <a:p>
            <a:pPr algn="ctr"/>
            <a:r>
              <a:rPr lang="nl-NL" altLang="nl-NL" dirty="0" smtClean="0"/>
              <a:t> Turbine project </a:t>
            </a:r>
          </a:p>
        </p:txBody>
      </p:sp>
      <p:sp>
        <p:nvSpPr>
          <p:cNvPr id="38915" name="Tijdelijke aanduiding voor dianummer 2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fld id="{E7A33F73-D948-468B-890D-0187BD8B34B4}" type="slidenum">
              <a:rPr lang="nl-NL" altLang="nl-NL" sz="1000" smtClean="0">
                <a:solidFill>
                  <a:schemeClr val="bg1"/>
                </a:solidFill>
              </a:rPr>
              <a:pPr/>
              <a:t>15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pic>
        <p:nvPicPr>
          <p:cNvPr id="38916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50" t="14445" r="6250" b="14444"/>
          <a:stretch>
            <a:fillRect/>
          </a:stretch>
        </p:blipFill>
        <p:spPr bwMode="auto">
          <a:xfrm>
            <a:off x="3505200" y="4057650"/>
            <a:ext cx="5638800" cy="281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7" name="Afbeelding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500" t="22223" r="6250" b="6667"/>
          <a:stretch>
            <a:fillRect/>
          </a:stretch>
        </p:blipFill>
        <p:spPr bwMode="auto">
          <a:xfrm>
            <a:off x="0" y="1198563"/>
            <a:ext cx="6127750" cy="2841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692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</p:spPr>
        <p:txBody>
          <a:bodyPr/>
          <a:lstStyle/>
          <a:p>
            <a:fld id="{E71EBCDC-C677-48AB-B5BB-5EFCA372BF82}" type="slidenum">
              <a:rPr lang="nl-NL" altLang="nl-NL"/>
              <a:pPr/>
              <a:t>16</a:t>
            </a:fld>
            <a:endParaRPr lang="nl-NL" altLang="nl-NL"/>
          </a:p>
        </p:txBody>
      </p:sp>
      <p:sp>
        <p:nvSpPr>
          <p:cNvPr id="113666" name="Rectangle 2"/>
          <p:cNvSpPr>
            <a:spLocks noGrp="1" noChangeArrowheads="1"/>
          </p:cNvSpPr>
          <p:nvPr>
            <p:ph type="title"/>
          </p:nvPr>
        </p:nvSpPr>
        <p:spPr>
          <a:xfrm>
            <a:off x="381000" y="83025"/>
            <a:ext cx="7764084" cy="678975"/>
          </a:xfrm>
        </p:spPr>
        <p:txBody>
          <a:bodyPr/>
          <a:lstStyle/>
          <a:p>
            <a:pPr algn="ctr"/>
            <a:r>
              <a:rPr lang="nl-NL" altLang="nl-NL" dirty="0" smtClean="0"/>
              <a:t> Naar een nieuwe Situatie</a:t>
            </a:r>
            <a:endParaRPr lang="nl-NL" altLang="nl-NL" dirty="0"/>
          </a:p>
        </p:txBody>
      </p:sp>
      <p:sp>
        <p:nvSpPr>
          <p:cNvPr id="1136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337481"/>
            <a:ext cx="8686800" cy="4953000"/>
          </a:xfrm>
        </p:spPr>
        <p:txBody>
          <a:bodyPr/>
          <a:lstStyle/>
          <a:p>
            <a:pPr marL="0" indent="0">
              <a:buNone/>
            </a:pPr>
            <a:r>
              <a:rPr lang="nl-NL" altLang="nl-NL" sz="1600" b="1" u="sng" dirty="0" smtClean="0"/>
              <a:t> Stoomafzet AEC-Moerdijk tot 31-12-2017.</a:t>
            </a:r>
            <a:endParaRPr lang="nl-NL" altLang="nl-NL" sz="1600" b="1" u="sng" dirty="0"/>
          </a:p>
          <a:p>
            <a:r>
              <a:rPr lang="nl-NL" altLang="nl-NL" sz="1400" dirty="0" smtClean="0"/>
              <a:t>Lijn </a:t>
            </a:r>
            <a:r>
              <a:rPr lang="nl-NL" altLang="nl-NL" sz="1400" dirty="0"/>
              <a:t>1-3 leveren </a:t>
            </a:r>
            <a:r>
              <a:rPr lang="nl-NL" altLang="nl-NL" sz="1400" dirty="0" smtClean="0"/>
              <a:t>Hoge Druk-stoom </a:t>
            </a:r>
            <a:r>
              <a:rPr lang="nl-NL" altLang="nl-NL" sz="1400" dirty="0"/>
              <a:t>aan WKC-Moerdijk van Essent, de stoom van lijn 4 </a:t>
            </a:r>
            <a:r>
              <a:rPr lang="nl-NL" altLang="nl-NL" sz="1400" dirty="0" smtClean="0"/>
              <a:t>gaat naar eigen </a:t>
            </a:r>
            <a:r>
              <a:rPr lang="nl-NL" altLang="nl-NL" sz="1400" dirty="0"/>
              <a:t>stoomturbine </a:t>
            </a:r>
            <a:r>
              <a:rPr lang="nl-NL" altLang="nl-NL" sz="1400" dirty="0" smtClean="0"/>
              <a:t>t.b.v</a:t>
            </a:r>
            <a:r>
              <a:rPr lang="nl-NL" altLang="nl-NL" sz="1400" dirty="0"/>
              <a:t>. elektriciteitsproductie en vervolgens als </a:t>
            </a:r>
            <a:r>
              <a:rPr lang="nl-NL" altLang="nl-NL" sz="1400" dirty="0" smtClean="0"/>
              <a:t>Lage Druk-stoom </a:t>
            </a:r>
            <a:r>
              <a:rPr lang="nl-NL" altLang="nl-NL" sz="1400" dirty="0"/>
              <a:t>aan </a:t>
            </a:r>
            <a:r>
              <a:rPr lang="nl-NL" altLang="nl-NL" sz="1400" dirty="0" smtClean="0"/>
              <a:t>Essent geleverd</a:t>
            </a:r>
            <a:r>
              <a:rPr lang="nl-NL" altLang="nl-NL" sz="1400" dirty="0"/>
              <a:t>.</a:t>
            </a:r>
          </a:p>
          <a:p>
            <a:r>
              <a:rPr lang="nl-NL" altLang="nl-NL" sz="1400" dirty="0" smtClean="0"/>
              <a:t>Essent </a:t>
            </a:r>
            <a:r>
              <a:rPr lang="nl-NL" altLang="nl-NL" sz="1400" dirty="0"/>
              <a:t>levert ca 70 </a:t>
            </a:r>
            <a:r>
              <a:rPr lang="nl-NL" altLang="nl-NL" sz="1400" dirty="0" smtClean="0"/>
              <a:t>ton/uur Midden Druk-stoom (26 bar) </a:t>
            </a:r>
            <a:r>
              <a:rPr lang="nl-NL" altLang="nl-NL" sz="1400" dirty="0"/>
              <a:t>vanuit WKC aan Shell </a:t>
            </a:r>
            <a:r>
              <a:rPr lang="nl-NL" altLang="nl-NL" sz="1400" dirty="0" smtClean="0"/>
              <a:t>Moerdijk.</a:t>
            </a:r>
            <a:endParaRPr lang="nl-NL" altLang="nl-NL" sz="1400" dirty="0"/>
          </a:p>
          <a:p>
            <a:r>
              <a:rPr lang="nl-NL" altLang="nl-NL" sz="1400" dirty="0" smtClean="0"/>
              <a:t>Shell Moerdijk </a:t>
            </a:r>
            <a:r>
              <a:rPr lang="nl-NL" altLang="nl-NL" sz="1400" dirty="0"/>
              <a:t>heeft een verouderd stroom- en elektriciteitsproductiepark en zal dit de komende </a:t>
            </a:r>
            <a:r>
              <a:rPr lang="nl-NL" altLang="nl-NL" sz="1400" dirty="0" smtClean="0"/>
              <a:t/>
            </a:r>
            <a:br>
              <a:rPr lang="nl-NL" altLang="nl-NL" sz="1400" dirty="0" smtClean="0"/>
            </a:br>
            <a:r>
              <a:rPr lang="nl-NL" altLang="nl-NL" sz="1400" dirty="0" smtClean="0"/>
              <a:t>tijd </a:t>
            </a:r>
            <a:r>
              <a:rPr lang="nl-NL" altLang="nl-NL" sz="1400" dirty="0"/>
              <a:t>ingrijpend moeten </a:t>
            </a:r>
            <a:r>
              <a:rPr lang="nl-NL" altLang="nl-NL" sz="1400" dirty="0" smtClean="0"/>
              <a:t>aanpassen.</a:t>
            </a:r>
          </a:p>
          <a:p>
            <a:r>
              <a:rPr lang="nl-NL" altLang="nl-NL" sz="1400" dirty="0"/>
              <a:t>Attero </a:t>
            </a:r>
            <a:r>
              <a:rPr lang="nl-NL" altLang="nl-NL" sz="1400" dirty="0" smtClean="0"/>
              <a:t>heeft stoomleveringscontracten </a:t>
            </a:r>
            <a:r>
              <a:rPr lang="nl-NL" altLang="nl-NL" sz="1400" dirty="0"/>
              <a:t>met Essent tot </a:t>
            </a:r>
            <a:r>
              <a:rPr lang="nl-NL" altLang="nl-NL" sz="1400" dirty="0" smtClean="0"/>
              <a:t>31-12-2017.  </a:t>
            </a:r>
            <a:endParaRPr lang="nl-NL" altLang="nl-NL" sz="1400" dirty="0"/>
          </a:p>
          <a:p>
            <a:pPr marL="9525" indent="0">
              <a:buNone/>
            </a:pPr>
            <a:endParaRPr lang="nl-NL" altLang="nl-NL" sz="1400" dirty="0" smtClean="0"/>
          </a:p>
          <a:p>
            <a:pPr marL="9525" indent="0">
              <a:buNone/>
            </a:pPr>
            <a:r>
              <a:rPr lang="nl-NL" altLang="nl-NL" sz="1600" b="1" u="sng" dirty="0" smtClean="0"/>
              <a:t>Stoomturbineproject</a:t>
            </a:r>
            <a:endParaRPr lang="nl-NL" altLang="nl-NL" sz="1600" b="1" u="sng" dirty="0"/>
          </a:p>
          <a:p>
            <a:r>
              <a:rPr lang="nl-NL" sz="1400" dirty="0" smtClean="0"/>
              <a:t>Om </a:t>
            </a:r>
            <a:r>
              <a:rPr lang="nl-NL" sz="1400" dirty="0"/>
              <a:t>de </a:t>
            </a:r>
            <a:r>
              <a:rPr lang="nl-NL" sz="1400" dirty="0" smtClean="0"/>
              <a:t>productie  en benutting van </a:t>
            </a:r>
            <a:r>
              <a:rPr lang="nl-NL" sz="1400" dirty="0"/>
              <a:t>stoom zeker te stellen </a:t>
            </a:r>
            <a:r>
              <a:rPr lang="nl-NL" sz="1400" dirty="0" smtClean="0"/>
              <a:t>na 01-01-2018 wordt </a:t>
            </a:r>
            <a:r>
              <a:rPr lang="nl-NL" sz="1400" dirty="0"/>
              <a:t>een eigen stoomturbine met </a:t>
            </a:r>
            <a:r>
              <a:rPr lang="nl-NL" sz="1400" dirty="0" smtClean="0"/>
              <a:t>alle </a:t>
            </a:r>
            <a:r>
              <a:rPr lang="nl-NL" sz="1400" dirty="0"/>
              <a:t>benodigde installaties en systemen gerealiseerd. </a:t>
            </a:r>
            <a:endParaRPr lang="nl-NL" sz="1400" dirty="0" smtClean="0"/>
          </a:p>
          <a:p>
            <a:r>
              <a:rPr lang="nl-NL" sz="1400" dirty="0"/>
              <a:t>De te bouwen installatie betreft een stoomturbine-generator combinatie met alle benodigde extracties voor lage </a:t>
            </a:r>
            <a:r>
              <a:rPr lang="nl-NL" sz="1400" dirty="0" smtClean="0"/>
              <a:t>druk processtoom </a:t>
            </a:r>
            <a:r>
              <a:rPr lang="nl-NL" sz="1400" dirty="0"/>
              <a:t>terug naar de AEC, alsook de installaties er om </a:t>
            </a:r>
            <a:r>
              <a:rPr lang="nl-NL" sz="1400" dirty="0" smtClean="0"/>
              <a:t>heen. </a:t>
            </a:r>
          </a:p>
          <a:p>
            <a:r>
              <a:rPr lang="nl-NL" sz="1400" dirty="0" smtClean="0"/>
              <a:t>Het project heeft een EPC </a:t>
            </a:r>
            <a:r>
              <a:rPr lang="nl-NL" sz="1400" dirty="0"/>
              <a:t>contract </a:t>
            </a:r>
            <a:r>
              <a:rPr lang="nl-NL" sz="1400" dirty="0" smtClean="0"/>
              <a:t>met </a:t>
            </a:r>
            <a:r>
              <a:rPr lang="nl-NL" sz="1400" dirty="0" err="1" smtClean="0"/>
              <a:t>Kraftanlagen</a:t>
            </a:r>
            <a:r>
              <a:rPr lang="nl-NL" sz="1400" dirty="0" smtClean="0"/>
              <a:t> München voor </a:t>
            </a:r>
            <a:r>
              <a:rPr lang="nl-NL" sz="1400" dirty="0"/>
              <a:t>het </a:t>
            </a:r>
            <a:r>
              <a:rPr lang="nl-NL" sz="1400" dirty="0" err="1" smtClean="0"/>
              <a:t>hoofdlot</a:t>
            </a:r>
            <a:r>
              <a:rPr lang="nl-NL" sz="1400" dirty="0" smtClean="0"/>
              <a:t>, bestaande </a:t>
            </a:r>
            <a:r>
              <a:rPr lang="nl-NL" sz="1400" dirty="0"/>
              <a:t>uit </a:t>
            </a:r>
            <a:r>
              <a:rPr lang="nl-NL" sz="1400" dirty="0" smtClean="0"/>
              <a:t/>
            </a:r>
            <a:br>
              <a:rPr lang="nl-NL" sz="1400" dirty="0" smtClean="0"/>
            </a:br>
            <a:r>
              <a:rPr lang="nl-NL" sz="1400" dirty="0" smtClean="0"/>
              <a:t>het </a:t>
            </a:r>
            <a:r>
              <a:rPr lang="nl-NL" sz="1400" dirty="0"/>
              <a:t>STG gebouw en toebehoren, alsook het koelwater systeem, de </a:t>
            </a:r>
            <a:r>
              <a:rPr lang="nl-NL" sz="1400" dirty="0" smtClean="0"/>
              <a:t>verbindende pijpleidingen en </a:t>
            </a:r>
            <a:br>
              <a:rPr lang="nl-NL" sz="1400" dirty="0" smtClean="0"/>
            </a:br>
            <a:r>
              <a:rPr lang="nl-NL" sz="1400" dirty="0" smtClean="0"/>
              <a:t>de </a:t>
            </a:r>
            <a:r>
              <a:rPr lang="nl-NL" sz="1400" dirty="0"/>
              <a:t>elektrische systemen. </a:t>
            </a:r>
            <a:endParaRPr lang="nl-NL" sz="1400" dirty="0" smtClean="0"/>
          </a:p>
          <a:p>
            <a:r>
              <a:rPr lang="nl-NL" sz="1400" dirty="0" smtClean="0"/>
              <a:t>De andere </a:t>
            </a:r>
            <a:r>
              <a:rPr lang="nl-NL" sz="1400" dirty="0"/>
              <a:t>delen van het project, bestaande uit de connectie met het </a:t>
            </a:r>
            <a:r>
              <a:rPr lang="nl-NL" sz="1400" dirty="0" smtClean="0"/>
              <a:t>landelijke </a:t>
            </a:r>
            <a:r>
              <a:rPr lang="nl-NL" sz="1400" dirty="0" err="1" smtClean="0"/>
              <a:t>elektricitietsnet</a:t>
            </a:r>
            <a:r>
              <a:rPr lang="nl-NL" sz="1400" dirty="0" smtClean="0"/>
              <a:t> </a:t>
            </a:r>
            <a:r>
              <a:rPr lang="nl-NL" sz="1400" dirty="0"/>
              <a:t>(kabel en </a:t>
            </a:r>
            <a:r>
              <a:rPr lang="nl-NL" sz="1400" dirty="0" err="1"/>
              <a:t>Tennet</a:t>
            </a:r>
            <a:r>
              <a:rPr lang="nl-NL" sz="1400" dirty="0"/>
              <a:t> </a:t>
            </a:r>
            <a:r>
              <a:rPr lang="nl-NL" sz="1400" dirty="0" smtClean="0"/>
              <a:t>aansluiting</a:t>
            </a:r>
            <a:r>
              <a:rPr lang="nl-NL" sz="1400" dirty="0"/>
              <a:t>) alsook de overige </a:t>
            </a:r>
            <a:r>
              <a:rPr lang="nl-NL" sz="1400" dirty="0" smtClean="0"/>
              <a:t>interfaces met </a:t>
            </a:r>
            <a:r>
              <a:rPr lang="nl-NL" sz="1400" dirty="0"/>
              <a:t>de AEC worden in eigen beheer </a:t>
            </a:r>
            <a:r>
              <a:rPr lang="nl-NL" sz="1400" dirty="0" smtClean="0"/>
              <a:t>uitgevoerd.</a:t>
            </a:r>
          </a:p>
          <a:p>
            <a:r>
              <a:rPr lang="nl-NL" sz="1400" dirty="0" smtClean="0"/>
              <a:t>Recent ook afspraken met Shell en Essent voor toekomstige stoomlevering</a:t>
            </a:r>
          </a:p>
          <a:p>
            <a:pPr lvl="1"/>
            <a:endParaRPr lang="nl-NL" altLang="nl-NL" sz="1400" dirty="0"/>
          </a:p>
          <a:p>
            <a:pPr lvl="1"/>
            <a:endParaRPr lang="nl-NL" altLang="nl-NL" sz="1400" dirty="0"/>
          </a:p>
          <a:p>
            <a:endParaRPr lang="nl-NL" altLang="nl-NL" sz="1400" dirty="0"/>
          </a:p>
        </p:txBody>
      </p:sp>
    </p:spTree>
    <p:extLst>
      <p:ext uri="{BB962C8B-B14F-4D97-AF65-F5344CB8AC3E}">
        <p14:creationId xmlns:p14="http://schemas.microsoft.com/office/powerpoint/2010/main" val="23707741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043862" cy="685800"/>
          </a:xfrm>
        </p:spPr>
        <p:txBody>
          <a:bodyPr/>
          <a:lstStyle/>
          <a:p>
            <a:pPr algn="ctr"/>
            <a:r>
              <a:rPr lang="nl-NL" dirty="0" smtClean="0"/>
              <a:t> Het basis schema van de installatie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99D2996-536A-4C07-BF39-DF60BE029ABB}" type="slidenum">
              <a:rPr lang="nl-NL" altLang="nl-NL" smtClean="0"/>
              <a:pPr>
                <a:defRPr/>
              </a:pPr>
              <a:t>17</a:t>
            </a:fld>
            <a:endParaRPr lang="nl-NL" altLang="nl-NL"/>
          </a:p>
        </p:txBody>
      </p:sp>
      <p:pic>
        <p:nvPicPr>
          <p:cNvPr id="7" name="Tijdelijke aanduiding voor inhoud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6200" y="1219775"/>
            <a:ext cx="9220200" cy="5638225"/>
          </a:xfrm>
        </p:spPr>
      </p:pic>
    </p:spTree>
    <p:extLst>
      <p:ext uri="{BB962C8B-B14F-4D97-AF65-F5344CB8AC3E}">
        <p14:creationId xmlns:p14="http://schemas.microsoft.com/office/powerpoint/2010/main" val="4075143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smtClean="0"/>
              <a:t>3.3 Koelwater in- en uitlaat</a:t>
            </a:r>
          </a:p>
        </p:txBody>
      </p:sp>
      <p:pic>
        <p:nvPicPr>
          <p:cNvPr id="18435" name="Tijdelijke aanduiding voor inhoud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701926" y="1201738"/>
            <a:ext cx="6454774" cy="4589462"/>
          </a:xfrm>
        </p:spPr>
      </p:pic>
      <p:sp>
        <p:nvSpPr>
          <p:cNvPr id="4" name="Tijdelijke aanduiding voor dianummer 3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A7C538A-FBB5-429E-8A35-48CC8F672F1F}" type="slidenum">
              <a:rPr lang="nl-NL" altLang="nl-NL" smtClean="0"/>
              <a:pPr>
                <a:defRPr/>
              </a:pPr>
              <a:t>18</a:t>
            </a:fld>
            <a:endParaRPr lang="nl-NL" altLang="nl-NL"/>
          </a:p>
        </p:txBody>
      </p:sp>
      <p:sp>
        <p:nvSpPr>
          <p:cNvPr id="18437" name="Tekstvak 5"/>
          <p:cNvSpPr txBox="1">
            <a:spLocks noChangeArrowheads="1"/>
          </p:cNvSpPr>
          <p:nvPr/>
        </p:nvSpPr>
        <p:spPr bwMode="auto">
          <a:xfrm>
            <a:off x="5029200" y="1676400"/>
            <a:ext cx="1277938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nl-NL" altLang="nl-NL" sz="3200">
                <a:solidFill>
                  <a:schemeClr val="bg1"/>
                </a:solidFill>
              </a:rPr>
              <a:t>Omya</a:t>
            </a:r>
          </a:p>
        </p:txBody>
      </p:sp>
      <p:sp>
        <p:nvSpPr>
          <p:cNvPr id="18438" name="Tekstvak 7"/>
          <p:cNvSpPr txBox="1">
            <a:spLocks noChangeArrowheads="1"/>
          </p:cNvSpPr>
          <p:nvPr/>
        </p:nvSpPr>
        <p:spPr bwMode="auto">
          <a:xfrm>
            <a:off x="2939447" y="4363770"/>
            <a:ext cx="7493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nl-NL" altLang="nl-NL">
                <a:solidFill>
                  <a:schemeClr val="bg1"/>
                </a:solidFill>
              </a:rPr>
              <a:t>Inlaat</a:t>
            </a:r>
          </a:p>
        </p:txBody>
      </p:sp>
      <p:sp>
        <p:nvSpPr>
          <p:cNvPr id="18439" name="Tekstvak 8"/>
          <p:cNvSpPr txBox="1">
            <a:spLocks noChangeArrowheads="1"/>
          </p:cNvSpPr>
          <p:nvPr/>
        </p:nvSpPr>
        <p:spPr bwMode="auto">
          <a:xfrm>
            <a:off x="7655435" y="1883287"/>
            <a:ext cx="8397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nl-NL" altLang="nl-NL" dirty="0">
                <a:solidFill>
                  <a:schemeClr val="bg1"/>
                </a:solidFill>
              </a:rPr>
              <a:t>Uitlaat</a:t>
            </a:r>
          </a:p>
        </p:txBody>
      </p:sp>
      <p:sp>
        <p:nvSpPr>
          <p:cNvPr id="3" name="Rechthoek 2"/>
          <p:cNvSpPr/>
          <p:nvPr/>
        </p:nvSpPr>
        <p:spPr>
          <a:xfrm rot="20697742">
            <a:off x="3513932" y="4152029"/>
            <a:ext cx="152400" cy="152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/>
          </a:p>
        </p:txBody>
      </p:sp>
      <p:cxnSp>
        <p:nvCxnSpPr>
          <p:cNvPr id="6" name="Rechte verbindingslijn 5"/>
          <p:cNvCxnSpPr/>
          <p:nvPr/>
        </p:nvCxnSpPr>
        <p:spPr>
          <a:xfrm flipV="1">
            <a:off x="3683493" y="3825084"/>
            <a:ext cx="1193307" cy="344408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chte verbindingslijn 10"/>
          <p:cNvCxnSpPr/>
          <p:nvPr/>
        </p:nvCxnSpPr>
        <p:spPr>
          <a:xfrm>
            <a:off x="4741069" y="3883428"/>
            <a:ext cx="0" cy="64294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Rechte verbindingslijn 20"/>
          <p:cNvCxnSpPr/>
          <p:nvPr/>
        </p:nvCxnSpPr>
        <p:spPr>
          <a:xfrm flipV="1">
            <a:off x="4741069" y="3799291"/>
            <a:ext cx="927100" cy="23930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echte verbindingslijn 22"/>
          <p:cNvCxnSpPr/>
          <p:nvPr/>
        </p:nvCxnSpPr>
        <p:spPr>
          <a:xfrm flipV="1">
            <a:off x="5668169" y="3048001"/>
            <a:ext cx="435792" cy="777081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Rechte verbindingslijn 24"/>
          <p:cNvCxnSpPr/>
          <p:nvPr/>
        </p:nvCxnSpPr>
        <p:spPr>
          <a:xfrm flipV="1">
            <a:off x="6096000" y="2668817"/>
            <a:ext cx="1770574" cy="379183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chte verbindingslijn 26"/>
          <p:cNvCxnSpPr/>
          <p:nvPr/>
        </p:nvCxnSpPr>
        <p:spPr>
          <a:xfrm flipH="1" flipV="1">
            <a:off x="7839278" y="2448720"/>
            <a:ext cx="27296" cy="22009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hthoek 19"/>
          <p:cNvSpPr/>
          <p:nvPr/>
        </p:nvSpPr>
        <p:spPr>
          <a:xfrm rot="20856914">
            <a:off x="7656220" y="2188524"/>
            <a:ext cx="304800" cy="23018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nl-NL"/>
          </a:p>
        </p:txBody>
      </p:sp>
      <p:sp>
        <p:nvSpPr>
          <p:cNvPr id="18448" name="Rechthoek 18447"/>
          <p:cNvSpPr/>
          <p:nvPr/>
        </p:nvSpPr>
        <p:spPr>
          <a:xfrm>
            <a:off x="135230" y="2253174"/>
            <a:ext cx="2261396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oor de routing van de </a:t>
            </a:r>
            <a:r>
              <a:rPr lang="nl-NL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oelwater </a:t>
            </a: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is een </a:t>
            </a:r>
            <a:r>
              <a:rPr lang="nl-NL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ontract </a:t>
            </a: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pgesteld met het </a:t>
            </a:r>
            <a:r>
              <a:rPr lang="nl-NL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venschap en </a:t>
            </a:r>
            <a:r>
              <a:rPr lang="nl-NL" dirty="0" err="1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Omya</a:t>
            </a:r>
            <a:r>
              <a:rPr lang="nl-NL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  <a:p>
            <a:r>
              <a:rPr lang="nl-NL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Weergegeven route is indicatie – niet exact. 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62330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ianummer 3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499D2996-536A-4C07-BF39-DF60BE029ABB}" type="slidenum">
              <a:rPr lang="nl-NL" altLang="nl-NL" smtClean="0"/>
              <a:pPr>
                <a:defRPr/>
              </a:pPr>
              <a:t>19</a:t>
            </a:fld>
            <a:endParaRPr lang="nl-NL" altLang="nl-NL"/>
          </a:p>
        </p:txBody>
      </p:sp>
      <p:sp>
        <p:nvSpPr>
          <p:cNvPr id="31" name="Rectangle 21"/>
          <p:cNvSpPr>
            <a:spLocks noChangeArrowheads="1"/>
          </p:cNvSpPr>
          <p:nvPr/>
        </p:nvSpPr>
        <p:spPr bwMode="auto">
          <a:xfrm>
            <a:off x="1700213" y="-700727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NL"/>
          </a:p>
        </p:txBody>
      </p:sp>
      <p:sp>
        <p:nvSpPr>
          <p:cNvPr id="2048" name="Rectangle 22"/>
          <p:cNvSpPr>
            <a:spLocks noChangeArrowheads="1"/>
          </p:cNvSpPr>
          <p:nvPr/>
        </p:nvSpPr>
        <p:spPr bwMode="auto">
          <a:xfrm>
            <a:off x="1700213" y="-243527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NL"/>
          </a:p>
        </p:txBody>
      </p:sp>
      <p:grpSp>
        <p:nvGrpSpPr>
          <p:cNvPr id="5" name="Groep 4"/>
          <p:cNvGrpSpPr/>
          <p:nvPr/>
        </p:nvGrpSpPr>
        <p:grpSpPr>
          <a:xfrm>
            <a:off x="914400" y="1538926"/>
            <a:ext cx="3343275" cy="4905375"/>
            <a:chOff x="1524000" y="-346315"/>
            <a:chExt cx="5705475" cy="7115175"/>
          </a:xfrm>
        </p:grpSpPr>
        <p:pic>
          <p:nvPicPr>
            <p:cNvPr id="2049" name="Afbeelding 1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000" y="-346315"/>
              <a:ext cx="5705475" cy="7115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6" name="Groep 15"/>
            <p:cNvGrpSpPr/>
            <p:nvPr/>
          </p:nvGrpSpPr>
          <p:grpSpPr>
            <a:xfrm>
              <a:off x="3276600" y="381000"/>
              <a:ext cx="1629410" cy="5843270"/>
              <a:chOff x="0" y="0"/>
              <a:chExt cx="1629410" cy="5843587"/>
            </a:xfrm>
          </p:grpSpPr>
          <p:cxnSp>
            <p:nvCxnSpPr>
              <p:cNvPr id="17" name="Rechte verbindingslijn 16"/>
              <p:cNvCxnSpPr/>
              <p:nvPr/>
            </p:nvCxnSpPr>
            <p:spPr>
              <a:xfrm flipV="1">
                <a:off x="1181100" y="0"/>
                <a:ext cx="104775" cy="1905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Rechte verbindingslijn 17"/>
              <p:cNvCxnSpPr/>
              <p:nvPr/>
            </p:nvCxnSpPr>
            <p:spPr>
              <a:xfrm>
                <a:off x="1285875" y="0"/>
                <a:ext cx="23812" cy="123825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Rechte verbindingslijn 18"/>
              <p:cNvCxnSpPr/>
              <p:nvPr/>
            </p:nvCxnSpPr>
            <p:spPr>
              <a:xfrm flipH="1">
                <a:off x="600075" y="123825"/>
                <a:ext cx="723582" cy="19050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Rechte verbindingslijn 19"/>
              <p:cNvCxnSpPr/>
              <p:nvPr/>
            </p:nvCxnSpPr>
            <p:spPr>
              <a:xfrm flipH="1">
                <a:off x="0" y="314325"/>
                <a:ext cx="589915" cy="428625"/>
              </a:xfrm>
              <a:prstGeom prst="line">
                <a:avLst/>
              </a:prstGeom>
              <a:noFill/>
              <a:ln w="28575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</p:cxnSp>
          <p:cxnSp>
            <p:nvCxnSpPr>
              <p:cNvPr id="21" name="Rechte verbindingslijn 20"/>
              <p:cNvCxnSpPr/>
              <p:nvPr/>
            </p:nvCxnSpPr>
            <p:spPr>
              <a:xfrm>
                <a:off x="9525" y="762000"/>
                <a:ext cx="1081722" cy="400050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Rechte verbindingslijn 21"/>
              <p:cNvCxnSpPr/>
              <p:nvPr/>
            </p:nvCxnSpPr>
            <p:spPr>
              <a:xfrm>
                <a:off x="1095375" y="4772025"/>
                <a:ext cx="534035" cy="838200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Rechte verbindingslijn 22"/>
              <p:cNvCxnSpPr/>
              <p:nvPr/>
            </p:nvCxnSpPr>
            <p:spPr>
              <a:xfrm flipH="1">
                <a:off x="1428750" y="5629275"/>
                <a:ext cx="199390" cy="214312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Rechte verbindingslijn 23"/>
              <p:cNvCxnSpPr/>
              <p:nvPr/>
            </p:nvCxnSpPr>
            <p:spPr>
              <a:xfrm flipH="1" flipV="1">
                <a:off x="1333500" y="5772150"/>
                <a:ext cx="85090" cy="66675"/>
              </a:xfrm>
              <a:prstGeom prst="line">
                <a:avLst/>
              </a:prstGeom>
              <a:ln w="28575">
                <a:solidFill>
                  <a:srgbClr val="FF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2" name="Rectangle 11"/>
          <p:cNvSpPr>
            <a:spLocks noChangeArrowheads="1"/>
          </p:cNvSpPr>
          <p:nvPr/>
        </p:nvSpPr>
        <p:spPr bwMode="auto">
          <a:xfrm>
            <a:off x="1524000" y="-75894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NL"/>
          </a:p>
        </p:txBody>
      </p:sp>
      <p:sp>
        <p:nvSpPr>
          <p:cNvPr id="3" name="Rectangle 12"/>
          <p:cNvSpPr>
            <a:spLocks noChangeArrowheads="1"/>
          </p:cNvSpPr>
          <p:nvPr/>
        </p:nvSpPr>
        <p:spPr bwMode="auto">
          <a:xfrm>
            <a:off x="1524000" y="-30174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nl-NL"/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043862" cy="630815"/>
          </a:xfrm>
        </p:spPr>
        <p:txBody>
          <a:bodyPr/>
          <a:lstStyle/>
          <a:p>
            <a:r>
              <a:rPr lang="nl-NL" altLang="nl-NL" dirty="0"/>
              <a:t> </a:t>
            </a:r>
            <a:r>
              <a:rPr lang="nl-NL" altLang="nl-NL" dirty="0" smtClean="0"/>
              <a:t>       150 kV aansluiting naar </a:t>
            </a:r>
            <a:r>
              <a:rPr lang="nl-NL" altLang="nl-NL" dirty="0" err="1" smtClean="0"/>
              <a:t>Tennet</a:t>
            </a:r>
            <a:r>
              <a:rPr lang="nl-NL" altLang="nl-NL" dirty="0" smtClean="0"/>
              <a:t> </a:t>
            </a:r>
          </a:p>
        </p:txBody>
      </p:sp>
      <p:sp>
        <p:nvSpPr>
          <p:cNvPr id="7" name="Rechthoek 6"/>
          <p:cNvSpPr/>
          <p:nvPr/>
        </p:nvSpPr>
        <p:spPr>
          <a:xfrm>
            <a:off x="4583080" y="2133600"/>
            <a:ext cx="4572000" cy="2887329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 kV Aansluiting: 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abel naar 150KV-station Moerdijk van </a:t>
            </a:r>
            <a:r>
              <a:rPr lang="nl-NL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TenneT</a:t>
            </a: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niet redundant)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Symbol" panose="05050102010706020507" pitchFamily="18" charset="2"/>
              <a:buChar char=""/>
            </a:pP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50/10 KV-station, met koppeling met bestaande 10 KV-installatie AEC</a:t>
            </a:r>
          </a:p>
          <a:p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oodkoppeling met 10 KV </a:t>
            </a:r>
            <a:r>
              <a:rPr lang="nl-NL" dirty="0" err="1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exis</a:t>
            </a:r>
            <a:r>
              <a:rPr lang="nl-NL" dirty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(zekerstelling afvalverbranding</a:t>
            </a:r>
            <a:r>
              <a:rPr lang="nl-NL" dirty="0" smtClean="0">
                <a:latin typeface="Calibri" panose="020F0502020204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dirty="0" smtClean="0">
                <a:latin typeface="Calibri" panose="020F0502020204030204" pitchFamily="34" charset="0"/>
                <a:cs typeface="Times New Roman" panose="02020603050405020304" pitchFamily="18" charset="0"/>
              </a:rPr>
              <a:t>Weergegeven route is indicatie – niet exac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031642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el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7586662" cy="990600"/>
          </a:xfrm>
        </p:spPr>
        <p:txBody>
          <a:bodyPr/>
          <a:lstStyle/>
          <a:p>
            <a:r>
              <a:rPr lang="nl-NL" altLang="nl-NL" dirty="0" smtClean="0"/>
              <a:t>Agenda</a:t>
            </a:r>
            <a:endParaRPr lang="nl-NL" altLang="nl-NL" dirty="0"/>
          </a:p>
        </p:txBody>
      </p:sp>
      <p:sp>
        <p:nvSpPr>
          <p:cNvPr id="18435" name="Tijdelijke aanduiding voor dianummer 4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429C64E7-C071-4F96-8F56-B3992E67712F}" type="slidenum">
              <a:rPr lang="nl-NL" altLang="nl-NL" sz="10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2</a:t>
            </a:fld>
            <a:endParaRPr lang="nl-NL" altLang="nl-NL" sz="1000">
              <a:solidFill>
                <a:schemeClr val="bg1"/>
              </a:solidFill>
            </a:endParaRPr>
          </a:p>
        </p:txBody>
      </p:sp>
      <p:sp>
        <p:nvSpPr>
          <p:cNvPr id="18436" name="Tijdelijke aanduiding voor inhoud 2"/>
          <p:cNvSpPr>
            <a:spLocks noGrp="1"/>
          </p:cNvSpPr>
          <p:nvPr>
            <p:ph idx="1"/>
          </p:nvPr>
        </p:nvSpPr>
        <p:spPr>
          <a:xfrm>
            <a:off x="609600" y="1371600"/>
            <a:ext cx="8043863" cy="472440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l-NL" altLang="nl-NL" sz="1800" dirty="0" smtClean="0"/>
              <a:t>Attero algemeen </a:t>
            </a:r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 smtClean="0"/>
              <a:t>Wie is Attero</a:t>
            </a:r>
            <a:endParaRPr lang="nl-NL" altLang="nl-NL" sz="1600" dirty="0" smtClean="0"/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 smtClean="0"/>
              <a:t>Onze kernactiviteiten</a:t>
            </a:r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 smtClean="0"/>
              <a:t>Terugwinning grondstoffen</a:t>
            </a:r>
            <a:endParaRPr lang="nl-NL" altLang="nl-NL" sz="1800" dirty="0"/>
          </a:p>
          <a:p>
            <a:pPr marL="457200" indent="-457200">
              <a:buFontTx/>
              <a:buAutoNum type="arabicPeriod"/>
              <a:defRPr/>
            </a:pPr>
            <a:endParaRPr lang="nl-NL" altLang="nl-NL" sz="1800" dirty="0"/>
          </a:p>
          <a:p>
            <a:pPr marL="0" indent="0">
              <a:buNone/>
              <a:defRPr/>
            </a:pPr>
            <a:r>
              <a:rPr lang="nl-NL" altLang="nl-NL" sz="1800" dirty="0" smtClean="0"/>
              <a:t>Stoomturbine Project </a:t>
            </a:r>
            <a:endParaRPr lang="nl-NL" altLang="nl-NL" sz="1800" dirty="0"/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/>
              <a:t>Huidige situatie</a:t>
            </a:r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/>
              <a:t>Locatie Stoomturbine</a:t>
            </a:r>
          </a:p>
          <a:p>
            <a:pPr marL="808038" lvl="1" indent="-457200">
              <a:lnSpc>
                <a:spcPct val="150000"/>
              </a:lnSpc>
              <a:buFontTx/>
              <a:buAutoNum type="arabicPeriod"/>
              <a:defRPr/>
            </a:pPr>
            <a:r>
              <a:rPr lang="nl-NL" altLang="nl-NL" sz="1800" dirty="0"/>
              <a:t>Een impressie</a:t>
            </a:r>
          </a:p>
          <a:p>
            <a:pPr marL="808038" lvl="1" indent="-457200">
              <a:buFontTx/>
              <a:buAutoNum type="arabicPeriod"/>
              <a:defRPr/>
            </a:pPr>
            <a:endParaRPr lang="nl-NL" altLang="nl-NL" sz="1800" dirty="0" smtClean="0"/>
          </a:p>
          <a:p>
            <a:pPr marL="0" indent="0">
              <a:buNone/>
              <a:defRPr/>
            </a:pPr>
            <a:r>
              <a:rPr lang="nl-NL" altLang="nl-NL" sz="1800" dirty="0" smtClean="0"/>
              <a:t>Vragen?</a:t>
            </a:r>
          </a:p>
          <a:p>
            <a:pPr marL="457200" indent="-457200">
              <a:buFontTx/>
              <a:buAutoNum type="arabicPeriod"/>
              <a:defRPr/>
            </a:pPr>
            <a:endParaRPr lang="nl-NL" altLang="nl-NL" sz="1800" dirty="0"/>
          </a:p>
          <a:p>
            <a:pPr marL="0" indent="0">
              <a:buNone/>
              <a:defRPr/>
            </a:pPr>
            <a:endParaRPr lang="nl-NL" altLang="nl-NL" sz="1800" dirty="0" smtClean="0"/>
          </a:p>
          <a:p>
            <a:pPr marL="0" indent="0">
              <a:buFontTx/>
              <a:buNone/>
              <a:defRPr/>
            </a:pPr>
            <a:endParaRPr lang="nl-NL" altLang="nl-NL" sz="1800" dirty="0"/>
          </a:p>
          <a:p>
            <a:pPr marL="457200" indent="-457200">
              <a:buFontTx/>
              <a:buAutoNum type="arabicPeriod"/>
              <a:defRPr/>
            </a:pPr>
            <a:endParaRPr lang="nl-NL" altLang="nl-NL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057400" y="14785"/>
            <a:ext cx="6172200" cy="990600"/>
          </a:xfrm>
        </p:spPr>
        <p:txBody>
          <a:bodyPr/>
          <a:lstStyle/>
          <a:p>
            <a:r>
              <a:rPr lang="nl-NL" dirty="0" smtClean="0"/>
              <a:t>Bouw Stoomturbine Project 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88165E1-E700-468C-BE0A-E587E33566E5}" type="slidenum">
              <a:rPr lang="nl-NL" altLang="nl-NL" smtClean="0"/>
              <a:pPr>
                <a:defRPr/>
              </a:pPr>
              <a:t>20</a:t>
            </a:fld>
            <a:endParaRPr lang="nl-NL" altLang="nl-NL"/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447800"/>
            <a:ext cx="8034077" cy="45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8579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42C2B3-480D-49AD-AF15-65ECF77FFA2B}" type="slidenum">
              <a:rPr lang="nl-NL" altLang="nl-NL" smtClean="0"/>
              <a:pPr>
                <a:defRPr/>
              </a:pPr>
              <a:t>21</a:t>
            </a:fld>
            <a:endParaRPr lang="nl-NL" altLang="nl-NL"/>
          </a:p>
        </p:txBody>
      </p:sp>
      <p:sp>
        <p:nvSpPr>
          <p:cNvPr id="4" name="Titel 1"/>
          <p:cNvSpPr>
            <a:spLocks noGrp="1"/>
          </p:cNvSpPr>
          <p:nvPr>
            <p:ph type="title"/>
          </p:nvPr>
        </p:nvSpPr>
        <p:spPr>
          <a:xfrm>
            <a:off x="282044" y="152400"/>
            <a:ext cx="7914218" cy="990600"/>
          </a:xfrm>
        </p:spPr>
        <p:txBody>
          <a:bodyPr/>
          <a:lstStyle/>
          <a:p>
            <a:r>
              <a:rPr lang="nl-NL" altLang="nl-NL" dirty="0" smtClean="0"/>
              <a:t>3.2 Het 3D Model van de Stoomturbine</a:t>
            </a:r>
          </a:p>
        </p:txBody>
      </p:sp>
      <p:pic>
        <p:nvPicPr>
          <p:cNvPr id="5" name="Afbeelding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95800" y="1748438"/>
            <a:ext cx="4498532" cy="2249266"/>
          </a:xfrm>
          <a:prstGeom prst="rect">
            <a:avLst/>
          </a:prstGeom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2044" y="1322297"/>
            <a:ext cx="4061356" cy="2675407"/>
          </a:xfrm>
          <a:prstGeom prst="rect">
            <a:avLst/>
          </a:prstGeom>
        </p:spPr>
      </p:pic>
      <p:pic>
        <p:nvPicPr>
          <p:cNvPr id="7" name="Afbeelding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75490" y="4299385"/>
            <a:ext cx="3869576" cy="2216284"/>
          </a:xfrm>
          <a:prstGeom prst="rect">
            <a:avLst/>
          </a:prstGeom>
        </p:spPr>
      </p:pic>
      <p:sp>
        <p:nvSpPr>
          <p:cNvPr id="8" name="Tekstvak 7"/>
          <p:cNvSpPr txBox="1"/>
          <p:nvPr/>
        </p:nvSpPr>
        <p:spPr>
          <a:xfrm>
            <a:off x="7391400" y="3997704"/>
            <a:ext cx="1981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/>
              <a:t>Turbine</a:t>
            </a:r>
            <a:endParaRPr lang="nl-NL" dirty="0"/>
          </a:p>
        </p:txBody>
      </p:sp>
      <p:sp>
        <p:nvSpPr>
          <p:cNvPr id="9" name="Tekstvak 8"/>
          <p:cNvSpPr txBox="1"/>
          <p:nvPr/>
        </p:nvSpPr>
        <p:spPr>
          <a:xfrm>
            <a:off x="3753481" y="6515669"/>
            <a:ext cx="21931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/>
              <a:t>Vooraanzicht gebouw</a:t>
            </a:r>
            <a:endParaRPr lang="nl-NL" dirty="0"/>
          </a:p>
        </p:txBody>
      </p:sp>
      <p:sp>
        <p:nvSpPr>
          <p:cNvPr id="10" name="Tekstvak 9"/>
          <p:cNvSpPr txBox="1"/>
          <p:nvPr/>
        </p:nvSpPr>
        <p:spPr>
          <a:xfrm>
            <a:off x="359168" y="4034098"/>
            <a:ext cx="251632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 smtClean="0"/>
              <a:t>Bovenaanzicht gebouw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10997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Titel 1"/>
          <p:cNvSpPr>
            <a:spLocks noGrp="1"/>
          </p:cNvSpPr>
          <p:nvPr>
            <p:ph type="title"/>
          </p:nvPr>
        </p:nvSpPr>
        <p:spPr>
          <a:xfrm>
            <a:off x="457200" y="180975"/>
            <a:ext cx="7815262" cy="753092"/>
          </a:xfrm>
        </p:spPr>
        <p:txBody>
          <a:bodyPr/>
          <a:lstStyle/>
          <a:p>
            <a:r>
              <a:rPr lang="nl-NL" altLang="nl-NL" dirty="0"/>
              <a:t> </a:t>
            </a:r>
            <a:r>
              <a:rPr lang="nl-NL" altLang="nl-NL" dirty="0" smtClean="0"/>
              <a:t>      Een impressie van de nieuwe situatie</a:t>
            </a:r>
          </a:p>
        </p:txBody>
      </p:sp>
      <p:sp>
        <p:nvSpPr>
          <p:cNvPr id="50179" name="Tijdelijke aanduiding voor dianummer 2"/>
          <p:cNvSpPr>
            <a:spLocks noGrp="1"/>
          </p:cNvSpPr>
          <p:nvPr>
            <p:ph type="sldNum" sz="quarter" idx="4294967295"/>
          </p:nvPr>
        </p:nvSpPr>
        <p:spPr>
          <a:xfrm>
            <a:off x="1423348" y="6498608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fld id="{AFA03238-3330-4791-AC83-51ED028C8C44}" type="slidenum">
              <a:rPr lang="nl-NL" altLang="nl-NL" sz="1000" smtClean="0">
                <a:solidFill>
                  <a:schemeClr val="bg1"/>
                </a:solidFill>
              </a:rPr>
              <a:pPr/>
              <a:t>22</a:t>
            </a:fld>
            <a:endParaRPr lang="nl-NL" altLang="nl-NL" sz="1000" dirty="0" smtClean="0">
              <a:solidFill>
                <a:schemeClr val="bg1"/>
              </a:solidFill>
            </a:endParaRPr>
          </a:p>
        </p:txBody>
      </p:sp>
      <p:pic>
        <p:nvPicPr>
          <p:cNvPr id="50180" name="Afbeelding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295400"/>
            <a:ext cx="6248400" cy="4841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Afbeelding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18504" y="2667000"/>
            <a:ext cx="2245528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4217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138" y="152400"/>
            <a:ext cx="8043862" cy="685800"/>
          </a:xfrm>
        </p:spPr>
        <p:txBody>
          <a:bodyPr/>
          <a:lstStyle/>
          <a:p>
            <a:r>
              <a:rPr lang="nl-NL" dirty="0" smtClean="0"/>
              <a:t>                              Vragen?  </a:t>
            </a:r>
            <a:endParaRPr lang="nl-NL" dirty="0"/>
          </a:p>
        </p:txBody>
      </p:sp>
      <p:sp>
        <p:nvSpPr>
          <p:cNvPr id="3" name="Tijdelijke aanduiding voor dia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D42C2B3-480D-49AD-AF15-65ECF77FFA2B}" type="slidenum">
              <a:rPr lang="nl-NL" altLang="nl-NL" smtClean="0"/>
              <a:pPr>
                <a:defRPr/>
              </a:pPr>
              <a:t>23</a:t>
            </a:fld>
            <a:endParaRPr lang="nl-NL" altLang="nl-NL"/>
          </a:p>
        </p:txBody>
      </p:sp>
      <p:pic>
        <p:nvPicPr>
          <p:cNvPr id="7" name="Afbeelding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24125" y="2171700"/>
            <a:ext cx="4095750" cy="251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97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0" y="152400"/>
            <a:ext cx="7543800" cy="990600"/>
          </a:xfrm>
        </p:spPr>
        <p:txBody>
          <a:bodyPr/>
          <a:lstStyle/>
          <a:p>
            <a:pPr eaLnBrk="1" hangingPunct="1"/>
            <a:r>
              <a:rPr lang="nl-NL" altLang="nl-NL" dirty="0" smtClean="0"/>
              <a:t>1. Wie is Attero</a:t>
            </a:r>
          </a:p>
        </p:txBody>
      </p:sp>
      <p:sp>
        <p:nvSpPr>
          <p:cNvPr id="388099" name="Rectangle 3"/>
          <p:cNvSpPr>
            <a:spLocks noGrp="1" noChangeArrowheads="1"/>
          </p:cNvSpPr>
          <p:nvPr>
            <p:ph idx="1"/>
          </p:nvPr>
        </p:nvSpPr>
        <p:spPr>
          <a:xfrm>
            <a:off x="762000" y="1219200"/>
            <a:ext cx="7696200" cy="4038600"/>
          </a:xfrm>
        </p:spPr>
        <p:txBody>
          <a:bodyPr/>
          <a:lstStyle/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o"/>
              <a:defRPr/>
            </a:pPr>
            <a:r>
              <a:rPr lang="nl-NL" altLang="nl-NL" sz="1700" dirty="0" smtClean="0"/>
              <a:t> Producent van: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nl-NL" altLang="nl-NL" sz="1700" dirty="0" smtClean="0"/>
              <a:t>	● (duurzame) energie, zoals groene stroom en groen gas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nl-NL" altLang="nl-NL" sz="1700" dirty="0" smtClean="0"/>
              <a:t>	● nieuwe grondstoffen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r>
              <a:rPr lang="nl-NL" altLang="nl-NL" sz="1700" dirty="0" smtClean="0"/>
              <a:t>	● bodemverbeteraars</a:t>
            </a:r>
          </a:p>
          <a:p>
            <a:pPr lvl="1" eaLnBrk="1" hangingPunct="1">
              <a:lnSpc>
                <a:spcPct val="150000"/>
              </a:lnSpc>
              <a:spcBef>
                <a:spcPct val="0"/>
              </a:spcBef>
              <a:spcAft>
                <a:spcPct val="50000"/>
              </a:spcAft>
              <a:buFontTx/>
              <a:buNone/>
              <a:defRPr/>
            </a:pPr>
            <a:r>
              <a:rPr lang="nl-NL" altLang="nl-NL" sz="1700" dirty="0" smtClean="0"/>
              <a:t>	● bio- en secundaire brandstoffen voor energiecentrales en industrie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o"/>
              <a:defRPr/>
            </a:pPr>
            <a:r>
              <a:rPr lang="nl-NL" altLang="nl-NL" sz="1700" dirty="0" smtClean="0"/>
              <a:t> Bronmateriaal: huishoudelijk restafval (</a:t>
            </a:r>
            <a:r>
              <a:rPr lang="nl-NL" altLang="nl-NL" sz="1700" dirty="0" err="1" smtClean="0"/>
              <a:t>hha</a:t>
            </a:r>
            <a:r>
              <a:rPr lang="nl-NL" altLang="nl-NL" sz="1700" dirty="0" smtClean="0"/>
              <a:t>); groente-, fruit- en tuinafval (gft); bedrijfsafval; puin, grond, hout e.d. (</a:t>
            </a:r>
            <a:r>
              <a:rPr lang="nl-NL" altLang="nl-NL" sz="1700" dirty="0" err="1" smtClean="0"/>
              <a:t>ba</a:t>
            </a:r>
            <a:r>
              <a:rPr lang="nl-NL" altLang="nl-NL" sz="1700" dirty="0" smtClean="0"/>
              <a:t>)</a:t>
            </a:r>
            <a:br>
              <a:rPr lang="nl-NL" altLang="nl-NL" sz="1700" dirty="0" smtClean="0"/>
            </a:br>
            <a:endParaRPr lang="nl-NL" altLang="nl-NL" sz="1700" dirty="0" smtClean="0"/>
          </a:p>
          <a:p>
            <a:pPr eaLnBrk="1" hangingPunct="1">
              <a:lnSpc>
                <a:spcPct val="150000"/>
              </a:lnSpc>
              <a:spcBef>
                <a:spcPct val="0"/>
              </a:spcBef>
              <a:spcAft>
                <a:spcPct val="50000"/>
              </a:spcAft>
              <a:buFontTx/>
              <a:buChar char="o"/>
              <a:defRPr/>
            </a:pPr>
            <a:r>
              <a:rPr lang="nl-NL" altLang="nl-NL" sz="1700" dirty="0" smtClean="0"/>
              <a:t> Vijftien locaties in Noord-, Midden- en Zuid-Nederland; regionaal verankerd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Char char="o"/>
              <a:defRPr/>
            </a:pPr>
            <a:r>
              <a:rPr lang="nl-NL" altLang="nl-NL" sz="1700" dirty="0" smtClean="0"/>
              <a:t> Afvalenergiecentrales, scheidingsinstallaties, compostfabrieken, </a:t>
            </a:r>
            <a:br>
              <a:rPr lang="nl-NL" altLang="nl-NL" sz="1700" dirty="0" smtClean="0"/>
            </a:br>
            <a:r>
              <a:rPr lang="nl-NL" altLang="nl-NL" sz="1700" dirty="0" smtClean="0"/>
              <a:t> vergistingsinstallaties, groengasinstallaties, stortplaatsen</a:t>
            </a:r>
          </a:p>
          <a:p>
            <a:pPr marL="0" indent="0" eaLnBrk="1" hangingPunct="1">
              <a:lnSpc>
                <a:spcPct val="150000"/>
              </a:lnSpc>
              <a:spcBef>
                <a:spcPct val="0"/>
              </a:spcBef>
              <a:buNone/>
              <a:defRPr/>
            </a:pPr>
            <a:endParaRPr lang="en-US" altLang="nl-NL" sz="1700" dirty="0" smtClean="0"/>
          </a:p>
          <a:p>
            <a:pPr marL="0" indent="0" eaLnBrk="1" hangingPunct="1">
              <a:lnSpc>
                <a:spcPct val="150000"/>
              </a:lnSpc>
              <a:spcBef>
                <a:spcPct val="0"/>
              </a:spcBef>
              <a:buFontTx/>
              <a:buNone/>
              <a:defRPr/>
            </a:pPr>
            <a:endParaRPr lang="nl-NL" altLang="nl-NL" sz="1700" dirty="0" smtClean="0"/>
          </a:p>
        </p:txBody>
      </p:sp>
      <p:sp>
        <p:nvSpPr>
          <p:cNvPr id="15362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25904"/>
            <a:ext cx="290513" cy="22860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B692B8E9-68F3-4F4B-A2A8-B2B2CBAF51C9}" type="slidenum">
              <a:rPr lang="nl-NL" altLang="nl-NL" sz="1000" smtClean="0">
                <a:solidFill>
                  <a:schemeClr val="bg1"/>
                </a:solidFill>
              </a:rPr>
              <a:pPr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nl-NL" altLang="nl-NL" sz="1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903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9F2B8699-E446-4266-AC5B-E2D38D33065D}" type="slidenum">
              <a:rPr lang="nl-NL" altLang="nl-NL" sz="1000" smtClean="0">
                <a:solidFill>
                  <a:srgbClr val="FFFFFF"/>
                </a:solidFill>
              </a:rPr>
              <a:pPr>
                <a:spcBef>
                  <a:spcPct val="0"/>
                </a:spcBef>
                <a:buFontTx/>
                <a:buNone/>
              </a:pPr>
              <a:t>4</a:t>
            </a:fld>
            <a:endParaRPr lang="nl-NL" altLang="nl-NL" sz="1000" smtClean="0">
              <a:solidFill>
                <a:srgbClr val="FFFFFF"/>
              </a:solidFill>
            </a:endParaRPr>
          </a:p>
        </p:txBody>
      </p:sp>
      <p:sp>
        <p:nvSpPr>
          <p:cNvPr id="20483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152400"/>
            <a:ext cx="8043863" cy="990600"/>
          </a:xfrm>
        </p:spPr>
        <p:txBody>
          <a:bodyPr/>
          <a:lstStyle/>
          <a:p>
            <a:pPr eaLnBrk="1" hangingPunct="1"/>
            <a:r>
              <a:rPr lang="nl-NL" altLang="nl-NL" smtClean="0"/>
              <a:t>Attero’s missie</a:t>
            </a:r>
          </a:p>
        </p:txBody>
      </p:sp>
      <p:sp>
        <p:nvSpPr>
          <p:cNvPr id="2048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1600200"/>
            <a:ext cx="8305800" cy="4419600"/>
          </a:xfrm>
        </p:spPr>
        <p:txBody>
          <a:bodyPr/>
          <a:lstStyle/>
          <a:p>
            <a:pPr algn="ctr" eaLnBrk="1" hangingPunct="1">
              <a:buFontTx/>
              <a:buNone/>
            </a:pPr>
            <a:r>
              <a:rPr lang="nl-NL" altLang="nl-NL" smtClean="0"/>
              <a:t>“Attero stelt zich ten doel om de potentie die aanwezig is in het afval maximaal te benutten: door er grondstoffen uit terug te winnen en door er duurzame energie mee te produceren”.</a:t>
            </a:r>
          </a:p>
          <a:p>
            <a:pPr eaLnBrk="1" hangingPunct="1">
              <a:buFontTx/>
              <a:buNone/>
            </a:pPr>
            <a:endParaRPr lang="nl-NL" altLang="nl-NL" smtClean="0"/>
          </a:p>
          <a:p>
            <a:pPr eaLnBrk="1" hangingPunct="1">
              <a:buFontTx/>
              <a:buNone/>
            </a:pPr>
            <a:endParaRPr lang="nl-NL" altLang="nl-NL" smtClean="0"/>
          </a:p>
        </p:txBody>
      </p:sp>
      <p:pic>
        <p:nvPicPr>
          <p:cNvPr id="20485" name="Picture 4" descr="Torch met E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9" r="20000"/>
          <a:stretch>
            <a:fillRect/>
          </a:stretch>
        </p:blipFill>
        <p:spPr bwMode="auto">
          <a:xfrm>
            <a:off x="6400800" y="3200400"/>
            <a:ext cx="2362200" cy="231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6" name="Picture 5" descr="20100918 0019-kl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1800" y="3200400"/>
            <a:ext cx="3276600" cy="231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7" name="Afbeelding 2"/>
          <p:cNvPicPr>
            <a:picLocks noChangeAspect="1"/>
          </p:cNvPicPr>
          <p:nvPr/>
        </p:nvPicPr>
        <p:blipFill>
          <a:blip r:embed="rId5">
            <a:lum contrast="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831"/>
          <a:stretch>
            <a:fillRect/>
          </a:stretch>
        </p:blipFill>
        <p:spPr bwMode="auto">
          <a:xfrm>
            <a:off x="457200" y="3200400"/>
            <a:ext cx="2317750" cy="2314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665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>
          <a:xfrm>
            <a:off x="392785" y="152400"/>
            <a:ext cx="7879678" cy="990600"/>
          </a:xfrm>
        </p:spPr>
        <p:txBody>
          <a:bodyPr/>
          <a:lstStyle/>
          <a:p>
            <a:pPr eaLnBrk="1" hangingPunct="1"/>
            <a:r>
              <a:rPr lang="nl-NL" altLang="nl-NL" dirty="0" smtClean="0"/>
              <a:t>2. Onze kernactiviteiten</a:t>
            </a:r>
          </a:p>
        </p:txBody>
      </p:sp>
      <p:sp>
        <p:nvSpPr>
          <p:cNvPr id="16386" name="Tijdelijke aanduiding voor dianummer 4"/>
          <p:cNvSpPr>
            <a:spLocks noGrp="1"/>
          </p:cNvSpPr>
          <p:nvPr>
            <p:ph type="sldNum" sz="quarter" idx="4294967295"/>
          </p:nvPr>
        </p:nvSpPr>
        <p:spPr>
          <a:xfrm>
            <a:off x="1397191" y="6499203"/>
            <a:ext cx="290513" cy="228600"/>
          </a:xfrm>
          <a:prstGeom prst="rect">
            <a:avLst/>
          </a:prstGeom>
          <a:noFill/>
        </p:spPr>
        <p:txBody>
          <a:bodyPr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5F4EC6FC-A289-448F-ADBD-9DD1290F9EF4}" type="slidenum">
              <a:rPr lang="nl-NL" altLang="nl-NL" sz="1000" smtClean="0">
                <a:solidFill>
                  <a:schemeClr val="bg1"/>
                </a:solidFill>
              </a:rPr>
              <a:pPr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nl-NL" altLang="nl-NL" sz="1000" dirty="0" smtClean="0">
              <a:solidFill>
                <a:schemeClr val="bg1"/>
              </a:solidFill>
            </a:endParaRPr>
          </a:p>
        </p:txBody>
      </p:sp>
      <p:sp>
        <p:nvSpPr>
          <p:cNvPr id="16388" name="Text Box 4"/>
          <p:cNvSpPr txBox="1">
            <a:spLocks noChangeArrowheads="1"/>
          </p:cNvSpPr>
          <p:nvPr/>
        </p:nvSpPr>
        <p:spPr bwMode="auto">
          <a:xfrm>
            <a:off x="499536" y="1295399"/>
            <a:ext cx="1905000" cy="366713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600" b="1" dirty="0">
                <a:solidFill>
                  <a:schemeClr val="bg1"/>
                </a:solidFill>
                <a:cs typeface="Arial" charset="0"/>
              </a:rPr>
              <a:t>energieproductie</a:t>
            </a:r>
            <a:endParaRPr kumimoji="1" lang="nl-NL" altLang="nl-NL" sz="1800" b="1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16390" name="Picture 6" descr="Graafwiel_RGB"/>
          <p:cNvPicPr preferRelativeResize="0">
            <a:picLocks noChangeAspect="1" noChangeArrowheads="1"/>
          </p:cNvPicPr>
          <p:nvPr/>
        </p:nvPicPr>
        <p:blipFill>
          <a:blip r:embed="rId3" cstate="print">
            <a:lum bright="20000"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50" b="2856"/>
          <a:stretch>
            <a:fillRect/>
          </a:stretch>
        </p:blipFill>
        <p:spPr bwMode="auto">
          <a:xfrm>
            <a:off x="2590800" y="1749425"/>
            <a:ext cx="1905000" cy="190773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1" name="Picture 7" descr="GAVI zuid noord 1 klein"/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5" r="35432" b="10414"/>
          <a:stretch>
            <a:fillRect/>
          </a:stretch>
        </p:blipFill>
        <p:spPr bwMode="auto">
          <a:xfrm>
            <a:off x="502711" y="1749425"/>
            <a:ext cx="1901825" cy="19018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92" name="Picture 8" descr="Vagron gasbol 250407 104"/>
          <p:cNvPicPr preferRelativeResize="0"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7" r="25581"/>
          <a:stretch>
            <a:fillRect/>
          </a:stretch>
        </p:blipFill>
        <p:spPr bwMode="auto">
          <a:xfrm>
            <a:off x="4721116" y="1749425"/>
            <a:ext cx="1755884" cy="1913247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3" name="Text Box 9"/>
          <p:cNvSpPr txBox="1">
            <a:spLocks noChangeArrowheads="1"/>
          </p:cNvSpPr>
          <p:nvPr/>
        </p:nvSpPr>
        <p:spPr bwMode="auto">
          <a:xfrm>
            <a:off x="4724400" y="1295400"/>
            <a:ext cx="1769532" cy="3810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600" b="1" dirty="0">
                <a:solidFill>
                  <a:schemeClr val="bg1"/>
                </a:solidFill>
                <a:cs typeface="Arial" charset="0"/>
              </a:rPr>
              <a:t>vergisten</a:t>
            </a:r>
            <a:endParaRPr kumimoji="1" lang="nl-NL" altLang="nl-NL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6394" name="Text Box 10"/>
          <p:cNvSpPr txBox="1">
            <a:spLocks noChangeArrowheads="1"/>
          </p:cNvSpPr>
          <p:nvPr/>
        </p:nvSpPr>
        <p:spPr bwMode="auto">
          <a:xfrm>
            <a:off x="523349" y="1741344"/>
            <a:ext cx="1881187" cy="2923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18000" rIns="18000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300" b="1" dirty="0">
                <a:solidFill>
                  <a:schemeClr val="bg1"/>
                </a:solidFill>
              </a:rPr>
              <a:t>2 afvalenergiecentrales</a:t>
            </a:r>
          </a:p>
        </p:txBody>
      </p:sp>
      <p:sp>
        <p:nvSpPr>
          <p:cNvPr id="16395" name="Text Box 11"/>
          <p:cNvSpPr txBox="1">
            <a:spLocks noChangeArrowheads="1"/>
          </p:cNvSpPr>
          <p:nvPr/>
        </p:nvSpPr>
        <p:spPr bwMode="auto">
          <a:xfrm>
            <a:off x="2606512" y="1752816"/>
            <a:ext cx="1889288" cy="2923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300" b="1" dirty="0">
                <a:solidFill>
                  <a:schemeClr val="bg1"/>
                </a:solidFill>
              </a:rPr>
              <a:t>7 installaties</a:t>
            </a:r>
          </a:p>
        </p:txBody>
      </p:sp>
      <p:sp>
        <p:nvSpPr>
          <p:cNvPr id="16398" name="Text Box 14"/>
          <p:cNvSpPr txBox="1">
            <a:spLocks noChangeArrowheads="1"/>
          </p:cNvSpPr>
          <p:nvPr/>
        </p:nvSpPr>
        <p:spPr bwMode="auto">
          <a:xfrm>
            <a:off x="4721116" y="1738644"/>
            <a:ext cx="1755884" cy="292388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300" b="1" dirty="0">
                <a:solidFill>
                  <a:schemeClr val="bg1"/>
                </a:solidFill>
              </a:rPr>
              <a:t>7 installaties </a:t>
            </a:r>
          </a:p>
        </p:txBody>
      </p:sp>
      <p:pic>
        <p:nvPicPr>
          <p:cNvPr id="16399" name="Picture 15" descr="VOORSCH1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0150" y="1752600"/>
            <a:ext cx="1788050" cy="1910072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00" name="Rectangle 16"/>
          <p:cNvSpPr>
            <a:spLocks noChangeArrowheads="1"/>
          </p:cNvSpPr>
          <p:nvPr/>
        </p:nvSpPr>
        <p:spPr bwMode="auto">
          <a:xfrm>
            <a:off x="6679409" y="1752600"/>
            <a:ext cx="1769532" cy="292604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300" b="1" dirty="0" smtClean="0">
                <a:solidFill>
                  <a:schemeClr val="bg1"/>
                </a:solidFill>
              </a:rPr>
              <a:t>7 installaties</a:t>
            </a:r>
            <a:endParaRPr lang="nl-NL" altLang="nl-NL" sz="1300" b="1" dirty="0">
              <a:solidFill>
                <a:schemeClr val="bg1"/>
              </a:solidFill>
            </a:endParaRPr>
          </a:p>
        </p:txBody>
      </p:sp>
      <p:sp>
        <p:nvSpPr>
          <p:cNvPr id="16401" name="Text Box 17"/>
          <p:cNvSpPr txBox="1">
            <a:spLocks noChangeArrowheads="1"/>
          </p:cNvSpPr>
          <p:nvPr/>
        </p:nvSpPr>
        <p:spPr bwMode="auto">
          <a:xfrm>
            <a:off x="2590800" y="1295399"/>
            <a:ext cx="1905000" cy="366713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800" b="1" dirty="0">
                <a:solidFill>
                  <a:schemeClr val="bg1"/>
                </a:solidFill>
                <a:cs typeface="Arial" charset="0"/>
              </a:rPr>
              <a:t>   </a:t>
            </a:r>
            <a:r>
              <a:rPr kumimoji="1" lang="nl-NL" altLang="nl-NL" sz="1600" b="1" dirty="0">
                <a:solidFill>
                  <a:schemeClr val="bg1"/>
                </a:solidFill>
                <a:cs typeface="Arial" charset="0"/>
              </a:rPr>
              <a:t>bioconversie   </a:t>
            </a:r>
            <a:endParaRPr kumimoji="1" lang="nl-NL" altLang="nl-NL" sz="18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9" name="Rectangle 7"/>
          <p:cNvSpPr>
            <a:spLocks noChangeArrowheads="1"/>
          </p:cNvSpPr>
          <p:nvPr/>
        </p:nvSpPr>
        <p:spPr bwMode="auto">
          <a:xfrm>
            <a:off x="392785" y="3826357"/>
            <a:ext cx="8656661" cy="213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180975" indent="-1809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531813" indent="-1714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892175" indent="-1809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258888" indent="-18732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1611313" indent="-17145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068513" indent="-17145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525713" indent="-17145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2982913" indent="-17145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440113" indent="-171450" fontAlgn="base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r>
              <a:rPr lang="nl-BE" sz="1500" dirty="0"/>
              <a:t>Attero </a:t>
            </a:r>
            <a:r>
              <a:rPr lang="nl-BE" sz="1500" dirty="0" smtClean="0"/>
              <a:t>zorgt, </a:t>
            </a:r>
            <a:r>
              <a:rPr lang="nl-BE" sz="1500" dirty="0"/>
              <a:t>als betrouwbare partner van overheden en </a:t>
            </a:r>
            <a:r>
              <a:rPr lang="nl-BE" sz="1500" dirty="0" smtClean="0"/>
              <a:t>bedrijven, voor een </a:t>
            </a:r>
            <a:r>
              <a:rPr lang="nl-BE" sz="1500" dirty="0"/>
              <a:t>duurzame oplossing voor </a:t>
            </a:r>
            <a:r>
              <a:rPr lang="nl-BE" sz="1500" dirty="0" smtClean="0"/>
              <a:t>de afvalstromen.</a:t>
            </a:r>
          </a:p>
          <a:p>
            <a:r>
              <a:rPr lang="nl-BE" sz="1500" dirty="0"/>
              <a:t>Op een vijftiental locaties verwerken onze ruim achthonderd gemotiveerde medewerkers het afval van meer dan 20 procent van het Nederlandse huishoudelijk restafval.</a:t>
            </a:r>
          </a:p>
          <a:p>
            <a:r>
              <a:rPr lang="nl-BE" sz="1500" dirty="0" smtClean="0"/>
              <a:t>Tevens verwerken </a:t>
            </a:r>
            <a:r>
              <a:rPr lang="nl-BE" sz="1500" dirty="0"/>
              <a:t>wij bedrijfsafval. Het gaat in totaal jaarlijks om zo'n 3,3 miljoen ton afval. </a:t>
            </a:r>
            <a:endParaRPr lang="nl-BE" sz="1500" dirty="0" smtClean="0"/>
          </a:p>
          <a:p>
            <a:r>
              <a:rPr lang="nl-BE" sz="1500" dirty="0"/>
              <a:t>Onze installaties wekken voldoende elektriciteit op voor circa 350.000 huishoudens en voorzien we in de warmtebehoefte van bedrijven in de buurt van onze locaties</a:t>
            </a:r>
            <a:r>
              <a:rPr lang="nl-BE" sz="1500" dirty="0" smtClean="0"/>
              <a:t>.</a:t>
            </a:r>
            <a:endParaRPr lang="nl-BE" sz="1500" dirty="0"/>
          </a:p>
          <a:p>
            <a:r>
              <a:rPr lang="nl-BE" sz="1500" dirty="0" smtClean="0"/>
              <a:t>Onze kernwaarden; duurzaam</a:t>
            </a:r>
            <a:r>
              <a:rPr lang="nl-BE" sz="1500" dirty="0"/>
              <a:t>, innovatief, betrouwbaar en klantgericht</a:t>
            </a:r>
            <a:endParaRPr lang="nl-NL" altLang="nl-NL" sz="1500" dirty="0"/>
          </a:p>
          <a:p>
            <a:pPr lvl="1"/>
            <a:endParaRPr lang="nl-NL" altLang="nl-NL" sz="1500" dirty="0" smtClean="0"/>
          </a:p>
          <a:p>
            <a:endParaRPr lang="nl-NL" altLang="nl-NL" sz="1500" dirty="0" smtClean="0"/>
          </a:p>
          <a:p>
            <a:endParaRPr lang="nl-NL" altLang="nl-NL" sz="1500" dirty="0"/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6679409" y="1295400"/>
            <a:ext cx="1769532" cy="3810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600" b="1" dirty="0" smtClean="0">
                <a:solidFill>
                  <a:schemeClr val="bg1"/>
                </a:solidFill>
                <a:cs typeface="Arial" charset="0"/>
              </a:rPr>
              <a:t>Recycling</a:t>
            </a:r>
            <a:endParaRPr kumimoji="1" lang="nl-NL" altLang="nl-NL" sz="1800" b="1" dirty="0">
              <a:solidFill>
                <a:schemeClr val="bg1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8996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jdelijke aanduiding voor dianummer 4"/>
          <p:cNvSpPr>
            <a:spLocks noGrp="1"/>
          </p:cNvSpPr>
          <p:nvPr>
            <p:ph type="sldNum" sz="quarter" idx="4294967295"/>
          </p:nvPr>
        </p:nvSpPr>
        <p:spPr>
          <a:xfrm>
            <a:off x="1409700" y="6302375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1363" indent="-284163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1413" indent="-227013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598613" indent="-227013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5813" indent="-227013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3013" indent="-2270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0213" indent="-2270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7413" indent="-2270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4613" indent="-22701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CB61DA38-6931-4464-A0C8-7BDC8DD4ACAC}" type="slidenum">
              <a:rPr lang="nl-NL" altLang="nl-NL" sz="1000" smtClean="0">
                <a:solidFill>
                  <a:srgbClr val="FFFFFF"/>
                </a:solidFill>
              </a:rPr>
              <a:pPr>
                <a:spcBef>
                  <a:spcPct val="0"/>
                </a:spcBef>
                <a:buFontTx/>
                <a:buNone/>
              </a:pPr>
              <a:t>6</a:t>
            </a:fld>
            <a:endParaRPr lang="nl-NL" altLang="nl-NL" sz="1000" smtClean="0">
              <a:solidFill>
                <a:srgbClr val="FFFFFF"/>
              </a:solidFill>
            </a:endParaRPr>
          </a:p>
        </p:txBody>
      </p:sp>
      <p:sp>
        <p:nvSpPr>
          <p:cNvPr id="22531" name="Rectangle 2"/>
          <p:cNvSpPr>
            <a:spLocks noGrp="1" noChangeArrowheads="1"/>
          </p:cNvSpPr>
          <p:nvPr>
            <p:ph type="title"/>
          </p:nvPr>
        </p:nvSpPr>
        <p:spPr>
          <a:xfrm>
            <a:off x="185738" y="152400"/>
            <a:ext cx="8043862" cy="990600"/>
          </a:xfrm>
        </p:spPr>
        <p:txBody>
          <a:bodyPr/>
          <a:lstStyle/>
          <a:p>
            <a:pPr eaLnBrk="1" hangingPunct="1"/>
            <a:r>
              <a:rPr lang="nl-NL" altLang="nl-NL" smtClean="0"/>
              <a:t>Onze kernactiviteiten</a:t>
            </a:r>
          </a:p>
        </p:txBody>
      </p:sp>
      <p:sp>
        <p:nvSpPr>
          <p:cNvPr id="22532" name="Text Box 4"/>
          <p:cNvSpPr txBox="1">
            <a:spLocks noChangeArrowheads="1"/>
          </p:cNvSpPr>
          <p:nvPr/>
        </p:nvSpPr>
        <p:spPr bwMode="auto">
          <a:xfrm>
            <a:off x="152400" y="1360488"/>
            <a:ext cx="2209800" cy="366712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energieproductie</a:t>
            </a:r>
          </a:p>
        </p:txBody>
      </p:sp>
      <p:sp>
        <p:nvSpPr>
          <p:cNvPr id="22533" name="Text Box 5"/>
          <p:cNvSpPr txBox="1">
            <a:spLocks noChangeArrowheads="1"/>
          </p:cNvSpPr>
          <p:nvPr/>
        </p:nvSpPr>
        <p:spPr bwMode="auto">
          <a:xfrm>
            <a:off x="2476500" y="1358900"/>
            <a:ext cx="2062163" cy="36988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recycling</a:t>
            </a:r>
          </a:p>
        </p:txBody>
      </p:sp>
      <p:pic>
        <p:nvPicPr>
          <p:cNvPr id="22534" name="Picture 6" descr="Graafwiel_RGB"/>
          <p:cNvPicPr preferRelativeResize="0">
            <a:picLocks noChangeAspect="1" noChangeArrowheads="1"/>
          </p:cNvPicPr>
          <p:nvPr/>
        </p:nvPicPr>
        <p:blipFill>
          <a:blip r:embed="rId3">
            <a:lum bright="20000" contrast="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18" t="591" r="25545" b="2264"/>
          <a:stretch>
            <a:fillRect/>
          </a:stretch>
        </p:blipFill>
        <p:spPr bwMode="auto">
          <a:xfrm>
            <a:off x="4692650" y="2386013"/>
            <a:ext cx="1023938" cy="22129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5" name="Picture 7" descr="GAVI zuid noord 1 klein"/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45" r="35432" b="10414"/>
          <a:stretch>
            <a:fillRect/>
          </a:stretch>
        </p:blipFill>
        <p:spPr bwMode="auto">
          <a:xfrm>
            <a:off x="155575" y="2379663"/>
            <a:ext cx="2206625" cy="220662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536" name="Picture 8" descr="Vagron gasbol 250407 104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27" r="52728"/>
          <a:stretch>
            <a:fillRect/>
          </a:stretch>
        </p:blipFill>
        <p:spPr bwMode="auto">
          <a:xfrm>
            <a:off x="5730875" y="2392363"/>
            <a:ext cx="1166813" cy="2209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7" name="Text Box 9"/>
          <p:cNvSpPr txBox="1">
            <a:spLocks noChangeArrowheads="1"/>
          </p:cNvSpPr>
          <p:nvPr/>
        </p:nvSpPr>
        <p:spPr bwMode="auto">
          <a:xfrm>
            <a:off x="4681538" y="1806575"/>
            <a:ext cx="2209800" cy="3810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vergisten</a:t>
            </a:r>
          </a:p>
        </p:txBody>
      </p:sp>
      <p:sp>
        <p:nvSpPr>
          <p:cNvPr id="22538" name="Text Box 10"/>
          <p:cNvSpPr txBox="1">
            <a:spLocks noChangeArrowheads="1"/>
          </p:cNvSpPr>
          <p:nvPr/>
        </p:nvSpPr>
        <p:spPr bwMode="auto">
          <a:xfrm>
            <a:off x="152400" y="2382838"/>
            <a:ext cx="2209800" cy="3222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rIns="18000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500" b="1">
                <a:solidFill>
                  <a:srgbClr val="FFFFFF"/>
                </a:solidFill>
              </a:rPr>
              <a:t>2 afvalenergiecentrales</a:t>
            </a:r>
          </a:p>
        </p:txBody>
      </p:sp>
      <p:sp>
        <p:nvSpPr>
          <p:cNvPr id="22539" name="Text Box 11"/>
          <p:cNvSpPr txBox="1">
            <a:spLocks noChangeArrowheads="1"/>
          </p:cNvSpPr>
          <p:nvPr/>
        </p:nvSpPr>
        <p:spPr bwMode="auto">
          <a:xfrm>
            <a:off x="4681538" y="2382838"/>
            <a:ext cx="2220912" cy="3222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500" b="1">
                <a:solidFill>
                  <a:srgbClr val="FFFFFF"/>
                </a:solidFill>
              </a:rPr>
              <a:t>7 installaties</a:t>
            </a:r>
          </a:p>
        </p:txBody>
      </p:sp>
      <p:sp>
        <p:nvSpPr>
          <p:cNvPr id="22540" name="Text Box 12"/>
          <p:cNvSpPr txBox="1">
            <a:spLocks noChangeArrowheads="1"/>
          </p:cNvSpPr>
          <p:nvPr/>
        </p:nvSpPr>
        <p:spPr bwMode="auto">
          <a:xfrm>
            <a:off x="3090863" y="2382838"/>
            <a:ext cx="1355725" cy="1016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b="1">
                <a:solidFill>
                  <a:srgbClr val="6E1432"/>
                </a:solidFill>
              </a:rPr>
              <a:t>13 stortplaatsen</a:t>
            </a:r>
          </a:p>
        </p:txBody>
      </p:sp>
      <p:pic>
        <p:nvPicPr>
          <p:cNvPr id="22541" name="Picture 15" descr="VOORSCH1"/>
          <p:cNvPicPr preferRelativeResize="0"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9675" y="2382838"/>
            <a:ext cx="2058988" cy="2209800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42" name="Rectangle 16"/>
          <p:cNvSpPr>
            <a:spLocks noChangeArrowheads="1"/>
          </p:cNvSpPr>
          <p:nvPr/>
        </p:nvSpPr>
        <p:spPr bwMode="auto">
          <a:xfrm>
            <a:off x="2479675" y="2382838"/>
            <a:ext cx="2071688" cy="3222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500" b="1">
                <a:solidFill>
                  <a:srgbClr val="FFFFFF"/>
                </a:solidFill>
              </a:rPr>
              <a:t>5 installaties</a:t>
            </a:r>
          </a:p>
        </p:txBody>
      </p:sp>
      <p:sp>
        <p:nvSpPr>
          <p:cNvPr id="22543" name="Text Box 17"/>
          <p:cNvSpPr txBox="1">
            <a:spLocks noChangeArrowheads="1"/>
          </p:cNvSpPr>
          <p:nvPr/>
        </p:nvSpPr>
        <p:spPr bwMode="auto">
          <a:xfrm>
            <a:off x="4681538" y="1360488"/>
            <a:ext cx="2209800" cy="366712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   bioconversie   </a:t>
            </a:r>
          </a:p>
        </p:txBody>
      </p:sp>
      <p:sp>
        <p:nvSpPr>
          <p:cNvPr id="22544" name="Text Box 4"/>
          <p:cNvSpPr txBox="1">
            <a:spLocks noChangeArrowheads="1"/>
          </p:cNvSpPr>
          <p:nvPr/>
        </p:nvSpPr>
        <p:spPr bwMode="auto">
          <a:xfrm>
            <a:off x="152400" y="4668838"/>
            <a:ext cx="2209800" cy="1077912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electriciteit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warmte</a:t>
            </a:r>
            <a:endParaRPr kumimoji="1" lang="nl-NL" altLang="nl-NL" sz="1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2545" name="Text Box 5"/>
          <p:cNvSpPr txBox="1">
            <a:spLocks noChangeArrowheads="1"/>
          </p:cNvSpPr>
          <p:nvPr/>
        </p:nvSpPr>
        <p:spPr bwMode="auto">
          <a:xfrm>
            <a:off x="2476500" y="4679950"/>
            <a:ext cx="2062163" cy="175418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kunststoffe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drankenkarton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metale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puingranulaat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grond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bodemas</a:t>
            </a:r>
            <a:endParaRPr kumimoji="1" lang="nl-NL" altLang="nl-NL" sz="1800" b="1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sp>
        <p:nvSpPr>
          <p:cNvPr id="22546" name="Text Box 9"/>
          <p:cNvSpPr txBox="1">
            <a:spLocks noChangeArrowheads="1"/>
          </p:cNvSpPr>
          <p:nvPr/>
        </p:nvSpPr>
        <p:spPr bwMode="auto">
          <a:xfrm>
            <a:off x="6967538" y="4668838"/>
            <a:ext cx="2057400" cy="11938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gaswinning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groene stroom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warmte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waterzuivering</a:t>
            </a:r>
          </a:p>
        </p:txBody>
      </p:sp>
      <p:sp>
        <p:nvSpPr>
          <p:cNvPr id="22547" name="Text Box 17"/>
          <p:cNvSpPr txBox="1">
            <a:spLocks noChangeArrowheads="1"/>
          </p:cNvSpPr>
          <p:nvPr/>
        </p:nvSpPr>
        <p:spPr bwMode="auto">
          <a:xfrm>
            <a:off x="4681538" y="4668838"/>
            <a:ext cx="2209800" cy="17653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endParaRPr kumimoji="1" lang="nl-NL" altLang="nl-NL" sz="1800" b="1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bodemverbeteraar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biobrandstoffen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600" b="1">
                <a:solidFill>
                  <a:srgbClr val="FFFFFF"/>
                </a:solidFill>
                <a:cs typeface="Arial" panose="020B0604020202020204" pitchFamily="34" charset="0"/>
              </a:rPr>
              <a:t>biosubstraatgrondstof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groengas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groene stroom</a:t>
            </a: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en-US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warmte</a:t>
            </a:r>
            <a:endParaRPr kumimoji="1" lang="nl-NL" altLang="nl-NL" sz="1800" b="1">
              <a:solidFill>
                <a:srgbClr val="FFFFFF"/>
              </a:solidFill>
              <a:cs typeface="Arial" panose="020B0604020202020204" pitchFamily="34" charset="0"/>
            </a:endParaRPr>
          </a:p>
          <a:p>
            <a:pPr algn="ctr">
              <a:spcBef>
                <a:spcPct val="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 </a:t>
            </a:r>
          </a:p>
        </p:txBody>
      </p:sp>
      <p:sp>
        <p:nvSpPr>
          <p:cNvPr id="22548" name="Text Box 9"/>
          <p:cNvSpPr txBox="1">
            <a:spLocks noChangeArrowheads="1"/>
          </p:cNvSpPr>
          <p:nvPr/>
        </p:nvSpPr>
        <p:spPr bwMode="auto">
          <a:xfrm>
            <a:off x="6967538" y="1346200"/>
            <a:ext cx="2057400" cy="381000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kumimoji="1" lang="nl-NL" altLang="nl-NL" sz="1800" b="1">
                <a:solidFill>
                  <a:srgbClr val="FFFFFF"/>
                </a:solidFill>
                <a:cs typeface="Arial" panose="020B0604020202020204" pitchFamily="34" charset="0"/>
              </a:rPr>
              <a:t>storten en beheer</a:t>
            </a:r>
          </a:p>
        </p:txBody>
      </p:sp>
      <p:pic>
        <p:nvPicPr>
          <p:cNvPr id="22549" name="Afbeelding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11" r="8246"/>
          <a:stretch>
            <a:fillRect/>
          </a:stretch>
        </p:blipFill>
        <p:spPr bwMode="auto">
          <a:xfrm>
            <a:off x="6978650" y="2555875"/>
            <a:ext cx="2044700" cy="204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50" name="Text Box 14"/>
          <p:cNvSpPr txBox="1">
            <a:spLocks noChangeArrowheads="1"/>
          </p:cNvSpPr>
          <p:nvPr/>
        </p:nvSpPr>
        <p:spPr bwMode="auto">
          <a:xfrm>
            <a:off x="6967538" y="2382838"/>
            <a:ext cx="2057400" cy="322262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nl-NL" altLang="nl-NL" sz="1500" b="1">
                <a:solidFill>
                  <a:srgbClr val="FFFFFF"/>
                </a:solidFill>
              </a:rPr>
              <a:t>12 locaties</a:t>
            </a:r>
          </a:p>
        </p:txBody>
      </p:sp>
    </p:spTree>
    <p:extLst>
      <p:ext uri="{BB962C8B-B14F-4D97-AF65-F5344CB8AC3E}">
        <p14:creationId xmlns:p14="http://schemas.microsoft.com/office/powerpoint/2010/main" val="400959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409700" y="6553200"/>
            <a:ext cx="290513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38AC9656-1470-48E4-8766-29C1C6391E42}" type="slidenum">
              <a:rPr lang="nl-NL" altLang="nl-NL" sz="10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7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sp>
        <p:nvSpPr>
          <p:cNvPr id="24579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152400"/>
            <a:ext cx="8043863" cy="990600"/>
          </a:xfrm>
        </p:spPr>
        <p:txBody>
          <a:bodyPr/>
          <a:lstStyle/>
          <a:p>
            <a:pPr eaLnBrk="1" hangingPunct="1"/>
            <a:r>
              <a:rPr lang="nl-NL" altLang="nl-NL" smtClean="0"/>
              <a:t>Verwerkingslocaties</a:t>
            </a:r>
          </a:p>
        </p:txBody>
      </p:sp>
      <p:sp>
        <p:nvSpPr>
          <p:cNvPr id="24580" name="HeadingBox4" descr="&lt;tags&gt;&lt;tag n=&quot;TagName&quot; v=&quot;HeadingBox4&quot; /&gt;&lt;tag n=&quot;Top&quot; v=&quot;258.125&quot; /&gt;&lt;tag n=&quot;Left&quot; v=&quot;35.75&quot; /&gt;&lt;tag n=&quot;Height&quot; v=&quot;21.375&quot; /&gt;&lt;tag n=&quot;Width&quot; v=&quot;209.75&quot; /&gt;&lt;/tags&gt;"/>
          <p:cNvSpPr>
            <a:spLocks noGrp="1" noChangeArrowheads="1"/>
          </p:cNvSpPr>
          <p:nvPr>
            <p:ph type="body" idx="1"/>
          </p:nvPr>
        </p:nvSpPr>
        <p:spPr bwMode="gray">
          <a:xfrm>
            <a:off x="457200" y="1482725"/>
            <a:ext cx="2667000" cy="269875"/>
          </a:xfrm>
          <a:solidFill>
            <a:srgbClr val="6E1432"/>
          </a:solidFill>
        </p:spPr>
        <p:txBody>
          <a:bodyPr/>
          <a:lstStyle/>
          <a:p>
            <a:pPr marL="254000" indent="-254000" algn="ctr" defTabSz="1023938"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nl-NL" altLang="ja-JP" sz="1600" b="1" smtClean="0">
                <a:solidFill>
                  <a:schemeClr val="bg1"/>
                </a:solidFill>
                <a:ea typeface="ＭＳ Ｐゴシック" panose="020B0600070205080204" pitchFamily="34" charset="-128"/>
              </a:rPr>
              <a:t>verbranden en scheiden</a:t>
            </a:r>
          </a:p>
        </p:txBody>
      </p:sp>
      <p:sp>
        <p:nvSpPr>
          <p:cNvPr id="24581" name="HeadingBox4" descr="&lt;tags&gt;&lt;tag n=&quot;TagName&quot; v=&quot;HeadingBox4&quot; /&gt;&lt;tag n=&quot;Top&quot; v=&quot;258.125&quot; /&gt;&lt;tag n=&quot;Left&quot; v=&quot;35.75&quot; /&gt;&lt;tag n=&quot;Height&quot; v=&quot;21.375&quot; /&gt;&lt;tag n=&quot;Width&quot; v=&quot;209.75&quot; /&gt;&lt;/tags&gt;"/>
          <p:cNvSpPr>
            <a:spLocks noChangeArrowheads="1"/>
          </p:cNvSpPr>
          <p:nvPr/>
        </p:nvSpPr>
        <p:spPr bwMode="gray">
          <a:xfrm>
            <a:off x="3505200" y="1482725"/>
            <a:ext cx="2667000" cy="269875"/>
          </a:xfrm>
          <a:prstGeom prst="rect">
            <a:avLst/>
          </a:prstGeom>
          <a:solidFill>
            <a:srgbClr val="6E14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02393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1588" indent="-171450" defTabSz="102393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763" indent="-180975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350" indent="-187325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9525" indent="-171450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4667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9239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13811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18383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nl-NL" altLang="ja-JP" sz="1600" b="1">
                <a:solidFill>
                  <a:schemeClr val="bg1"/>
                </a:solidFill>
                <a:ea typeface="ＭＳ Ｐゴシック" panose="020B0600070205080204" pitchFamily="34" charset="-128"/>
              </a:rPr>
              <a:t>composteren en vergisten</a:t>
            </a:r>
          </a:p>
        </p:txBody>
      </p:sp>
      <p:sp>
        <p:nvSpPr>
          <p:cNvPr id="24582" name="HeadingBox4" descr="&lt;tags&gt;&lt;tag n=&quot;TagName&quot; v=&quot;HeadingBox4&quot; /&gt;&lt;tag n=&quot;Top&quot; v=&quot;258.125&quot; /&gt;&lt;tag n=&quot;Left&quot; v=&quot;35.75&quot; /&gt;&lt;tag n=&quot;Height&quot; v=&quot;21.375&quot; /&gt;&lt;tag n=&quot;Width&quot; v=&quot;209.75&quot; /&gt;&lt;/tags&gt;"/>
          <p:cNvSpPr>
            <a:spLocks noChangeArrowheads="1"/>
          </p:cNvSpPr>
          <p:nvPr/>
        </p:nvSpPr>
        <p:spPr bwMode="gray">
          <a:xfrm>
            <a:off x="6477000" y="1482725"/>
            <a:ext cx="2514600" cy="269875"/>
          </a:xfrm>
          <a:prstGeom prst="rect">
            <a:avLst/>
          </a:prstGeom>
          <a:solidFill>
            <a:srgbClr val="6E143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102393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1588" indent="-171450" defTabSz="1023938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4763" indent="-180975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6350" indent="-187325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9525" indent="-171450" defTabSz="1023938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4667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9239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13811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1838325" indent="-171450" defTabSz="1023938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FontTx/>
              <a:buNone/>
            </a:pPr>
            <a:r>
              <a:rPr lang="nl-NL" altLang="ja-JP" sz="1600" b="1">
                <a:solidFill>
                  <a:schemeClr val="bg1"/>
                </a:solidFill>
                <a:ea typeface="ＭＳ Ｐゴシック" panose="020B0600070205080204" pitchFamily="34" charset="-128"/>
              </a:rPr>
              <a:t>storten</a:t>
            </a:r>
          </a:p>
        </p:txBody>
      </p:sp>
      <p:sp>
        <p:nvSpPr>
          <p:cNvPr id="24583" name="Freeform 7"/>
          <p:cNvSpPr>
            <a:spLocks/>
          </p:cNvSpPr>
          <p:nvPr/>
        </p:nvSpPr>
        <p:spPr bwMode="auto">
          <a:xfrm>
            <a:off x="2173288" y="1889125"/>
            <a:ext cx="7937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584" name="Text Box 8"/>
          <p:cNvSpPr txBox="1">
            <a:spLocks noChangeArrowheads="1"/>
          </p:cNvSpPr>
          <p:nvPr/>
        </p:nvSpPr>
        <p:spPr bwMode="auto">
          <a:xfrm>
            <a:off x="722313" y="5257800"/>
            <a:ext cx="2249487" cy="830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afvalenergiecentrale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scheiding/sorteerinstallatie</a:t>
            </a:r>
          </a:p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biomassa-energiecentrale</a:t>
            </a:r>
          </a:p>
        </p:txBody>
      </p:sp>
      <p:pic>
        <p:nvPicPr>
          <p:cNvPr id="24585" name="Picture 9"/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286375"/>
            <a:ext cx="3111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86" name="Picture 10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578475"/>
            <a:ext cx="265113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587" name="Freeform 11"/>
          <p:cNvSpPr>
            <a:spLocks/>
          </p:cNvSpPr>
          <p:nvPr/>
        </p:nvSpPr>
        <p:spPr bwMode="auto">
          <a:xfrm>
            <a:off x="5233988" y="1905000"/>
            <a:ext cx="6350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588" name="Freeform 12"/>
          <p:cNvSpPr>
            <a:spLocks/>
          </p:cNvSpPr>
          <p:nvPr/>
        </p:nvSpPr>
        <p:spPr bwMode="auto">
          <a:xfrm>
            <a:off x="8220075" y="1905000"/>
            <a:ext cx="6350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grpSp>
        <p:nvGrpSpPr>
          <p:cNvPr id="24589" name="Group 13"/>
          <p:cNvGrpSpPr>
            <a:grpSpLocks/>
          </p:cNvGrpSpPr>
          <p:nvPr/>
        </p:nvGrpSpPr>
        <p:grpSpPr bwMode="auto">
          <a:xfrm>
            <a:off x="6477000" y="5257800"/>
            <a:ext cx="2209800" cy="274638"/>
            <a:chOff x="3936" y="3504"/>
            <a:chExt cx="1392" cy="173"/>
          </a:xfrm>
        </p:grpSpPr>
        <p:sp>
          <p:nvSpPr>
            <p:cNvPr id="24805" name="Text Box 14"/>
            <p:cNvSpPr txBox="1"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936" y="3539"/>
              <a:ext cx="366" cy="109"/>
            </a:xfrm>
            <a:prstGeom prst="rect">
              <a:avLst/>
            </a:prstGeom>
            <a:solidFill>
              <a:srgbClr val="6E143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635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1pPr>
              <a:lvl2pPr marL="495300" indent="-22701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2pPr>
              <a:lvl3pPr marL="757238" indent="-260350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004888" indent="-24606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3128963" indent="15875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35861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40433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45005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49577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ct val="0"/>
                </a:spcBef>
                <a:buClr>
                  <a:schemeClr val="bg1"/>
                </a:buClr>
                <a:buFontTx/>
                <a:buNone/>
              </a:pPr>
              <a:r>
                <a:rPr lang="nl-NL" altLang="nl-NL" sz="1200" b="1">
                  <a:solidFill>
                    <a:schemeClr val="bg1"/>
                  </a:solidFill>
                </a:rPr>
                <a:t>Tilburg</a:t>
              </a:r>
            </a:p>
          </p:txBody>
        </p:sp>
        <p:sp>
          <p:nvSpPr>
            <p:cNvPr id="24806" name="Text Box 15"/>
            <p:cNvSpPr txBox="1">
              <a:spLocks noChangeArrowheads="1"/>
            </p:cNvSpPr>
            <p:nvPr/>
          </p:nvSpPr>
          <p:spPr bwMode="auto">
            <a:xfrm>
              <a:off x="4296" y="3504"/>
              <a:ext cx="1032" cy="1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defTabSz="1285875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1pPr>
              <a:lvl2pPr marL="742950" indent="-285750" defTabSz="1285875">
                <a:spcBef>
                  <a:spcPct val="20000"/>
                </a:spcBef>
                <a:buChar char="•"/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2pPr>
              <a:lvl3pPr marL="1143000" indent="-228600" defTabSz="1285875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600200" indent="-228600" defTabSz="1285875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2057400" indent="-228600" defTabSz="1285875">
                <a:spcBef>
                  <a:spcPct val="20000"/>
                </a:spcBef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2514600" indent="-228600" defTabSz="12858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2971800" indent="-228600" defTabSz="12858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3429000" indent="-228600" defTabSz="12858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3886200" indent="-228600" defTabSz="1285875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  <a:buFontTx/>
                <a:buNone/>
              </a:pPr>
              <a:r>
                <a:rPr lang="nl-NL" altLang="nl-NL" sz="1200" b="1"/>
                <a:t>actieve stortlocaties</a:t>
              </a:r>
            </a:p>
          </p:txBody>
        </p:sp>
      </p:grpSp>
      <p:sp>
        <p:nvSpPr>
          <p:cNvPr id="24590" name="Text Box 16"/>
          <p:cNvSpPr txBox="1">
            <a:spLocks noChangeArrowheads="1"/>
          </p:cNvSpPr>
          <p:nvPr/>
        </p:nvSpPr>
        <p:spPr bwMode="auto">
          <a:xfrm>
            <a:off x="3648075" y="5257800"/>
            <a:ext cx="16383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groencompostering</a:t>
            </a:r>
          </a:p>
        </p:txBody>
      </p:sp>
      <p:pic>
        <p:nvPicPr>
          <p:cNvPr id="24591" name="Picture 17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6613" y="5270500"/>
            <a:ext cx="204787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92" name="Picture 18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900" y="5524500"/>
            <a:ext cx="187325" cy="211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593" name="Picture 19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5500" y="5791200"/>
            <a:ext cx="222250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594" name="Text Box 20"/>
          <p:cNvSpPr txBox="1">
            <a:spLocks noChangeArrowheads="1"/>
          </p:cNvSpPr>
          <p:nvPr/>
        </p:nvSpPr>
        <p:spPr bwMode="auto">
          <a:xfrm>
            <a:off x="3657600" y="5486400"/>
            <a:ext cx="19050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compostfabriek</a:t>
            </a:r>
          </a:p>
        </p:txBody>
      </p:sp>
      <p:sp>
        <p:nvSpPr>
          <p:cNvPr id="24595" name="Text Box 21"/>
          <p:cNvSpPr txBox="1">
            <a:spLocks noChangeArrowheads="1"/>
          </p:cNvSpPr>
          <p:nvPr/>
        </p:nvSpPr>
        <p:spPr bwMode="auto">
          <a:xfrm>
            <a:off x="3657600" y="5745163"/>
            <a:ext cx="182880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 defTabSz="128587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 defTabSz="1285875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defTabSz="1285875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nl-NL" altLang="nl-NL" sz="1200" b="1"/>
              <a:t>vergistingsinstallatie</a:t>
            </a:r>
          </a:p>
        </p:txBody>
      </p:sp>
      <p:sp>
        <p:nvSpPr>
          <p:cNvPr id="24596" name="Text Box 2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477000" y="5562600"/>
            <a:ext cx="593725" cy="1730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Wijster</a:t>
            </a:r>
          </a:p>
        </p:txBody>
      </p:sp>
      <p:sp>
        <p:nvSpPr>
          <p:cNvPr id="24597" name="Text Box 2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307138" y="5791200"/>
            <a:ext cx="779462" cy="1730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Landgraaf</a:t>
            </a:r>
          </a:p>
        </p:txBody>
      </p:sp>
      <p:sp>
        <p:nvSpPr>
          <p:cNvPr id="24598" name="Freeform 24"/>
          <p:cNvSpPr>
            <a:spLocks/>
          </p:cNvSpPr>
          <p:nvPr/>
        </p:nvSpPr>
        <p:spPr bwMode="auto">
          <a:xfrm>
            <a:off x="2173288" y="1889125"/>
            <a:ext cx="7937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599" name="Freeform 25"/>
          <p:cNvSpPr>
            <a:spLocks/>
          </p:cNvSpPr>
          <p:nvPr/>
        </p:nvSpPr>
        <p:spPr bwMode="auto">
          <a:xfrm>
            <a:off x="2549525" y="1962150"/>
            <a:ext cx="39688" cy="33338"/>
          </a:xfrm>
          <a:custGeom>
            <a:avLst/>
            <a:gdLst>
              <a:gd name="T0" fmla="*/ 2147483646 w 13"/>
              <a:gd name="T1" fmla="*/ 2147483646 h 11"/>
              <a:gd name="T2" fmla="*/ 2147483646 w 13"/>
              <a:gd name="T3" fmla="*/ 2147483646 h 11"/>
              <a:gd name="T4" fmla="*/ 2147483646 w 13"/>
              <a:gd name="T5" fmla="*/ 2147483646 h 11"/>
              <a:gd name="T6" fmla="*/ 2147483646 w 13"/>
              <a:gd name="T7" fmla="*/ 2147483646 h 11"/>
              <a:gd name="T8" fmla="*/ 2147483646 w 13"/>
              <a:gd name="T9" fmla="*/ 2147483646 h 11"/>
              <a:gd name="T10" fmla="*/ 2147483646 w 13"/>
              <a:gd name="T11" fmla="*/ 2147483646 h 11"/>
              <a:gd name="T12" fmla="*/ 2147483646 w 13"/>
              <a:gd name="T13" fmla="*/ 0 h 11"/>
              <a:gd name="T14" fmla="*/ 2147483646 w 13"/>
              <a:gd name="T15" fmla="*/ 0 h 11"/>
              <a:gd name="T16" fmla="*/ 2147483646 w 13"/>
              <a:gd name="T17" fmla="*/ 2147483646 h 11"/>
              <a:gd name="T18" fmla="*/ 0 w 13"/>
              <a:gd name="T19" fmla="*/ 2147483646 h 11"/>
              <a:gd name="T20" fmla="*/ 2147483646 w 13"/>
              <a:gd name="T21" fmla="*/ 2147483646 h 11"/>
              <a:gd name="T22" fmla="*/ 2147483646 w 13"/>
              <a:gd name="T23" fmla="*/ 2147483646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3" h="11">
                <a:moveTo>
                  <a:pt x="3" y="9"/>
                </a:moveTo>
                <a:lnTo>
                  <a:pt x="5" y="11"/>
                </a:lnTo>
                <a:lnTo>
                  <a:pt x="8" y="11"/>
                </a:lnTo>
                <a:lnTo>
                  <a:pt x="10" y="8"/>
                </a:lnTo>
                <a:lnTo>
                  <a:pt x="13" y="6"/>
                </a:lnTo>
                <a:lnTo>
                  <a:pt x="12" y="4"/>
                </a:lnTo>
                <a:lnTo>
                  <a:pt x="6" y="0"/>
                </a:lnTo>
                <a:lnTo>
                  <a:pt x="4" y="0"/>
                </a:lnTo>
                <a:lnTo>
                  <a:pt x="3" y="3"/>
                </a:lnTo>
                <a:lnTo>
                  <a:pt x="0" y="5"/>
                </a:lnTo>
                <a:lnTo>
                  <a:pt x="1" y="7"/>
                </a:lnTo>
                <a:lnTo>
                  <a:pt x="3" y="9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grpSp>
        <p:nvGrpSpPr>
          <p:cNvPr id="24600" name="Group 26"/>
          <p:cNvGrpSpPr>
            <a:grpSpLocks/>
          </p:cNvGrpSpPr>
          <p:nvPr/>
        </p:nvGrpSpPr>
        <p:grpSpPr bwMode="auto">
          <a:xfrm>
            <a:off x="152400" y="1998663"/>
            <a:ext cx="3048000" cy="3090862"/>
            <a:chOff x="96" y="1259"/>
            <a:chExt cx="1920" cy="1947"/>
          </a:xfrm>
        </p:grpSpPr>
        <p:sp>
          <p:nvSpPr>
            <p:cNvPr id="24753" name="Freeform 27"/>
            <p:cNvSpPr>
              <a:spLocks/>
            </p:cNvSpPr>
            <p:nvPr/>
          </p:nvSpPr>
          <p:spPr bwMode="auto">
            <a:xfrm>
              <a:off x="1032" y="1978"/>
              <a:ext cx="1" cy="2"/>
            </a:xfrm>
            <a:custGeom>
              <a:avLst/>
              <a:gdLst>
                <a:gd name="T0" fmla="*/ 0 w 1"/>
                <a:gd name="T1" fmla="*/ 1 h 3"/>
                <a:gd name="T2" fmla="*/ 0 w 1"/>
                <a:gd name="T3" fmla="*/ 0 h 3"/>
                <a:gd name="T4" fmla="*/ 0 w 1"/>
                <a:gd name="T5" fmla="*/ 0 h 3"/>
                <a:gd name="T6" fmla="*/ 0 w 1"/>
                <a:gd name="T7" fmla="*/ 0 h 3"/>
                <a:gd name="T8" fmla="*/ 0 w 1"/>
                <a:gd name="T9" fmla="*/ 0 h 3"/>
                <a:gd name="T10" fmla="*/ 0 w 1"/>
                <a:gd name="T11" fmla="*/ 1 h 3"/>
                <a:gd name="T12" fmla="*/ 0 w 1"/>
                <a:gd name="T13" fmla="*/ 1 h 3"/>
                <a:gd name="T14" fmla="*/ 0 w 1"/>
                <a:gd name="T15" fmla="*/ 1 h 3"/>
                <a:gd name="T16" fmla="*/ 0 w 1"/>
                <a:gd name="T17" fmla="*/ 1 h 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3">
                  <a:moveTo>
                    <a:pt x="0" y="3"/>
                  </a:move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4" name="Freeform 28"/>
            <p:cNvSpPr>
              <a:spLocks/>
            </p:cNvSpPr>
            <p:nvPr/>
          </p:nvSpPr>
          <p:spPr bwMode="auto">
            <a:xfrm>
              <a:off x="1034" y="1970"/>
              <a:ext cx="2" cy="0"/>
            </a:xfrm>
            <a:custGeom>
              <a:avLst/>
              <a:gdLst>
                <a:gd name="T0" fmla="*/ 1 w 3"/>
                <a:gd name="T1" fmla="*/ 0 w 3"/>
                <a:gd name="T2" fmla="*/ 0 w 3"/>
                <a:gd name="T3" fmla="*/ 0 w 3"/>
                <a:gd name="T4" fmla="*/ 0 w 3"/>
                <a:gd name="T5" fmla="*/ 1 w 3"/>
                <a:gd name="T6" fmla="*/ 1 w 3"/>
                <a:gd name="T7" fmla="*/ 1 w 3"/>
                <a:gd name="T8" fmla="*/ 1 w 3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9">
                  <a:pos x="T0" y="0"/>
                </a:cxn>
                <a:cxn ang="T10">
                  <a:pos x="T1" y="0"/>
                </a:cxn>
                <a:cxn ang="T11">
                  <a:pos x="T2" y="0"/>
                </a:cxn>
                <a:cxn ang="T12">
                  <a:pos x="T3" y="0"/>
                </a:cxn>
                <a:cxn ang="T13">
                  <a:pos x="T4" y="0"/>
                </a:cxn>
                <a:cxn ang="T14">
                  <a:pos x="T5" y="0"/>
                </a:cxn>
                <a:cxn ang="T15">
                  <a:pos x="T6" y="0"/>
                </a:cxn>
                <a:cxn ang="T16">
                  <a:pos x="T7" y="0"/>
                </a:cxn>
                <a:cxn ang="T17">
                  <a:pos x="T8" y="0"/>
                </a:cxn>
              </a:cxnLst>
              <a:rect l="0" t="0" r="r" b="b"/>
              <a:pathLst>
                <a:path w="3">
                  <a:moveTo>
                    <a:pt x="3" y="0"/>
                  </a:move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5" name="Freeform 29"/>
            <p:cNvSpPr>
              <a:spLocks/>
            </p:cNvSpPr>
            <p:nvPr/>
          </p:nvSpPr>
          <p:spPr bwMode="auto">
            <a:xfrm>
              <a:off x="1026" y="1972"/>
              <a:ext cx="4" cy="0"/>
            </a:xfrm>
            <a:custGeom>
              <a:avLst/>
              <a:gdLst>
                <a:gd name="T0" fmla="*/ 1 w 6"/>
                <a:gd name="T1" fmla="*/ 1 w 6"/>
                <a:gd name="T2" fmla="*/ 1 w 6"/>
                <a:gd name="T3" fmla="*/ 0 w 6"/>
                <a:gd name="T4" fmla="*/ 0 w 6"/>
                <a:gd name="T5" fmla="*/ 1 w 6"/>
                <a:gd name="T6" fmla="*/ 1 w 6"/>
                <a:gd name="T7" fmla="*/ 1 w 6"/>
                <a:gd name="T8" fmla="*/ 1 w 6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9">
                  <a:pos x="T0" y="0"/>
                </a:cxn>
                <a:cxn ang="T10">
                  <a:pos x="T1" y="0"/>
                </a:cxn>
                <a:cxn ang="T11">
                  <a:pos x="T2" y="0"/>
                </a:cxn>
                <a:cxn ang="T12">
                  <a:pos x="T3" y="0"/>
                </a:cxn>
                <a:cxn ang="T13">
                  <a:pos x="T4" y="0"/>
                </a:cxn>
                <a:cxn ang="T14">
                  <a:pos x="T5" y="0"/>
                </a:cxn>
                <a:cxn ang="T15">
                  <a:pos x="T6" y="0"/>
                </a:cxn>
                <a:cxn ang="T16">
                  <a:pos x="T7" y="0"/>
                </a:cxn>
                <a:cxn ang="T17">
                  <a:pos x="T8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6" name="Freeform 30"/>
            <p:cNvSpPr>
              <a:spLocks/>
            </p:cNvSpPr>
            <p:nvPr/>
          </p:nvSpPr>
          <p:spPr bwMode="auto">
            <a:xfrm>
              <a:off x="1026" y="1972"/>
              <a:ext cx="4" cy="0"/>
            </a:xfrm>
            <a:custGeom>
              <a:avLst/>
              <a:gdLst>
                <a:gd name="T0" fmla="*/ 0 w 6"/>
                <a:gd name="T1" fmla="*/ 1 w 6"/>
                <a:gd name="T2" fmla="*/ 1 w 6"/>
                <a:gd name="T3" fmla="*/ 1 w 6"/>
                <a:gd name="T4" fmla="*/ 1 w 6"/>
                <a:gd name="T5" fmla="*/ 0 w 6"/>
                <a:gd name="T6" fmla="*/ 1 w 6"/>
                <a:gd name="T7" fmla="*/ 1 w 6"/>
                <a:gd name="T8" fmla="*/ 1 w 6"/>
                <a:gd name="T9" fmla="*/ 0 w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</a:gdLst>
              <a:ahLst/>
              <a:cxnLst>
                <a:cxn ang="T10">
                  <a:pos x="T0" y="0"/>
                </a:cxn>
                <a:cxn ang="T11">
                  <a:pos x="T1" y="0"/>
                </a:cxn>
                <a:cxn ang="T12">
                  <a:pos x="T2" y="0"/>
                </a:cxn>
                <a:cxn ang="T13">
                  <a:pos x="T3" y="0"/>
                </a:cxn>
                <a:cxn ang="T14">
                  <a:pos x="T4" y="0"/>
                </a:cxn>
                <a:cxn ang="T15">
                  <a:pos x="T5" y="0"/>
                </a:cxn>
                <a:cxn ang="T16">
                  <a:pos x="T6" y="0"/>
                </a:cxn>
                <a:cxn ang="T17">
                  <a:pos x="T7" y="0"/>
                </a:cxn>
                <a:cxn ang="T18">
                  <a:pos x="T8" y="0"/>
                </a:cxn>
                <a:cxn ang="T19">
                  <a:pos x="T9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7" name="Freeform 31"/>
            <p:cNvSpPr>
              <a:spLocks/>
            </p:cNvSpPr>
            <p:nvPr/>
          </p:nvSpPr>
          <p:spPr bwMode="auto">
            <a:xfrm>
              <a:off x="1024" y="1974"/>
              <a:ext cx="0" cy="2"/>
            </a:xfrm>
            <a:custGeom>
              <a:avLst/>
              <a:gdLst>
                <a:gd name="T0" fmla="*/ 1 h 3"/>
                <a:gd name="T1" fmla="*/ 1 h 3"/>
                <a:gd name="T2" fmla="*/ 1 h 3"/>
                <a:gd name="T3" fmla="*/ 1 h 3"/>
                <a:gd name="T4" fmla="*/ 1 h 3"/>
                <a:gd name="T5" fmla="*/ 1 h 3"/>
                <a:gd name="T6" fmla="*/ 0 h 3"/>
                <a:gd name="T7" fmla="*/ 1 h 3"/>
                <a:gd name="T8" fmla="*/ 1 h 3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9">
                  <a:pos x="0" y="T0"/>
                </a:cxn>
                <a:cxn ang="T10">
                  <a:pos x="0" y="T1"/>
                </a:cxn>
                <a:cxn ang="T11">
                  <a:pos x="0" y="T2"/>
                </a:cxn>
                <a:cxn ang="T12">
                  <a:pos x="0" y="T3"/>
                </a:cxn>
                <a:cxn ang="T13">
                  <a:pos x="0" y="T4"/>
                </a:cxn>
                <a:cxn ang="T14">
                  <a:pos x="0" y="T5"/>
                </a:cxn>
                <a:cxn ang="T15">
                  <a:pos x="0" y="T6"/>
                </a:cxn>
                <a:cxn ang="T16">
                  <a:pos x="0" y="T7"/>
                </a:cxn>
                <a:cxn ang="T17">
                  <a:pos x="0" y="T8"/>
                </a:cxn>
              </a:cxnLst>
              <a:rect l="0" t="0" r="r" b="b"/>
              <a:pathLst>
                <a:path h="3">
                  <a:moveTo>
                    <a:pt x="0" y="3"/>
                  </a:moveTo>
                  <a:lnTo>
                    <a:pt x="0" y="3"/>
                  </a:lnTo>
                  <a:lnTo>
                    <a:pt x="0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8" name="Freeform 32"/>
            <p:cNvSpPr>
              <a:spLocks/>
            </p:cNvSpPr>
            <p:nvPr/>
          </p:nvSpPr>
          <p:spPr bwMode="auto">
            <a:xfrm>
              <a:off x="1013" y="1994"/>
              <a:ext cx="1" cy="1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0 w 2"/>
                <a:gd name="T11" fmla="*/ 0 h 1"/>
                <a:gd name="T12" fmla="*/ 0 w 2"/>
                <a:gd name="T13" fmla="*/ 0 h 1"/>
                <a:gd name="T14" fmla="*/ 0 w 2"/>
                <a:gd name="T15" fmla="*/ 0 h 1"/>
                <a:gd name="T16" fmla="*/ 0 w 2"/>
                <a:gd name="T17" fmla="*/ 0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59" name="Freeform 33"/>
            <p:cNvSpPr>
              <a:spLocks/>
            </p:cNvSpPr>
            <p:nvPr/>
          </p:nvSpPr>
          <p:spPr bwMode="auto">
            <a:xfrm>
              <a:off x="851" y="1865"/>
              <a:ext cx="3" cy="2"/>
            </a:xfrm>
            <a:custGeom>
              <a:avLst/>
              <a:gdLst>
                <a:gd name="T0" fmla="*/ 2 w 4"/>
                <a:gd name="T1" fmla="*/ 0 h 3"/>
                <a:gd name="T2" fmla="*/ 0 w 4"/>
                <a:gd name="T3" fmla="*/ 0 h 3"/>
                <a:gd name="T4" fmla="*/ 0 w 4"/>
                <a:gd name="T5" fmla="*/ 1 h 3"/>
                <a:gd name="T6" fmla="*/ 2 w 4"/>
                <a:gd name="T7" fmla="*/ 1 h 3"/>
                <a:gd name="T8" fmla="*/ 2 w 4"/>
                <a:gd name="T9" fmla="*/ 0 h 3"/>
                <a:gd name="T10" fmla="*/ 2 w 4"/>
                <a:gd name="T11" fmla="*/ 0 h 3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0" name="Freeform 34"/>
            <p:cNvSpPr>
              <a:spLocks/>
            </p:cNvSpPr>
            <p:nvPr/>
          </p:nvSpPr>
          <p:spPr bwMode="auto">
            <a:xfrm>
              <a:off x="859" y="1842"/>
              <a:ext cx="3" cy="1"/>
            </a:xfrm>
            <a:custGeom>
              <a:avLst/>
              <a:gdLst>
                <a:gd name="T0" fmla="*/ 1 w 5"/>
                <a:gd name="T1" fmla="*/ 0 h 1"/>
                <a:gd name="T2" fmla="*/ 1 w 5"/>
                <a:gd name="T3" fmla="*/ 0 h 1"/>
                <a:gd name="T4" fmla="*/ 1 w 5"/>
                <a:gd name="T5" fmla="*/ 0 h 1"/>
                <a:gd name="T6" fmla="*/ 0 w 5"/>
                <a:gd name="T7" fmla="*/ 0 h 1"/>
                <a:gd name="T8" fmla="*/ 0 w 5"/>
                <a:gd name="T9" fmla="*/ 0 h 1"/>
                <a:gd name="T10" fmla="*/ 1 w 5"/>
                <a:gd name="T11" fmla="*/ 0 h 1"/>
                <a:gd name="T12" fmla="*/ 1 w 5"/>
                <a:gd name="T13" fmla="*/ 0 h 1"/>
                <a:gd name="T14" fmla="*/ 1 w 5"/>
                <a:gd name="T15" fmla="*/ 0 h 1"/>
                <a:gd name="T16" fmla="*/ 1 w 5"/>
                <a:gd name="T17" fmla="*/ 0 h 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1" name="Freeform 35"/>
            <p:cNvSpPr>
              <a:spLocks/>
            </p:cNvSpPr>
            <p:nvPr/>
          </p:nvSpPr>
          <p:spPr bwMode="auto">
            <a:xfrm>
              <a:off x="859" y="1842"/>
              <a:ext cx="3" cy="1"/>
            </a:xfrm>
            <a:custGeom>
              <a:avLst/>
              <a:gdLst>
                <a:gd name="T0" fmla="*/ 0 w 5"/>
                <a:gd name="T1" fmla="*/ 0 h 1"/>
                <a:gd name="T2" fmla="*/ 1 w 5"/>
                <a:gd name="T3" fmla="*/ 0 h 1"/>
                <a:gd name="T4" fmla="*/ 1 w 5"/>
                <a:gd name="T5" fmla="*/ 0 h 1"/>
                <a:gd name="T6" fmla="*/ 1 w 5"/>
                <a:gd name="T7" fmla="*/ 0 h 1"/>
                <a:gd name="T8" fmla="*/ 1 w 5"/>
                <a:gd name="T9" fmla="*/ 0 h 1"/>
                <a:gd name="T10" fmla="*/ 0 w 5"/>
                <a:gd name="T11" fmla="*/ 0 h 1"/>
                <a:gd name="T12" fmla="*/ 1 w 5"/>
                <a:gd name="T13" fmla="*/ 0 h 1"/>
                <a:gd name="T14" fmla="*/ 1 w 5"/>
                <a:gd name="T15" fmla="*/ 0 h 1"/>
                <a:gd name="T16" fmla="*/ 1 w 5"/>
                <a:gd name="T17" fmla="*/ 0 h 1"/>
                <a:gd name="T18" fmla="*/ 0 w 5"/>
                <a:gd name="T19" fmla="*/ 0 h 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2" name="Freeform 36"/>
            <p:cNvSpPr>
              <a:spLocks/>
            </p:cNvSpPr>
            <p:nvPr/>
          </p:nvSpPr>
          <p:spPr bwMode="auto">
            <a:xfrm>
              <a:off x="942" y="1595"/>
              <a:ext cx="8" cy="4"/>
            </a:xfrm>
            <a:custGeom>
              <a:avLst/>
              <a:gdLst>
                <a:gd name="T0" fmla="*/ 1 w 12"/>
                <a:gd name="T1" fmla="*/ 0 h 6"/>
                <a:gd name="T2" fmla="*/ 0 w 12"/>
                <a:gd name="T3" fmla="*/ 0 h 6"/>
                <a:gd name="T4" fmla="*/ 0 w 12"/>
                <a:gd name="T5" fmla="*/ 1 h 6"/>
                <a:gd name="T6" fmla="*/ 1 w 12"/>
                <a:gd name="T7" fmla="*/ 1 h 6"/>
                <a:gd name="T8" fmla="*/ 1 w 12"/>
                <a:gd name="T9" fmla="*/ 0 h 6"/>
                <a:gd name="T10" fmla="*/ 1 w 12"/>
                <a:gd name="T11" fmla="*/ 0 h 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3" name="Freeform 37"/>
            <p:cNvSpPr>
              <a:spLocks/>
            </p:cNvSpPr>
            <p:nvPr/>
          </p:nvSpPr>
          <p:spPr bwMode="auto">
            <a:xfrm>
              <a:off x="974" y="1549"/>
              <a:ext cx="1" cy="4"/>
            </a:xfrm>
            <a:custGeom>
              <a:avLst/>
              <a:gdLst>
                <a:gd name="T0" fmla="*/ 0 w 1"/>
                <a:gd name="T1" fmla="*/ 1 h 6"/>
                <a:gd name="T2" fmla="*/ 0 w 1"/>
                <a:gd name="T3" fmla="*/ 0 h 6"/>
                <a:gd name="T4" fmla="*/ 0 w 1"/>
                <a:gd name="T5" fmla="*/ 0 h 6"/>
                <a:gd name="T6" fmla="*/ 0 w 1"/>
                <a:gd name="T7" fmla="*/ 0 h 6"/>
                <a:gd name="T8" fmla="*/ 0 w 1"/>
                <a:gd name="T9" fmla="*/ 0 h 6"/>
                <a:gd name="T10" fmla="*/ 0 w 1"/>
                <a:gd name="T11" fmla="*/ 1 h 6"/>
                <a:gd name="T12" fmla="*/ 0 w 1"/>
                <a:gd name="T13" fmla="*/ 1 h 6"/>
                <a:gd name="T14" fmla="*/ 0 w 1"/>
                <a:gd name="T15" fmla="*/ 1 h 6"/>
                <a:gd name="T16" fmla="*/ 0 w 1"/>
                <a:gd name="T17" fmla="*/ 1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" h="6">
                  <a:moveTo>
                    <a:pt x="0" y="6"/>
                  </a:moveTo>
                  <a:lnTo>
                    <a:pt x="0" y="0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4" name="Freeform 38"/>
            <p:cNvSpPr>
              <a:spLocks/>
            </p:cNvSpPr>
            <p:nvPr/>
          </p:nvSpPr>
          <p:spPr bwMode="auto">
            <a:xfrm>
              <a:off x="974" y="1534"/>
              <a:ext cx="8" cy="4"/>
            </a:xfrm>
            <a:custGeom>
              <a:avLst/>
              <a:gdLst>
                <a:gd name="T0" fmla="*/ 1 w 12"/>
                <a:gd name="T1" fmla="*/ 0 h 6"/>
                <a:gd name="T2" fmla="*/ 0 w 12"/>
                <a:gd name="T3" fmla="*/ 0 h 6"/>
                <a:gd name="T4" fmla="*/ 0 w 12"/>
                <a:gd name="T5" fmla="*/ 1 h 6"/>
                <a:gd name="T6" fmla="*/ 1 w 12"/>
                <a:gd name="T7" fmla="*/ 1 h 6"/>
                <a:gd name="T8" fmla="*/ 1 w 12"/>
                <a:gd name="T9" fmla="*/ 0 h 6"/>
                <a:gd name="T10" fmla="*/ 1 w 12"/>
                <a:gd name="T11" fmla="*/ 0 h 6"/>
                <a:gd name="T12" fmla="*/ 1 w 12"/>
                <a:gd name="T13" fmla="*/ 0 h 6"/>
                <a:gd name="T14" fmla="*/ 1 w 12"/>
                <a:gd name="T15" fmla="*/ 0 h 6"/>
                <a:gd name="T16" fmla="*/ 1 w 12"/>
                <a:gd name="T17" fmla="*/ 0 h 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2" h="6">
                  <a:moveTo>
                    <a:pt x="12" y="0"/>
                  </a:moveTo>
                  <a:lnTo>
                    <a:pt x="0" y="0"/>
                  </a:lnTo>
                  <a:lnTo>
                    <a:pt x="0" y="6"/>
                  </a:lnTo>
                  <a:lnTo>
                    <a:pt x="12" y="6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5" name="Freeform 39"/>
            <p:cNvSpPr>
              <a:spLocks/>
            </p:cNvSpPr>
            <p:nvPr/>
          </p:nvSpPr>
          <p:spPr bwMode="auto">
            <a:xfrm>
              <a:off x="935" y="1584"/>
              <a:ext cx="3" cy="0"/>
            </a:xfrm>
            <a:custGeom>
              <a:avLst/>
              <a:gdLst>
                <a:gd name="T0" fmla="*/ 0 w 6"/>
                <a:gd name="T1" fmla="*/ 1 w 6"/>
                <a:gd name="T2" fmla="*/ 1 w 6"/>
                <a:gd name="T3" fmla="*/ 1 w 6"/>
                <a:gd name="T4" fmla="*/ 1 w 6"/>
                <a:gd name="T5" fmla="*/ 0 w 6"/>
                <a:gd name="T6" fmla="*/ 0 w 6"/>
                <a:gd name="T7" fmla="*/ 0 w 6"/>
                <a:gd name="T8" fmla="*/ 0 w 6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9">
                  <a:pos x="T0" y="0"/>
                </a:cxn>
                <a:cxn ang="T10">
                  <a:pos x="T1" y="0"/>
                </a:cxn>
                <a:cxn ang="T11">
                  <a:pos x="T2" y="0"/>
                </a:cxn>
                <a:cxn ang="T12">
                  <a:pos x="T3" y="0"/>
                </a:cxn>
                <a:cxn ang="T13">
                  <a:pos x="T4" y="0"/>
                </a:cxn>
                <a:cxn ang="T14">
                  <a:pos x="T5" y="0"/>
                </a:cxn>
                <a:cxn ang="T15">
                  <a:pos x="T6" y="0"/>
                </a:cxn>
                <a:cxn ang="T16">
                  <a:pos x="T7" y="0"/>
                </a:cxn>
                <a:cxn ang="T17">
                  <a:pos x="T8" y="0"/>
                </a:cxn>
              </a:cxnLst>
              <a:rect l="0" t="0" r="r" b="b"/>
              <a:pathLst>
                <a:path w="6">
                  <a:moveTo>
                    <a:pt x="0" y="0"/>
                  </a:moveTo>
                  <a:lnTo>
                    <a:pt x="6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6" name="Freeform 40"/>
            <p:cNvSpPr>
              <a:spLocks/>
            </p:cNvSpPr>
            <p:nvPr/>
          </p:nvSpPr>
          <p:spPr bwMode="auto">
            <a:xfrm>
              <a:off x="1317" y="1614"/>
              <a:ext cx="9" cy="12"/>
            </a:xfrm>
            <a:custGeom>
              <a:avLst/>
              <a:gdLst>
                <a:gd name="T0" fmla="*/ 2 w 12"/>
                <a:gd name="T1" fmla="*/ 0 h 18"/>
                <a:gd name="T2" fmla="*/ 0 w 12"/>
                <a:gd name="T3" fmla="*/ 0 h 18"/>
                <a:gd name="T4" fmla="*/ 0 w 12"/>
                <a:gd name="T5" fmla="*/ 1 h 18"/>
                <a:gd name="T6" fmla="*/ 2 w 12"/>
                <a:gd name="T7" fmla="*/ 1 h 18"/>
                <a:gd name="T8" fmla="*/ 2 w 12"/>
                <a:gd name="T9" fmla="*/ 0 h 18"/>
                <a:gd name="T10" fmla="*/ 2 w 12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12" h="18">
                  <a:moveTo>
                    <a:pt x="12" y="0"/>
                  </a:moveTo>
                  <a:lnTo>
                    <a:pt x="0" y="0"/>
                  </a:lnTo>
                  <a:lnTo>
                    <a:pt x="0" y="18"/>
                  </a:lnTo>
                  <a:lnTo>
                    <a:pt x="12" y="1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7" name="Freeform 41"/>
            <p:cNvSpPr>
              <a:spLocks/>
            </p:cNvSpPr>
            <p:nvPr/>
          </p:nvSpPr>
          <p:spPr bwMode="auto">
            <a:xfrm>
              <a:off x="1725" y="1397"/>
              <a:ext cx="4" cy="15"/>
            </a:xfrm>
            <a:custGeom>
              <a:avLst/>
              <a:gdLst>
                <a:gd name="T0" fmla="*/ 1 w 6"/>
                <a:gd name="T1" fmla="*/ 0 h 24"/>
                <a:gd name="T2" fmla="*/ 0 w 6"/>
                <a:gd name="T3" fmla="*/ 0 h 24"/>
                <a:gd name="T4" fmla="*/ 0 w 6"/>
                <a:gd name="T5" fmla="*/ 1 h 24"/>
                <a:gd name="T6" fmla="*/ 1 w 6"/>
                <a:gd name="T7" fmla="*/ 1 h 24"/>
                <a:gd name="T8" fmla="*/ 1 w 6"/>
                <a:gd name="T9" fmla="*/ 0 h 24"/>
                <a:gd name="T10" fmla="*/ 1 w 6"/>
                <a:gd name="T11" fmla="*/ 0 h 24"/>
                <a:gd name="T12" fmla="*/ 1 w 6"/>
                <a:gd name="T13" fmla="*/ 0 h 24"/>
                <a:gd name="T14" fmla="*/ 1 w 6"/>
                <a:gd name="T15" fmla="*/ 0 h 24"/>
                <a:gd name="T16" fmla="*/ 0 w 6"/>
                <a:gd name="T17" fmla="*/ 0 h 24"/>
                <a:gd name="T18" fmla="*/ 1 w 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6" h="24">
                  <a:moveTo>
                    <a:pt x="6" y="0"/>
                  </a:moveTo>
                  <a:lnTo>
                    <a:pt x="0" y="0"/>
                  </a:lnTo>
                  <a:lnTo>
                    <a:pt x="0" y="24"/>
                  </a:lnTo>
                  <a:lnTo>
                    <a:pt x="6" y="24"/>
                  </a:lnTo>
                  <a:lnTo>
                    <a:pt x="6" y="0"/>
                  </a:lnTo>
                  <a:lnTo>
                    <a:pt x="0" y="0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8" name="Freeform 42"/>
            <p:cNvSpPr>
              <a:spLocks/>
            </p:cNvSpPr>
            <p:nvPr/>
          </p:nvSpPr>
          <p:spPr bwMode="auto">
            <a:xfrm>
              <a:off x="484" y="2793"/>
              <a:ext cx="4" cy="4"/>
            </a:xfrm>
            <a:custGeom>
              <a:avLst/>
              <a:gdLst>
                <a:gd name="T0" fmla="*/ 0 w 2"/>
                <a:gd name="T1" fmla="*/ 2097152 h 2"/>
                <a:gd name="T2" fmla="*/ 2097152 w 2"/>
                <a:gd name="T3" fmla="*/ 0 h 2"/>
                <a:gd name="T4" fmla="*/ 0 w 2"/>
                <a:gd name="T5" fmla="*/ 2097152 h 2"/>
                <a:gd name="T6" fmla="*/ 0 w 2"/>
                <a:gd name="T7" fmla="*/ 2097152 h 2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" h="2">
                  <a:moveTo>
                    <a:pt x="0" y="2"/>
                  </a:moveTo>
                  <a:lnTo>
                    <a:pt x="2" y="0"/>
                  </a:lnTo>
                  <a:lnTo>
                    <a:pt x="0" y="2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69" name="Freeform 43"/>
            <p:cNvSpPr>
              <a:spLocks/>
            </p:cNvSpPr>
            <p:nvPr/>
          </p:nvSpPr>
          <p:spPr bwMode="auto">
            <a:xfrm>
              <a:off x="377" y="2616"/>
              <a:ext cx="122" cy="77"/>
            </a:xfrm>
            <a:custGeom>
              <a:avLst/>
              <a:gdLst>
                <a:gd name="T0" fmla="*/ 29180545 w 63"/>
                <a:gd name="T1" fmla="*/ 3821521 h 41"/>
                <a:gd name="T2" fmla="*/ 26938611 w 63"/>
                <a:gd name="T3" fmla="*/ 2034836 h 41"/>
                <a:gd name="T4" fmla="*/ 25228409 w 63"/>
                <a:gd name="T5" fmla="*/ 929506 h 41"/>
                <a:gd name="T6" fmla="*/ 25228409 w 63"/>
                <a:gd name="T7" fmla="*/ 1438337 h 41"/>
                <a:gd name="T8" fmla="*/ 24257305 w 63"/>
                <a:gd name="T9" fmla="*/ 1438337 h 41"/>
                <a:gd name="T10" fmla="*/ 23050988 w 63"/>
                <a:gd name="T11" fmla="*/ 929506 h 41"/>
                <a:gd name="T12" fmla="*/ 18177541 w 63"/>
                <a:gd name="T13" fmla="*/ 1276266 h 41"/>
                <a:gd name="T14" fmla="*/ 15833869 w 63"/>
                <a:gd name="T15" fmla="*/ 1276266 h 41"/>
                <a:gd name="T16" fmla="*/ 14234089 w 63"/>
                <a:gd name="T17" fmla="*/ 361849 h 41"/>
                <a:gd name="T18" fmla="*/ 11149346 w 63"/>
                <a:gd name="T19" fmla="*/ 0 h 41"/>
                <a:gd name="T20" fmla="*/ 9386763 w 63"/>
                <a:gd name="T21" fmla="*/ 0 h 41"/>
                <a:gd name="T22" fmla="*/ 7676668 w 63"/>
                <a:gd name="T23" fmla="*/ 929506 h 41"/>
                <a:gd name="T24" fmla="*/ 5979067 w 63"/>
                <a:gd name="T25" fmla="*/ 1276266 h 41"/>
                <a:gd name="T26" fmla="*/ 4847263 w 63"/>
                <a:gd name="T27" fmla="*/ 1438337 h 41"/>
                <a:gd name="T28" fmla="*/ 4222294 w 63"/>
                <a:gd name="T29" fmla="*/ 1745658 h 41"/>
                <a:gd name="T30" fmla="*/ 3964181 w 63"/>
                <a:gd name="T31" fmla="*/ 1438337 h 41"/>
                <a:gd name="T32" fmla="*/ 0 w 63"/>
                <a:gd name="T33" fmla="*/ 2034836 h 41"/>
                <a:gd name="T34" fmla="*/ 0 w 63"/>
                <a:gd name="T35" fmla="*/ 2396890 h 41"/>
                <a:gd name="T36" fmla="*/ 0 w 63"/>
                <a:gd name="T37" fmla="*/ 3633087 h 41"/>
                <a:gd name="T38" fmla="*/ 581421 w 63"/>
                <a:gd name="T39" fmla="*/ 4143347 h 41"/>
                <a:gd name="T40" fmla="*/ 2180365 w 63"/>
                <a:gd name="T41" fmla="*/ 3821521 h 41"/>
                <a:gd name="T42" fmla="*/ 3387713 w 63"/>
                <a:gd name="T43" fmla="*/ 4718857 h 41"/>
                <a:gd name="T44" fmla="*/ 4847263 w 63"/>
                <a:gd name="T45" fmla="*/ 5391172 h 41"/>
                <a:gd name="T46" fmla="*/ 4847263 w 63"/>
                <a:gd name="T47" fmla="*/ 5753307 h 41"/>
                <a:gd name="T48" fmla="*/ 4847263 w 63"/>
                <a:gd name="T49" fmla="*/ 6157053 h 41"/>
                <a:gd name="T50" fmla="*/ 7676668 w 63"/>
                <a:gd name="T51" fmla="*/ 6823115 h 41"/>
                <a:gd name="T52" fmla="*/ 9386763 w 63"/>
                <a:gd name="T53" fmla="*/ 7423927 h 41"/>
                <a:gd name="T54" fmla="*/ 8799651 w 63"/>
                <a:gd name="T55" fmla="*/ 8453992 h 41"/>
                <a:gd name="T56" fmla="*/ 10524570 w 63"/>
                <a:gd name="T57" fmla="*/ 9219747 h 41"/>
                <a:gd name="T58" fmla="*/ 16414048 w 63"/>
                <a:gd name="T59" fmla="*/ 9791724 h 41"/>
                <a:gd name="T60" fmla="*/ 18177541 w 63"/>
                <a:gd name="T61" fmla="*/ 9527550 h 41"/>
                <a:gd name="T62" fmla="*/ 19410121 w 63"/>
                <a:gd name="T63" fmla="*/ 9791724 h 41"/>
                <a:gd name="T64" fmla="*/ 20380913 w 63"/>
                <a:gd name="T65" fmla="*/ 9791724 h 41"/>
                <a:gd name="T66" fmla="*/ 21893194 w 63"/>
                <a:gd name="T67" fmla="*/ 9791724 h 41"/>
                <a:gd name="T68" fmla="*/ 24257305 w 63"/>
                <a:gd name="T69" fmla="*/ 10965401 h 41"/>
                <a:gd name="T70" fmla="*/ 25228409 w 63"/>
                <a:gd name="T71" fmla="*/ 10965401 h 41"/>
                <a:gd name="T72" fmla="*/ 27564426 w 63"/>
                <a:gd name="T73" fmla="*/ 11563246 h 41"/>
                <a:gd name="T74" fmla="*/ 28150346 w 63"/>
                <a:gd name="T75" fmla="*/ 11259344 h 41"/>
                <a:gd name="T76" fmla="*/ 28787989 w 63"/>
                <a:gd name="T77" fmla="*/ 10965401 h 41"/>
                <a:gd name="T78" fmla="*/ 28787989 w 63"/>
                <a:gd name="T79" fmla="*/ 10965401 h 41"/>
                <a:gd name="T80" fmla="*/ 30662413 w 63"/>
                <a:gd name="T81" fmla="*/ 10965401 h 41"/>
                <a:gd name="T82" fmla="*/ 31205512 w 63"/>
                <a:gd name="T83" fmla="*/ 11259344 h 41"/>
                <a:gd name="T84" fmla="*/ 31785934 w 63"/>
                <a:gd name="T85" fmla="*/ 11563246 h 41"/>
                <a:gd name="T86" fmla="*/ 32417993 w 63"/>
                <a:gd name="T87" fmla="*/ 11925103 h 41"/>
                <a:gd name="T88" fmla="*/ 34615372 w 63"/>
                <a:gd name="T89" fmla="*/ 12243424 h 41"/>
                <a:gd name="T90" fmla="*/ 31205512 w 63"/>
                <a:gd name="T91" fmla="*/ 7781408 h 41"/>
                <a:gd name="T92" fmla="*/ 29180545 w 63"/>
                <a:gd name="T93" fmla="*/ 3821521 h 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3" h="41">
                  <a:moveTo>
                    <a:pt x="53" y="13"/>
                  </a:moveTo>
                  <a:lnTo>
                    <a:pt x="49" y="7"/>
                  </a:lnTo>
                  <a:lnTo>
                    <a:pt x="46" y="3"/>
                  </a:lnTo>
                  <a:lnTo>
                    <a:pt x="46" y="5"/>
                  </a:lnTo>
                  <a:lnTo>
                    <a:pt x="44" y="5"/>
                  </a:lnTo>
                  <a:lnTo>
                    <a:pt x="42" y="3"/>
                  </a:lnTo>
                  <a:lnTo>
                    <a:pt x="33" y="4"/>
                  </a:lnTo>
                  <a:lnTo>
                    <a:pt x="29" y="4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11" y="4"/>
                  </a:lnTo>
                  <a:lnTo>
                    <a:pt x="9" y="5"/>
                  </a:lnTo>
                  <a:lnTo>
                    <a:pt x="8" y="6"/>
                  </a:lnTo>
                  <a:lnTo>
                    <a:pt x="7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12"/>
                  </a:lnTo>
                  <a:lnTo>
                    <a:pt x="1" y="14"/>
                  </a:lnTo>
                  <a:lnTo>
                    <a:pt x="4" y="13"/>
                  </a:lnTo>
                  <a:lnTo>
                    <a:pt x="6" y="16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14" y="23"/>
                  </a:lnTo>
                  <a:lnTo>
                    <a:pt x="17" y="25"/>
                  </a:lnTo>
                  <a:lnTo>
                    <a:pt x="16" y="28"/>
                  </a:lnTo>
                  <a:lnTo>
                    <a:pt x="19" y="31"/>
                  </a:lnTo>
                  <a:lnTo>
                    <a:pt x="30" y="33"/>
                  </a:lnTo>
                  <a:lnTo>
                    <a:pt x="33" y="32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40" y="33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6" y="37"/>
                  </a:lnTo>
                  <a:lnTo>
                    <a:pt x="57" y="38"/>
                  </a:lnTo>
                  <a:lnTo>
                    <a:pt x="58" y="39"/>
                  </a:lnTo>
                  <a:lnTo>
                    <a:pt x="59" y="40"/>
                  </a:lnTo>
                  <a:lnTo>
                    <a:pt x="63" y="41"/>
                  </a:lnTo>
                  <a:lnTo>
                    <a:pt x="57" y="26"/>
                  </a:lnTo>
                  <a:lnTo>
                    <a:pt x="53" y="1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0" name="Freeform 44"/>
            <p:cNvSpPr>
              <a:spLocks/>
            </p:cNvSpPr>
            <p:nvPr/>
          </p:nvSpPr>
          <p:spPr bwMode="auto">
            <a:xfrm>
              <a:off x="428" y="2588"/>
              <a:ext cx="50" cy="30"/>
            </a:xfrm>
            <a:custGeom>
              <a:avLst/>
              <a:gdLst>
                <a:gd name="T0" fmla="*/ 12460813 w 26"/>
                <a:gd name="T1" fmla="*/ 2315303 h 16"/>
                <a:gd name="T2" fmla="*/ 12460813 w 26"/>
                <a:gd name="T3" fmla="*/ 2315303 h 16"/>
                <a:gd name="T4" fmla="*/ 11374206 w 26"/>
                <a:gd name="T5" fmla="*/ 2641074 h 16"/>
                <a:gd name="T6" fmla="*/ 10504723 w 26"/>
                <a:gd name="T7" fmla="*/ 2315303 h 16"/>
                <a:gd name="T8" fmla="*/ 9204712 w 26"/>
                <a:gd name="T9" fmla="*/ 1965758 h 16"/>
                <a:gd name="T10" fmla="*/ 3218165 w 26"/>
                <a:gd name="T11" fmla="*/ 0 h 16"/>
                <a:gd name="T12" fmla="*/ 2488954 w 26"/>
                <a:gd name="T13" fmla="*/ 351240 h 16"/>
                <a:gd name="T14" fmla="*/ 1540781 w 26"/>
                <a:gd name="T15" fmla="*/ 658575 h 16"/>
                <a:gd name="T16" fmla="*/ 531946 w 26"/>
                <a:gd name="T17" fmla="*/ 1234828 h 16"/>
                <a:gd name="T18" fmla="*/ 0 w 26"/>
                <a:gd name="T19" fmla="*/ 1706741 h 16"/>
                <a:gd name="T20" fmla="*/ 0 w 26"/>
                <a:gd name="T21" fmla="*/ 2315303 h 16"/>
                <a:gd name="T22" fmla="*/ 1967256 w 26"/>
                <a:gd name="T23" fmla="*/ 3200139 h 16"/>
                <a:gd name="T24" fmla="*/ 2963040 w 26"/>
                <a:gd name="T25" fmla="*/ 4341193 h 16"/>
                <a:gd name="T26" fmla="*/ 3218165 w 26"/>
                <a:gd name="T27" fmla="*/ 4595951 h 16"/>
                <a:gd name="T28" fmla="*/ 3783185 w 26"/>
                <a:gd name="T29" fmla="*/ 4341193 h 16"/>
                <a:gd name="T30" fmla="*/ 5698154 w 26"/>
                <a:gd name="T31" fmla="*/ 4595951 h 16"/>
                <a:gd name="T32" fmla="*/ 7729304 w 26"/>
                <a:gd name="T33" fmla="*/ 4036849 h 16"/>
                <a:gd name="T34" fmla="*/ 9406742 w 26"/>
                <a:gd name="T35" fmla="*/ 4341193 h 16"/>
                <a:gd name="T36" fmla="*/ 9406742 w 26"/>
                <a:gd name="T37" fmla="*/ 4595951 h 16"/>
                <a:gd name="T38" fmla="*/ 12460813 w 26"/>
                <a:gd name="T39" fmla="*/ 4036849 h 16"/>
                <a:gd name="T40" fmla="*/ 12460813 w 26"/>
                <a:gd name="T41" fmla="*/ 2315303 h 1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26" h="16">
                  <a:moveTo>
                    <a:pt x="26" y="8"/>
                  </a:moveTo>
                  <a:lnTo>
                    <a:pt x="26" y="8"/>
                  </a:lnTo>
                  <a:lnTo>
                    <a:pt x="24" y="9"/>
                  </a:lnTo>
                  <a:lnTo>
                    <a:pt x="22" y="8"/>
                  </a:lnTo>
                  <a:lnTo>
                    <a:pt x="19" y="7"/>
                  </a:lnTo>
                  <a:lnTo>
                    <a:pt x="7" y="0"/>
                  </a:lnTo>
                  <a:lnTo>
                    <a:pt x="5" y="1"/>
                  </a:lnTo>
                  <a:lnTo>
                    <a:pt x="3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11"/>
                  </a:lnTo>
                  <a:lnTo>
                    <a:pt x="6" y="15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12" y="16"/>
                  </a:lnTo>
                  <a:lnTo>
                    <a:pt x="16" y="14"/>
                  </a:lnTo>
                  <a:lnTo>
                    <a:pt x="20" y="15"/>
                  </a:lnTo>
                  <a:lnTo>
                    <a:pt x="20" y="16"/>
                  </a:lnTo>
                  <a:lnTo>
                    <a:pt x="26" y="14"/>
                  </a:lnTo>
                  <a:lnTo>
                    <a:pt x="26" y="8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1" name="Freeform 45"/>
            <p:cNvSpPr>
              <a:spLocks/>
            </p:cNvSpPr>
            <p:nvPr/>
          </p:nvSpPr>
          <p:spPr bwMode="auto">
            <a:xfrm>
              <a:off x="131" y="2620"/>
              <a:ext cx="440" cy="173"/>
            </a:xfrm>
            <a:custGeom>
              <a:avLst/>
              <a:gdLst>
                <a:gd name="T0" fmla="*/ 129233749 w 226"/>
                <a:gd name="T1" fmla="*/ 6616939 h 93"/>
                <a:gd name="T2" fmla="*/ 115143080 w 226"/>
                <a:gd name="T3" fmla="*/ 10318864 h 93"/>
                <a:gd name="T4" fmla="*/ 118886324 w 226"/>
                <a:gd name="T5" fmla="*/ 12308930 h 93"/>
                <a:gd name="T6" fmla="*/ 117576590 w 226"/>
                <a:gd name="T7" fmla="*/ 14941350 h 93"/>
                <a:gd name="T8" fmla="*/ 110015793 w 226"/>
                <a:gd name="T9" fmla="*/ 16010821 h 93"/>
                <a:gd name="T10" fmla="*/ 102856682 w 226"/>
                <a:gd name="T11" fmla="*/ 14941350 h 93"/>
                <a:gd name="T12" fmla="*/ 94985442 w 226"/>
                <a:gd name="T13" fmla="*/ 15222908 h 93"/>
                <a:gd name="T14" fmla="*/ 89905443 w 226"/>
                <a:gd name="T15" fmla="*/ 13076039 h 93"/>
                <a:gd name="T16" fmla="*/ 85939869 w 226"/>
                <a:gd name="T17" fmla="*/ 9415240 h 93"/>
                <a:gd name="T18" fmla="*/ 80690562 w 226"/>
                <a:gd name="T19" fmla="*/ 8032055 h 93"/>
                <a:gd name="T20" fmla="*/ 70423637 w 226"/>
                <a:gd name="T21" fmla="*/ 7118262 h 93"/>
                <a:gd name="T22" fmla="*/ 65367810 w 226"/>
                <a:gd name="T23" fmla="*/ 5691994 h 93"/>
                <a:gd name="T24" fmla="*/ 61387276 w 226"/>
                <a:gd name="T25" fmla="*/ 5691994 h 93"/>
                <a:gd name="T26" fmla="*/ 64807536 w 226"/>
                <a:gd name="T27" fmla="*/ 4277027 h 93"/>
                <a:gd name="T28" fmla="*/ 61387276 w 226"/>
                <a:gd name="T29" fmla="*/ 760644 h 93"/>
                <a:gd name="T30" fmla="*/ 56837648 w 226"/>
                <a:gd name="T31" fmla="*/ 0 h 93"/>
                <a:gd name="T32" fmla="*/ 48448472 w 226"/>
                <a:gd name="T33" fmla="*/ 497689 h 93"/>
                <a:gd name="T34" fmla="*/ 42134480 w 226"/>
                <a:gd name="T35" fmla="*/ 760644 h 93"/>
                <a:gd name="T36" fmla="*/ 37490025 w 226"/>
                <a:gd name="T37" fmla="*/ 497689 h 93"/>
                <a:gd name="T38" fmla="*/ 24526719 w 226"/>
                <a:gd name="T39" fmla="*/ 760644 h 93"/>
                <a:gd name="T40" fmla="*/ 20157638 w 226"/>
                <a:gd name="T41" fmla="*/ 497689 h 93"/>
                <a:gd name="T42" fmla="*/ 13592443 w 226"/>
                <a:gd name="T43" fmla="*/ 1990058 h 93"/>
                <a:gd name="T44" fmla="*/ 0 w 226"/>
                <a:gd name="T45" fmla="*/ 6356437 h 93"/>
                <a:gd name="T46" fmla="*/ 4394965 w 226"/>
                <a:gd name="T47" fmla="*/ 8032055 h 93"/>
                <a:gd name="T48" fmla="*/ 13592443 w 226"/>
                <a:gd name="T49" fmla="*/ 12578391 h 93"/>
                <a:gd name="T50" fmla="*/ 21999326 w 226"/>
                <a:gd name="T51" fmla="*/ 14580455 h 93"/>
                <a:gd name="T52" fmla="*/ 29879020 w 226"/>
                <a:gd name="T53" fmla="*/ 13737595 h 93"/>
                <a:gd name="T54" fmla="*/ 31866042 w 226"/>
                <a:gd name="T55" fmla="*/ 13076039 h 93"/>
                <a:gd name="T56" fmla="*/ 37490025 w 226"/>
                <a:gd name="T57" fmla="*/ 12578391 h 93"/>
                <a:gd name="T58" fmla="*/ 36172141 w 226"/>
                <a:gd name="T59" fmla="*/ 13076039 h 93"/>
                <a:gd name="T60" fmla="*/ 39873902 w 226"/>
                <a:gd name="T61" fmla="*/ 15727661 h 93"/>
                <a:gd name="T62" fmla="*/ 44539245 w 226"/>
                <a:gd name="T63" fmla="*/ 16943267 h 93"/>
                <a:gd name="T64" fmla="*/ 53184527 w 226"/>
                <a:gd name="T65" fmla="*/ 19696576 h 93"/>
                <a:gd name="T66" fmla="*/ 61387276 w 226"/>
                <a:gd name="T67" fmla="*/ 18620303 h 93"/>
                <a:gd name="T68" fmla="*/ 68001920 w 226"/>
                <a:gd name="T69" fmla="*/ 14580455 h 93"/>
                <a:gd name="T70" fmla="*/ 74745808 w 226"/>
                <a:gd name="T71" fmla="*/ 13241498 h 93"/>
                <a:gd name="T72" fmla="*/ 79647735 w 226"/>
                <a:gd name="T73" fmla="*/ 14800224 h 93"/>
                <a:gd name="T74" fmla="*/ 83928951 w 226"/>
                <a:gd name="T75" fmla="*/ 15727661 h 93"/>
                <a:gd name="T76" fmla="*/ 86713574 w 226"/>
                <a:gd name="T77" fmla="*/ 17205261 h 93"/>
                <a:gd name="T78" fmla="*/ 96886789 w 226"/>
                <a:gd name="T79" fmla="*/ 18620303 h 93"/>
                <a:gd name="T80" fmla="*/ 104700233 w 226"/>
                <a:gd name="T81" fmla="*/ 18013939 h 93"/>
                <a:gd name="T82" fmla="*/ 110657368 w 226"/>
                <a:gd name="T83" fmla="*/ 18013939 h 93"/>
                <a:gd name="T84" fmla="*/ 113899198 w 226"/>
                <a:gd name="T85" fmla="*/ 20360859 h 93"/>
                <a:gd name="T86" fmla="*/ 116956149 w 226"/>
                <a:gd name="T87" fmla="*/ 20933244 h 93"/>
                <a:gd name="T88" fmla="*/ 126173964 w 226"/>
                <a:gd name="T89" fmla="*/ 22634262 h 93"/>
                <a:gd name="T90" fmla="*/ 133246148 w 226"/>
                <a:gd name="T91" fmla="*/ 22897257 h 93"/>
                <a:gd name="T92" fmla="*/ 137796794 w 226"/>
                <a:gd name="T93" fmla="*/ 21418793 h 93"/>
                <a:gd name="T94" fmla="*/ 133246148 w 226"/>
                <a:gd name="T95" fmla="*/ 16548242 h 93"/>
                <a:gd name="T96" fmla="*/ 133246148 w 226"/>
                <a:gd name="T97" fmla="*/ 15222908 h 93"/>
                <a:gd name="T98" fmla="*/ 131839215 w 226"/>
                <a:gd name="T99" fmla="*/ 14580455 h 93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226" h="93">
                  <a:moveTo>
                    <a:pt x="204" y="66"/>
                  </a:moveTo>
                  <a:lnTo>
                    <a:pt x="198" y="56"/>
                  </a:lnTo>
                  <a:lnTo>
                    <a:pt x="196" y="45"/>
                  </a:lnTo>
                  <a:lnTo>
                    <a:pt x="211" y="27"/>
                  </a:lnTo>
                  <a:lnTo>
                    <a:pt x="205" y="22"/>
                  </a:lnTo>
                  <a:lnTo>
                    <a:pt x="189" y="39"/>
                  </a:lnTo>
                  <a:lnTo>
                    <a:pt x="189" y="40"/>
                  </a:lnTo>
                  <a:lnTo>
                    <a:pt x="188" y="42"/>
                  </a:lnTo>
                  <a:lnTo>
                    <a:pt x="193" y="45"/>
                  </a:lnTo>
                  <a:lnTo>
                    <a:pt x="193" y="48"/>
                  </a:lnTo>
                  <a:lnTo>
                    <a:pt x="194" y="50"/>
                  </a:lnTo>
                  <a:lnTo>
                    <a:pt x="195" y="52"/>
                  </a:lnTo>
                  <a:lnTo>
                    <a:pt x="195" y="59"/>
                  </a:lnTo>
                  <a:lnTo>
                    <a:pt x="193" y="60"/>
                  </a:lnTo>
                  <a:lnTo>
                    <a:pt x="192" y="61"/>
                  </a:lnTo>
                  <a:lnTo>
                    <a:pt x="189" y="61"/>
                  </a:lnTo>
                  <a:lnTo>
                    <a:pt x="187" y="60"/>
                  </a:lnTo>
                  <a:lnTo>
                    <a:pt x="186" y="62"/>
                  </a:lnTo>
                  <a:lnTo>
                    <a:pt x="180" y="65"/>
                  </a:lnTo>
                  <a:lnTo>
                    <a:pt x="178" y="64"/>
                  </a:lnTo>
                  <a:lnTo>
                    <a:pt x="174" y="61"/>
                  </a:lnTo>
                  <a:lnTo>
                    <a:pt x="172" y="63"/>
                  </a:lnTo>
                  <a:lnTo>
                    <a:pt x="168" y="61"/>
                  </a:lnTo>
                  <a:lnTo>
                    <a:pt x="162" y="64"/>
                  </a:lnTo>
                  <a:lnTo>
                    <a:pt x="159" y="64"/>
                  </a:lnTo>
                  <a:lnTo>
                    <a:pt x="157" y="62"/>
                  </a:lnTo>
                  <a:lnTo>
                    <a:pt x="155" y="62"/>
                  </a:lnTo>
                  <a:lnTo>
                    <a:pt x="153" y="60"/>
                  </a:lnTo>
                  <a:lnTo>
                    <a:pt x="150" y="58"/>
                  </a:lnTo>
                  <a:lnTo>
                    <a:pt x="148" y="54"/>
                  </a:lnTo>
                  <a:lnTo>
                    <a:pt x="147" y="53"/>
                  </a:lnTo>
                  <a:lnTo>
                    <a:pt x="142" y="47"/>
                  </a:lnTo>
                  <a:lnTo>
                    <a:pt x="141" y="45"/>
                  </a:lnTo>
                  <a:lnTo>
                    <a:pt x="142" y="44"/>
                  </a:lnTo>
                  <a:lnTo>
                    <a:pt x="140" y="38"/>
                  </a:lnTo>
                  <a:lnTo>
                    <a:pt x="137" y="37"/>
                  </a:lnTo>
                  <a:lnTo>
                    <a:pt x="136" y="35"/>
                  </a:lnTo>
                  <a:lnTo>
                    <a:pt x="134" y="35"/>
                  </a:lnTo>
                  <a:lnTo>
                    <a:pt x="132" y="33"/>
                  </a:lnTo>
                  <a:lnTo>
                    <a:pt x="129" y="32"/>
                  </a:lnTo>
                  <a:lnTo>
                    <a:pt x="122" y="29"/>
                  </a:lnTo>
                  <a:lnTo>
                    <a:pt x="118" y="28"/>
                  </a:lnTo>
                  <a:lnTo>
                    <a:pt x="115" y="29"/>
                  </a:lnTo>
                  <a:lnTo>
                    <a:pt x="112" y="23"/>
                  </a:lnTo>
                  <a:lnTo>
                    <a:pt x="111" y="23"/>
                  </a:lnTo>
                  <a:lnTo>
                    <a:pt x="108" y="22"/>
                  </a:lnTo>
                  <a:lnTo>
                    <a:pt x="107" y="23"/>
                  </a:lnTo>
                  <a:lnTo>
                    <a:pt x="103" y="23"/>
                  </a:lnTo>
                  <a:lnTo>
                    <a:pt x="100" y="24"/>
                  </a:lnTo>
                  <a:lnTo>
                    <a:pt x="100" y="23"/>
                  </a:lnTo>
                  <a:lnTo>
                    <a:pt x="99" y="21"/>
                  </a:lnTo>
                  <a:lnTo>
                    <a:pt x="100" y="20"/>
                  </a:lnTo>
                  <a:lnTo>
                    <a:pt x="100" y="19"/>
                  </a:lnTo>
                  <a:lnTo>
                    <a:pt x="106" y="17"/>
                  </a:lnTo>
                  <a:lnTo>
                    <a:pt x="107" y="16"/>
                  </a:lnTo>
                  <a:lnTo>
                    <a:pt x="104" y="11"/>
                  </a:lnTo>
                  <a:lnTo>
                    <a:pt x="103" y="9"/>
                  </a:lnTo>
                  <a:lnTo>
                    <a:pt x="100" y="3"/>
                  </a:lnTo>
                  <a:lnTo>
                    <a:pt x="99" y="2"/>
                  </a:lnTo>
                  <a:lnTo>
                    <a:pt x="96" y="1"/>
                  </a:lnTo>
                  <a:lnTo>
                    <a:pt x="94" y="1"/>
                  </a:lnTo>
                  <a:lnTo>
                    <a:pt x="93" y="0"/>
                  </a:lnTo>
                  <a:lnTo>
                    <a:pt x="90" y="0"/>
                  </a:lnTo>
                  <a:lnTo>
                    <a:pt x="85" y="0"/>
                  </a:lnTo>
                  <a:lnTo>
                    <a:pt x="83" y="1"/>
                  </a:lnTo>
                  <a:lnTo>
                    <a:pt x="79" y="2"/>
                  </a:lnTo>
                  <a:lnTo>
                    <a:pt x="75" y="2"/>
                  </a:lnTo>
                  <a:lnTo>
                    <a:pt x="72" y="3"/>
                  </a:lnTo>
                  <a:lnTo>
                    <a:pt x="69" y="3"/>
                  </a:lnTo>
                  <a:lnTo>
                    <a:pt x="65" y="4"/>
                  </a:lnTo>
                  <a:lnTo>
                    <a:pt x="64" y="3"/>
                  </a:lnTo>
                  <a:lnTo>
                    <a:pt x="61" y="2"/>
                  </a:lnTo>
                  <a:lnTo>
                    <a:pt x="53" y="3"/>
                  </a:lnTo>
                  <a:lnTo>
                    <a:pt x="46" y="5"/>
                  </a:lnTo>
                  <a:lnTo>
                    <a:pt x="44" y="5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5" y="2"/>
                  </a:lnTo>
                  <a:lnTo>
                    <a:pt x="33" y="2"/>
                  </a:lnTo>
                  <a:lnTo>
                    <a:pt x="31" y="3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9" y="17"/>
                  </a:lnTo>
                  <a:lnTo>
                    <a:pt x="7" y="18"/>
                  </a:lnTo>
                  <a:lnTo>
                    <a:pt x="1" y="22"/>
                  </a:lnTo>
                  <a:lnTo>
                    <a:pt x="0" y="26"/>
                  </a:lnTo>
                  <a:lnTo>
                    <a:pt x="1" y="27"/>
                  </a:lnTo>
                  <a:lnTo>
                    <a:pt x="2" y="28"/>
                  </a:lnTo>
                  <a:lnTo>
                    <a:pt x="4" y="31"/>
                  </a:lnTo>
                  <a:lnTo>
                    <a:pt x="7" y="33"/>
                  </a:lnTo>
                  <a:lnTo>
                    <a:pt x="14" y="38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22" y="51"/>
                  </a:lnTo>
                  <a:lnTo>
                    <a:pt x="29" y="55"/>
                  </a:lnTo>
                  <a:lnTo>
                    <a:pt x="32" y="59"/>
                  </a:lnTo>
                  <a:lnTo>
                    <a:pt x="34" y="59"/>
                  </a:lnTo>
                  <a:lnTo>
                    <a:pt x="36" y="59"/>
                  </a:lnTo>
                  <a:lnTo>
                    <a:pt x="36" y="58"/>
                  </a:lnTo>
                  <a:lnTo>
                    <a:pt x="40" y="59"/>
                  </a:lnTo>
                  <a:lnTo>
                    <a:pt x="47" y="58"/>
                  </a:lnTo>
                  <a:lnTo>
                    <a:pt x="49" y="56"/>
                  </a:lnTo>
                  <a:lnTo>
                    <a:pt x="51" y="56"/>
                  </a:lnTo>
                  <a:lnTo>
                    <a:pt x="52" y="55"/>
                  </a:lnTo>
                  <a:lnTo>
                    <a:pt x="51" y="54"/>
                  </a:lnTo>
                  <a:lnTo>
                    <a:pt x="52" y="53"/>
                  </a:lnTo>
                  <a:lnTo>
                    <a:pt x="57" y="51"/>
                  </a:lnTo>
                  <a:lnTo>
                    <a:pt x="58" y="52"/>
                  </a:lnTo>
                  <a:lnTo>
                    <a:pt x="60" y="50"/>
                  </a:lnTo>
                  <a:lnTo>
                    <a:pt x="61" y="51"/>
                  </a:lnTo>
                  <a:lnTo>
                    <a:pt x="60" y="53"/>
                  </a:lnTo>
                  <a:lnTo>
                    <a:pt x="63" y="55"/>
                  </a:lnTo>
                  <a:lnTo>
                    <a:pt x="61" y="56"/>
                  </a:lnTo>
                  <a:lnTo>
                    <a:pt x="59" y="53"/>
                  </a:lnTo>
                  <a:lnTo>
                    <a:pt x="58" y="53"/>
                  </a:lnTo>
                  <a:lnTo>
                    <a:pt x="56" y="56"/>
                  </a:lnTo>
                  <a:lnTo>
                    <a:pt x="62" y="60"/>
                  </a:lnTo>
                  <a:lnTo>
                    <a:pt x="65" y="64"/>
                  </a:lnTo>
                  <a:lnTo>
                    <a:pt x="66" y="69"/>
                  </a:lnTo>
                  <a:lnTo>
                    <a:pt x="69" y="70"/>
                  </a:lnTo>
                  <a:lnTo>
                    <a:pt x="71" y="70"/>
                  </a:lnTo>
                  <a:lnTo>
                    <a:pt x="73" y="69"/>
                  </a:lnTo>
                  <a:lnTo>
                    <a:pt x="73" y="70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87" y="80"/>
                  </a:lnTo>
                  <a:lnTo>
                    <a:pt x="95" y="78"/>
                  </a:lnTo>
                  <a:lnTo>
                    <a:pt x="96" y="78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5" y="78"/>
                  </a:lnTo>
                  <a:lnTo>
                    <a:pt x="106" y="77"/>
                  </a:lnTo>
                  <a:lnTo>
                    <a:pt x="112" y="62"/>
                  </a:lnTo>
                  <a:lnTo>
                    <a:pt x="111" y="59"/>
                  </a:lnTo>
                  <a:lnTo>
                    <a:pt x="112" y="57"/>
                  </a:lnTo>
                  <a:lnTo>
                    <a:pt x="114" y="58"/>
                  </a:lnTo>
                  <a:lnTo>
                    <a:pt x="118" y="55"/>
                  </a:lnTo>
                  <a:lnTo>
                    <a:pt x="122" y="54"/>
                  </a:lnTo>
                  <a:lnTo>
                    <a:pt x="123" y="53"/>
                  </a:lnTo>
                  <a:lnTo>
                    <a:pt x="125" y="54"/>
                  </a:lnTo>
                  <a:lnTo>
                    <a:pt x="127" y="57"/>
                  </a:lnTo>
                  <a:lnTo>
                    <a:pt x="130" y="60"/>
                  </a:lnTo>
                  <a:lnTo>
                    <a:pt x="133" y="62"/>
                  </a:lnTo>
                  <a:lnTo>
                    <a:pt x="135" y="62"/>
                  </a:lnTo>
                  <a:lnTo>
                    <a:pt x="137" y="63"/>
                  </a:lnTo>
                  <a:lnTo>
                    <a:pt x="137" y="64"/>
                  </a:lnTo>
                  <a:lnTo>
                    <a:pt x="139" y="65"/>
                  </a:lnTo>
                  <a:lnTo>
                    <a:pt x="141" y="68"/>
                  </a:lnTo>
                  <a:lnTo>
                    <a:pt x="141" y="69"/>
                  </a:lnTo>
                  <a:lnTo>
                    <a:pt x="142" y="70"/>
                  </a:lnTo>
                  <a:lnTo>
                    <a:pt x="145" y="71"/>
                  </a:lnTo>
                  <a:lnTo>
                    <a:pt x="145" y="72"/>
                  </a:lnTo>
                  <a:lnTo>
                    <a:pt x="152" y="74"/>
                  </a:lnTo>
                  <a:lnTo>
                    <a:pt x="158" y="76"/>
                  </a:lnTo>
                  <a:lnTo>
                    <a:pt x="162" y="78"/>
                  </a:lnTo>
                  <a:lnTo>
                    <a:pt x="163" y="77"/>
                  </a:lnTo>
                  <a:lnTo>
                    <a:pt x="170" y="75"/>
                  </a:lnTo>
                  <a:lnTo>
                    <a:pt x="171" y="73"/>
                  </a:lnTo>
                  <a:lnTo>
                    <a:pt x="174" y="73"/>
                  </a:lnTo>
                  <a:lnTo>
                    <a:pt x="175" y="76"/>
                  </a:lnTo>
                  <a:lnTo>
                    <a:pt x="179" y="75"/>
                  </a:lnTo>
                  <a:lnTo>
                    <a:pt x="181" y="73"/>
                  </a:lnTo>
                  <a:lnTo>
                    <a:pt x="181" y="76"/>
                  </a:lnTo>
                  <a:lnTo>
                    <a:pt x="183" y="78"/>
                  </a:lnTo>
                  <a:lnTo>
                    <a:pt x="184" y="81"/>
                  </a:lnTo>
                  <a:lnTo>
                    <a:pt x="186" y="83"/>
                  </a:lnTo>
                  <a:lnTo>
                    <a:pt x="186" y="84"/>
                  </a:lnTo>
                  <a:lnTo>
                    <a:pt x="183" y="83"/>
                  </a:lnTo>
                  <a:lnTo>
                    <a:pt x="184" y="85"/>
                  </a:lnTo>
                  <a:lnTo>
                    <a:pt x="191" y="85"/>
                  </a:lnTo>
                  <a:lnTo>
                    <a:pt x="196" y="85"/>
                  </a:lnTo>
                  <a:lnTo>
                    <a:pt x="204" y="85"/>
                  </a:lnTo>
                  <a:lnTo>
                    <a:pt x="205" y="87"/>
                  </a:lnTo>
                  <a:lnTo>
                    <a:pt x="206" y="92"/>
                  </a:lnTo>
                  <a:lnTo>
                    <a:pt x="207" y="92"/>
                  </a:lnTo>
                  <a:lnTo>
                    <a:pt x="212" y="93"/>
                  </a:lnTo>
                  <a:lnTo>
                    <a:pt x="215" y="93"/>
                  </a:lnTo>
                  <a:lnTo>
                    <a:pt x="218" y="93"/>
                  </a:lnTo>
                  <a:lnTo>
                    <a:pt x="223" y="90"/>
                  </a:lnTo>
                  <a:lnTo>
                    <a:pt x="224" y="89"/>
                  </a:lnTo>
                  <a:lnTo>
                    <a:pt x="226" y="90"/>
                  </a:lnTo>
                  <a:lnTo>
                    <a:pt x="225" y="87"/>
                  </a:lnTo>
                  <a:lnTo>
                    <a:pt x="226" y="86"/>
                  </a:lnTo>
                  <a:lnTo>
                    <a:pt x="218" y="74"/>
                  </a:lnTo>
                  <a:lnTo>
                    <a:pt x="215" y="69"/>
                  </a:lnTo>
                  <a:lnTo>
                    <a:pt x="218" y="67"/>
                  </a:lnTo>
                  <a:lnTo>
                    <a:pt x="218" y="65"/>
                  </a:lnTo>
                  <a:lnTo>
                    <a:pt x="218" y="62"/>
                  </a:lnTo>
                  <a:lnTo>
                    <a:pt x="218" y="60"/>
                  </a:lnTo>
                  <a:lnTo>
                    <a:pt x="216" y="61"/>
                  </a:lnTo>
                  <a:lnTo>
                    <a:pt x="215" y="60"/>
                  </a:lnTo>
                  <a:lnTo>
                    <a:pt x="215" y="59"/>
                  </a:lnTo>
                  <a:lnTo>
                    <a:pt x="211" y="58"/>
                  </a:lnTo>
                  <a:lnTo>
                    <a:pt x="204" y="66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2" name="Freeform 46"/>
            <p:cNvSpPr>
              <a:spLocks/>
            </p:cNvSpPr>
            <p:nvPr/>
          </p:nvSpPr>
          <p:spPr bwMode="auto">
            <a:xfrm>
              <a:off x="242" y="2459"/>
              <a:ext cx="318" cy="157"/>
            </a:xfrm>
            <a:custGeom>
              <a:avLst/>
              <a:gdLst>
                <a:gd name="T0" fmla="*/ 52321022 w 163"/>
                <a:gd name="T1" fmla="*/ 1860971 h 84"/>
                <a:gd name="T2" fmla="*/ 48448874 w 163"/>
                <a:gd name="T3" fmla="*/ 285022 h 84"/>
                <a:gd name="T4" fmla="*/ 43389073 w 163"/>
                <a:gd name="T5" fmla="*/ 285022 h 84"/>
                <a:gd name="T6" fmla="*/ 28889851 w 163"/>
                <a:gd name="T7" fmla="*/ 2145983 h 84"/>
                <a:gd name="T8" fmla="*/ 27467043 w 163"/>
                <a:gd name="T9" fmla="*/ 5339189 h 84"/>
                <a:gd name="T10" fmla="*/ 20966585 w 163"/>
                <a:gd name="T11" fmla="*/ 8387374 h 84"/>
                <a:gd name="T12" fmla="*/ 14079019 w 163"/>
                <a:gd name="T13" fmla="*/ 9694204 h 84"/>
                <a:gd name="T14" fmla="*/ 693172 w 163"/>
                <a:gd name="T15" fmla="*/ 12483191 h 84"/>
                <a:gd name="T16" fmla="*/ 4535739 w 163"/>
                <a:gd name="T17" fmla="*/ 17123199 h 84"/>
                <a:gd name="T18" fmla="*/ 13385143 w 163"/>
                <a:gd name="T19" fmla="*/ 15676401 h 84"/>
                <a:gd name="T20" fmla="*/ 16595019 w 163"/>
                <a:gd name="T21" fmla="*/ 14977219 h 84"/>
                <a:gd name="T22" fmla="*/ 20246018 w 163"/>
                <a:gd name="T23" fmla="*/ 14640646 h 84"/>
                <a:gd name="T24" fmla="*/ 19590179 w 163"/>
                <a:gd name="T25" fmla="*/ 15165923 h 84"/>
                <a:gd name="T26" fmla="*/ 25514223 w 163"/>
                <a:gd name="T27" fmla="*/ 16209114 h 84"/>
                <a:gd name="T28" fmla="*/ 30649501 w 163"/>
                <a:gd name="T29" fmla="*/ 20519842 h 84"/>
                <a:gd name="T30" fmla="*/ 36866680 w 163"/>
                <a:gd name="T31" fmla="*/ 20519842 h 84"/>
                <a:gd name="T32" fmla="*/ 40904135 w 163"/>
                <a:gd name="T33" fmla="*/ 22462394 h 84"/>
                <a:gd name="T34" fmla="*/ 45435183 w 163"/>
                <a:gd name="T35" fmla="*/ 22462394 h 84"/>
                <a:gd name="T36" fmla="*/ 54290827 w 163"/>
                <a:gd name="T37" fmla="*/ 21464677 h 84"/>
                <a:gd name="T38" fmla="*/ 60478557 w 163"/>
                <a:gd name="T39" fmla="*/ 18980289 h 84"/>
                <a:gd name="T40" fmla="*/ 60478557 w 163"/>
                <a:gd name="T41" fmla="*/ 17503420 h 84"/>
                <a:gd name="T42" fmla="*/ 50251480 w 163"/>
                <a:gd name="T43" fmla="*/ 15496253 h 84"/>
                <a:gd name="T44" fmla="*/ 44743767 w 163"/>
                <a:gd name="T45" fmla="*/ 12483191 h 84"/>
                <a:gd name="T46" fmla="*/ 36866680 w 163"/>
                <a:gd name="T47" fmla="*/ 10869927 h 84"/>
                <a:gd name="T48" fmla="*/ 30649501 w 163"/>
                <a:gd name="T49" fmla="*/ 10310104 h 84"/>
                <a:gd name="T50" fmla="*/ 22240311 w 163"/>
                <a:gd name="T51" fmla="*/ 9979198 h 84"/>
                <a:gd name="T52" fmla="*/ 28196401 w 163"/>
                <a:gd name="T53" fmla="*/ 9286703 h 84"/>
                <a:gd name="T54" fmla="*/ 26113346 w 163"/>
                <a:gd name="T55" fmla="*/ 8387374 h 84"/>
                <a:gd name="T56" fmla="*/ 31357758 w 163"/>
                <a:gd name="T57" fmla="*/ 6210735 h 84"/>
                <a:gd name="T58" fmla="*/ 39498366 w 163"/>
                <a:gd name="T59" fmla="*/ 4010944 h 84"/>
                <a:gd name="T60" fmla="*/ 46360812 w 163"/>
                <a:gd name="T61" fmla="*/ 4640006 h 84"/>
                <a:gd name="T62" fmla="*/ 49142038 w 163"/>
                <a:gd name="T63" fmla="*/ 9008968 h 84"/>
                <a:gd name="T64" fmla="*/ 51652494 w 163"/>
                <a:gd name="T65" fmla="*/ 10540044 h 84"/>
                <a:gd name="T66" fmla="*/ 55008930 w 163"/>
                <a:gd name="T67" fmla="*/ 13015922 h 84"/>
                <a:gd name="T68" fmla="*/ 65706165 w 163"/>
                <a:gd name="T69" fmla="*/ 14011586 h 84"/>
                <a:gd name="T70" fmla="*/ 70197404 w 163"/>
                <a:gd name="T71" fmla="*/ 15676401 h 84"/>
                <a:gd name="T72" fmla="*/ 75960683 w 163"/>
                <a:gd name="T73" fmla="*/ 16508647 h 84"/>
                <a:gd name="T74" fmla="*/ 86002105 w 163"/>
                <a:gd name="T75" fmla="*/ 18980289 h 84"/>
                <a:gd name="T76" fmla="*/ 91869022 w 163"/>
                <a:gd name="T77" fmla="*/ 18366583 h 84"/>
                <a:gd name="T78" fmla="*/ 100769896 w 163"/>
                <a:gd name="T79" fmla="*/ 15496253 h 84"/>
                <a:gd name="T80" fmla="*/ 102732922 w 163"/>
                <a:gd name="T81" fmla="*/ 14977219 h 84"/>
                <a:gd name="T82" fmla="*/ 102074141 w 163"/>
                <a:gd name="T83" fmla="*/ 14011586 h 84"/>
                <a:gd name="T84" fmla="*/ 99389739 w 163"/>
                <a:gd name="T85" fmla="*/ 14011586 h 84"/>
                <a:gd name="T86" fmla="*/ 90066414 w 163"/>
                <a:gd name="T87" fmla="*/ 12726992 h 84"/>
                <a:gd name="T88" fmla="*/ 81779498 w 163"/>
                <a:gd name="T89" fmla="*/ 9979198 h 84"/>
                <a:gd name="T90" fmla="*/ 73276164 w 163"/>
                <a:gd name="T91" fmla="*/ 7204450 h 84"/>
                <a:gd name="T92" fmla="*/ 64332223 w 163"/>
                <a:gd name="T93" fmla="*/ 4968682 h 84"/>
                <a:gd name="T94" fmla="*/ 55008930 w 163"/>
                <a:gd name="T95" fmla="*/ 2775054 h 84"/>
                <a:gd name="T96" fmla="*/ 53586010 w 163"/>
                <a:gd name="T97" fmla="*/ 2145983 h 84"/>
                <a:gd name="T98" fmla="*/ 53586010 w 163"/>
                <a:gd name="T99" fmla="*/ 1328244 h 84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</a:gdLst>
              <a:ahLst/>
              <a:cxnLst>
                <a:cxn ang="T100">
                  <a:pos x="T0" y="T1"/>
                </a:cxn>
                <a:cxn ang="T101">
                  <a:pos x="T2" y="T3"/>
                </a:cxn>
                <a:cxn ang="T102">
                  <a:pos x="T4" y="T5"/>
                </a:cxn>
                <a:cxn ang="T103">
                  <a:pos x="T6" y="T7"/>
                </a:cxn>
                <a:cxn ang="T104">
                  <a:pos x="T8" y="T9"/>
                </a:cxn>
                <a:cxn ang="T105">
                  <a:pos x="T10" y="T11"/>
                </a:cxn>
                <a:cxn ang="T106">
                  <a:pos x="T12" y="T13"/>
                </a:cxn>
                <a:cxn ang="T107">
                  <a:pos x="T14" y="T15"/>
                </a:cxn>
                <a:cxn ang="T108">
                  <a:pos x="T16" y="T17"/>
                </a:cxn>
                <a:cxn ang="T109">
                  <a:pos x="T18" y="T19"/>
                </a:cxn>
                <a:cxn ang="T110">
                  <a:pos x="T20" y="T21"/>
                </a:cxn>
                <a:cxn ang="T111">
                  <a:pos x="T22" y="T23"/>
                </a:cxn>
                <a:cxn ang="T112">
                  <a:pos x="T24" y="T25"/>
                </a:cxn>
                <a:cxn ang="T113">
                  <a:pos x="T26" y="T27"/>
                </a:cxn>
                <a:cxn ang="T114">
                  <a:pos x="T28" y="T29"/>
                </a:cxn>
                <a:cxn ang="T115">
                  <a:pos x="T30" y="T31"/>
                </a:cxn>
                <a:cxn ang="T116">
                  <a:pos x="T32" y="T33"/>
                </a:cxn>
                <a:cxn ang="T117">
                  <a:pos x="T34" y="T35"/>
                </a:cxn>
                <a:cxn ang="T118">
                  <a:pos x="T36" y="T37"/>
                </a:cxn>
                <a:cxn ang="T119">
                  <a:pos x="T38" y="T39"/>
                </a:cxn>
                <a:cxn ang="T120">
                  <a:pos x="T40" y="T41"/>
                </a:cxn>
                <a:cxn ang="T121">
                  <a:pos x="T42" y="T43"/>
                </a:cxn>
                <a:cxn ang="T122">
                  <a:pos x="T44" y="T45"/>
                </a:cxn>
                <a:cxn ang="T123">
                  <a:pos x="T46" y="T47"/>
                </a:cxn>
                <a:cxn ang="T124">
                  <a:pos x="T48" y="T49"/>
                </a:cxn>
                <a:cxn ang="T125">
                  <a:pos x="T50" y="T51"/>
                </a:cxn>
                <a:cxn ang="T126">
                  <a:pos x="T52" y="T53"/>
                </a:cxn>
                <a:cxn ang="T127">
                  <a:pos x="T54" y="T55"/>
                </a:cxn>
                <a:cxn ang="T128">
                  <a:pos x="T56" y="T57"/>
                </a:cxn>
                <a:cxn ang="T129">
                  <a:pos x="T58" y="T59"/>
                </a:cxn>
                <a:cxn ang="T130">
                  <a:pos x="T60" y="T61"/>
                </a:cxn>
                <a:cxn ang="T131">
                  <a:pos x="T62" y="T63"/>
                </a:cxn>
                <a:cxn ang="T132">
                  <a:pos x="T64" y="T65"/>
                </a:cxn>
                <a:cxn ang="T133">
                  <a:pos x="T66" y="T67"/>
                </a:cxn>
                <a:cxn ang="T134">
                  <a:pos x="T68" y="T69"/>
                </a:cxn>
                <a:cxn ang="T135">
                  <a:pos x="T70" y="T71"/>
                </a:cxn>
                <a:cxn ang="T136">
                  <a:pos x="T72" y="T73"/>
                </a:cxn>
                <a:cxn ang="T137">
                  <a:pos x="T74" y="T75"/>
                </a:cxn>
                <a:cxn ang="T138">
                  <a:pos x="T76" y="T77"/>
                </a:cxn>
                <a:cxn ang="T139">
                  <a:pos x="T78" y="T79"/>
                </a:cxn>
                <a:cxn ang="T140">
                  <a:pos x="T80" y="T81"/>
                </a:cxn>
                <a:cxn ang="T141">
                  <a:pos x="T82" y="T83"/>
                </a:cxn>
                <a:cxn ang="T142">
                  <a:pos x="T84" y="T85"/>
                </a:cxn>
                <a:cxn ang="T143">
                  <a:pos x="T86" y="T87"/>
                </a:cxn>
                <a:cxn ang="T144">
                  <a:pos x="T88" y="T89"/>
                </a:cxn>
                <a:cxn ang="T145">
                  <a:pos x="T90" y="T91"/>
                </a:cxn>
                <a:cxn ang="T146">
                  <a:pos x="T92" y="T93"/>
                </a:cxn>
                <a:cxn ang="T147">
                  <a:pos x="T94" y="T95"/>
                </a:cxn>
                <a:cxn ang="T148">
                  <a:pos x="T96" y="T97"/>
                </a:cxn>
                <a:cxn ang="T149">
                  <a:pos x="T98" y="T99"/>
                </a:cxn>
              </a:cxnLst>
              <a:rect l="0" t="0" r="r" b="b"/>
              <a:pathLst>
                <a:path w="163" h="84">
                  <a:moveTo>
                    <a:pt x="84" y="5"/>
                  </a:moveTo>
                  <a:lnTo>
                    <a:pt x="83" y="6"/>
                  </a:lnTo>
                  <a:lnTo>
                    <a:pt x="81" y="7"/>
                  </a:lnTo>
                  <a:lnTo>
                    <a:pt x="82" y="7"/>
                  </a:lnTo>
                  <a:lnTo>
                    <a:pt x="81" y="8"/>
                  </a:lnTo>
                  <a:lnTo>
                    <a:pt x="76" y="3"/>
                  </a:lnTo>
                  <a:lnTo>
                    <a:pt x="75" y="2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68" y="1"/>
                  </a:lnTo>
                  <a:lnTo>
                    <a:pt x="61" y="2"/>
                  </a:lnTo>
                  <a:lnTo>
                    <a:pt x="54" y="6"/>
                  </a:lnTo>
                  <a:lnTo>
                    <a:pt x="50" y="6"/>
                  </a:lnTo>
                  <a:lnTo>
                    <a:pt x="45" y="8"/>
                  </a:lnTo>
                  <a:lnTo>
                    <a:pt x="42" y="10"/>
                  </a:lnTo>
                  <a:lnTo>
                    <a:pt x="41" y="12"/>
                  </a:lnTo>
                  <a:lnTo>
                    <a:pt x="41" y="16"/>
                  </a:lnTo>
                  <a:lnTo>
                    <a:pt x="43" y="20"/>
                  </a:lnTo>
                  <a:lnTo>
                    <a:pt x="43" y="22"/>
                  </a:lnTo>
                  <a:lnTo>
                    <a:pt x="41" y="29"/>
                  </a:lnTo>
                  <a:lnTo>
                    <a:pt x="38" y="30"/>
                  </a:lnTo>
                  <a:lnTo>
                    <a:pt x="33" y="31"/>
                  </a:lnTo>
                  <a:lnTo>
                    <a:pt x="34" y="34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22" y="36"/>
                  </a:lnTo>
                  <a:lnTo>
                    <a:pt x="14" y="39"/>
                  </a:lnTo>
                  <a:lnTo>
                    <a:pt x="7" y="40"/>
                  </a:lnTo>
                  <a:lnTo>
                    <a:pt x="4" y="42"/>
                  </a:lnTo>
                  <a:lnTo>
                    <a:pt x="1" y="46"/>
                  </a:lnTo>
                  <a:lnTo>
                    <a:pt x="0" y="50"/>
                  </a:lnTo>
                  <a:lnTo>
                    <a:pt x="0" y="54"/>
                  </a:lnTo>
                  <a:lnTo>
                    <a:pt x="3" y="59"/>
                  </a:lnTo>
                  <a:lnTo>
                    <a:pt x="7" y="63"/>
                  </a:lnTo>
                  <a:lnTo>
                    <a:pt x="10" y="63"/>
                  </a:lnTo>
                  <a:lnTo>
                    <a:pt x="17" y="61"/>
                  </a:lnTo>
                  <a:lnTo>
                    <a:pt x="18" y="60"/>
                  </a:lnTo>
                  <a:lnTo>
                    <a:pt x="21" y="58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8" y="55"/>
                  </a:lnTo>
                  <a:lnTo>
                    <a:pt x="26" y="55"/>
                  </a:lnTo>
                  <a:lnTo>
                    <a:pt x="25" y="54"/>
                  </a:lnTo>
                  <a:lnTo>
                    <a:pt x="26" y="54"/>
                  </a:lnTo>
                  <a:lnTo>
                    <a:pt x="30" y="53"/>
                  </a:lnTo>
                  <a:lnTo>
                    <a:pt x="32" y="54"/>
                  </a:lnTo>
                  <a:lnTo>
                    <a:pt x="32" y="55"/>
                  </a:lnTo>
                  <a:lnTo>
                    <a:pt x="33" y="57"/>
                  </a:lnTo>
                  <a:lnTo>
                    <a:pt x="31" y="56"/>
                  </a:lnTo>
                  <a:lnTo>
                    <a:pt x="31" y="57"/>
                  </a:lnTo>
                  <a:lnTo>
                    <a:pt x="33" y="57"/>
                  </a:lnTo>
                  <a:lnTo>
                    <a:pt x="39" y="61"/>
                  </a:lnTo>
                  <a:lnTo>
                    <a:pt x="40" y="60"/>
                  </a:lnTo>
                  <a:lnTo>
                    <a:pt x="44" y="64"/>
                  </a:lnTo>
                  <a:lnTo>
                    <a:pt x="46" y="67"/>
                  </a:lnTo>
                  <a:lnTo>
                    <a:pt x="47" y="68"/>
                  </a:lnTo>
                  <a:lnTo>
                    <a:pt x="48" y="76"/>
                  </a:lnTo>
                  <a:lnTo>
                    <a:pt x="49" y="76"/>
                  </a:lnTo>
                  <a:lnTo>
                    <a:pt x="54" y="78"/>
                  </a:lnTo>
                  <a:lnTo>
                    <a:pt x="57" y="78"/>
                  </a:lnTo>
                  <a:lnTo>
                    <a:pt x="58" y="76"/>
                  </a:lnTo>
                  <a:lnTo>
                    <a:pt x="59" y="76"/>
                  </a:lnTo>
                  <a:lnTo>
                    <a:pt x="59" y="78"/>
                  </a:lnTo>
                  <a:lnTo>
                    <a:pt x="61" y="80"/>
                  </a:lnTo>
                  <a:lnTo>
                    <a:pt x="64" y="83"/>
                  </a:lnTo>
                  <a:lnTo>
                    <a:pt x="65" y="84"/>
                  </a:lnTo>
                  <a:lnTo>
                    <a:pt x="67" y="83"/>
                  </a:lnTo>
                  <a:lnTo>
                    <a:pt x="69" y="83"/>
                  </a:lnTo>
                  <a:lnTo>
                    <a:pt x="71" y="83"/>
                  </a:lnTo>
                  <a:lnTo>
                    <a:pt x="73" y="83"/>
                  </a:lnTo>
                  <a:lnTo>
                    <a:pt x="79" y="80"/>
                  </a:lnTo>
                  <a:lnTo>
                    <a:pt x="84" y="78"/>
                  </a:lnTo>
                  <a:lnTo>
                    <a:pt x="85" y="79"/>
                  </a:lnTo>
                  <a:lnTo>
                    <a:pt x="88" y="77"/>
                  </a:lnTo>
                  <a:lnTo>
                    <a:pt x="91" y="73"/>
                  </a:lnTo>
                  <a:lnTo>
                    <a:pt x="93" y="73"/>
                  </a:lnTo>
                  <a:lnTo>
                    <a:pt x="95" y="70"/>
                  </a:lnTo>
                  <a:lnTo>
                    <a:pt x="95" y="69"/>
                  </a:lnTo>
                  <a:lnTo>
                    <a:pt x="97" y="68"/>
                  </a:lnTo>
                  <a:lnTo>
                    <a:pt x="95" y="65"/>
                  </a:lnTo>
                  <a:lnTo>
                    <a:pt x="86" y="60"/>
                  </a:lnTo>
                  <a:lnTo>
                    <a:pt x="83" y="58"/>
                  </a:lnTo>
                  <a:lnTo>
                    <a:pt x="80" y="58"/>
                  </a:lnTo>
                  <a:lnTo>
                    <a:pt x="79" y="57"/>
                  </a:lnTo>
                  <a:lnTo>
                    <a:pt x="77" y="57"/>
                  </a:lnTo>
                  <a:lnTo>
                    <a:pt x="76" y="57"/>
                  </a:lnTo>
                  <a:lnTo>
                    <a:pt x="75" y="53"/>
                  </a:lnTo>
                  <a:lnTo>
                    <a:pt x="70" y="46"/>
                  </a:lnTo>
                  <a:lnTo>
                    <a:pt x="69" y="43"/>
                  </a:lnTo>
                  <a:lnTo>
                    <a:pt x="68" y="41"/>
                  </a:lnTo>
                  <a:lnTo>
                    <a:pt x="66" y="40"/>
                  </a:lnTo>
                  <a:lnTo>
                    <a:pt x="58" y="40"/>
                  </a:lnTo>
                  <a:lnTo>
                    <a:pt x="54" y="41"/>
                  </a:lnTo>
                  <a:lnTo>
                    <a:pt x="52" y="40"/>
                  </a:lnTo>
                  <a:lnTo>
                    <a:pt x="50" y="38"/>
                  </a:lnTo>
                  <a:lnTo>
                    <a:pt x="48" y="38"/>
                  </a:lnTo>
                  <a:lnTo>
                    <a:pt x="47" y="36"/>
                  </a:lnTo>
                  <a:lnTo>
                    <a:pt x="44" y="37"/>
                  </a:lnTo>
                  <a:lnTo>
                    <a:pt x="42" y="38"/>
                  </a:lnTo>
                  <a:lnTo>
                    <a:pt x="35" y="37"/>
                  </a:lnTo>
                  <a:lnTo>
                    <a:pt x="35" y="34"/>
                  </a:lnTo>
                  <a:lnTo>
                    <a:pt x="36" y="32"/>
                  </a:lnTo>
                  <a:lnTo>
                    <a:pt x="38" y="31"/>
                  </a:lnTo>
                  <a:lnTo>
                    <a:pt x="44" y="34"/>
                  </a:lnTo>
                  <a:lnTo>
                    <a:pt x="45" y="32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3" y="29"/>
                  </a:lnTo>
                  <a:lnTo>
                    <a:pt x="45" y="23"/>
                  </a:lnTo>
                  <a:lnTo>
                    <a:pt x="47" y="24"/>
                  </a:lnTo>
                  <a:lnTo>
                    <a:pt x="49" y="23"/>
                  </a:lnTo>
                  <a:lnTo>
                    <a:pt x="50" y="20"/>
                  </a:lnTo>
                  <a:lnTo>
                    <a:pt x="54" y="17"/>
                  </a:lnTo>
                  <a:lnTo>
                    <a:pt x="58" y="17"/>
                  </a:lnTo>
                  <a:lnTo>
                    <a:pt x="62" y="15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73" y="17"/>
                  </a:lnTo>
                  <a:lnTo>
                    <a:pt x="74" y="20"/>
                  </a:lnTo>
                  <a:lnTo>
                    <a:pt x="78" y="25"/>
                  </a:lnTo>
                  <a:lnTo>
                    <a:pt x="78" y="27"/>
                  </a:lnTo>
                  <a:lnTo>
                    <a:pt x="77" y="33"/>
                  </a:lnTo>
                  <a:lnTo>
                    <a:pt x="78" y="37"/>
                  </a:lnTo>
                  <a:lnTo>
                    <a:pt x="80" y="36"/>
                  </a:lnTo>
                  <a:lnTo>
                    <a:pt x="81" y="37"/>
                  </a:lnTo>
                  <a:lnTo>
                    <a:pt x="81" y="39"/>
                  </a:lnTo>
                  <a:lnTo>
                    <a:pt x="84" y="46"/>
                  </a:lnTo>
                  <a:lnTo>
                    <a:pt x="84" y="49"/>
                  </a:lnTo>
                  <a:lnTo>
                    <a:pt x="85" y="50"/>
                  </a:lnTo>
                  <a:lnTo>
                    <a:pt x="86" y="48"/>
                  </a:lnTo>
                  <a:lnTo>
                    <a:pt x="87" y="50"/>
                  </a:lnTo>
                  <a:lnTo>
                    <a:pt x="94" y="50"/>
                  </a:lnTo>
                  <a:lnTo>
                    <a:pt x="99" y="50"/>
                  </a:lnTo>
                  <a:lnTo>
                    <a:pt x="103" y="52"/>
                  </a:lnTo>
                  <a:lnTo>
                    <a:pt x="107" y="53"/>
                  </a:lnTo>
                  <a:lnTo>
                    <a:pt x="109" y="56"/>
                  </a:lnTo>
                  <a:lnTo>
                    <a:pt x="110" y="57"/>
                  </a:lnTo>
                  <a:lnTo>
                    <a:pt x="110" y="58"/>
                  </a:lnTo>
                  <a:lnTo>
                    <a:pt x="112" y="59"/>
                  </a:lnTo>
                  <a:lnTo>
                    <a:pt x="114" y="59"/>
                  </a:lnTo>
                  <a:lnTo>
                    <a:pt x="117" y="61"/>
                  </a:lnTo>
                  <a:lnTo>
                    <a:pt x="119" y="61"/>
                  </a:lnTo>
                  <a:lnTo>
                    <a:pt x="122" y="63"/>
                  </a:lnTo>
                  <a:lnTo>
                    <a:pt x="124" y="64"/>
                  </a:lnTo>
                  <a:lnTo>
                    <a:pt x="126" y="66"/>
                  </a:lnTo>
                  <a:lnTo>
                    <a:pt x="135" y="70"/>
                  </a:lnTo>
                  <a:lnTo>
                    <a:pt x="139" y="69"/>
                  </a:lnTo>
                  <a:lnTo>
                    <a:pt x="142" y="69"/>
                  </a:lnTo>
                  <a:lnTo>
                    <a:pt x="143" y="68"/>
                  </a:lnTo>
                  <a:lnTo>
                    <a:pt x="144" y="68"/>
                  </a:lnTo>
                  <a:lnTo>
                    <a:pt x="150" y="66"/>
                  </a:lnTo>
                  <a:lnTo>
                    <a:pt x="155" y="63"/>
                  </a:lnTo>
                  <a:lnTo>
                    <a:pt x="156" y="58"/>
                  </a:lnTo>
                  <a:lnTo>
                    <a:pt x="158" y="57"/>
                  </a:lnTo>
                  <a:lnTo>
                    <a:pt x="159" y="55"/>
                  </a:lnTo>
                  <a:lnTo>
                    <a:pt x="160" y="55"/>
                  </a:lnTo>
                  <a:lnTo>
                    <a:pt x="160" y="57"/>
                  </a:lnTo>
                  <a:lnTo>
                    <a:pt x="161" y="55"/>
                  </a:lnTo>
                  <a:lnTo>
                    <a:pt x="162" y="55"/>
                  </a:lnTo>
                  <a:lnTo>
                    <a:pt x="163" y="50"/>
                  </a:lnTo>
                  <a:lnTo>
                    <a:pt x="161" y="50"/>
                  </a:lnTo>
                  <a:lnTo>
                    <a:pt x="160" y="52"/>
                  </a:lnTo>
                  <a:lnTo>
                    <a:pt x="159" y="52"/>
                  </a:lnTo>
                  <a:lnTo>
                    <a:pt x="158" y="51"/>
                  </a:lnTo>
                  <a:lnTo>
                    <a:pt x="157" y="50"/>
                  </a:lnTo>
                  <a:lnTo>
                    <a:pt x="156" y="52"/>
                  </a:lnTo>
                  <a:lnTo>
                    <a:pt x="152" y="53"/>
                  </a:lnTo>
                  <a:lnTo>
                    <a:pt x="145" y="51"/>
                  </a:lnTo>
                  <a:lnTo>
                    <a:pt x="142" y="50"/>
                  </a:lnTo>
                  <a:lnTo>
                    <a:pt x="141" y="47"/>
                  </a:lnTo>
                  <a:lnTo>
                    <a:pt x="135" y="46"/>
                  </a:lnTo>
                  <a:lnTo>
                    <a:pt x="132" y="43"/>
                  </a:lnTo>
                  <a:lnTo>
                    <a:pt x="128" y="38"/>
                  </a:lnTo>
                  <a:lnTo>
                    <a:pt x="128" y="37"/>
                  </a:lnTo>
                  <a:lnTo>
                    <a:pt x="123" y="33"/>
                  </a:lnTo>
                  <a:lnTo>
                    <a:pt x="118" y="28"/>
                  </a:lnTo>
                  <a:lnTo>
                    <a:pt x="117" y="25"/>
                  </a:lnTo>
                  <a:lnTo>
                    <a:pt x="115" y="27"/>
                  </a:lnTo>
                  <a:lnTo>
                    <a:pt x="114" y="26"/>
                  </a:lnTo>
                  <a:lnTo>
                    <a:pt x="105" y="21"/>
                  </a:lnTo>
                  <a:lnTo>
                    <a:pt x="102" y="19"/>
                  </a:lnTo>
                  <a:lnTo>
                    <a:pt x="101" y="18"/>
                  </a:lnTo>
                  <a:lnTo>
                    <a:pt x="99" y="18"/>
                  </a:lnTo>
                  <a:lnTo>
                    <a:pt x="93" y="13"/>
                  </a:lnTo>
                  <a:lnTo>
                    <a:pt x="88" y="12"/>
                  </a:lnTo>
                  <a:lnTo>
                    <a:pt x="86" y="10"/>
                  </a:lnTo>
                  <a:lnTo>
                    <a:pt x="84" y="11"/>
                  </a:lnTo>
                  <a:lnTo>
                    <a:pt x="83" y="10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6" y="6"/>
                  </a:lnTo>
                  <a:lnTo>
                    <a:pt x="87" y="5"/>
                  </a:lnTo>
                  <a:lnTo>
                    <a:pt x="86" y="4"/>
                  </a:lnTo>
                  <a:lnTo>
                    <a:pt x="84" y="5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3" name="Freeform 47"/>
            <p:cNvSpPr>
              <a:spLocks/>
            </p:cNvSpPr>
            <p:nvPr/>
          </p:nvSpPr>
          <p:spPr bwMode="auto">
            <a:xfrm>
              <a:off x="96" y="2751"/>
              <a:ext cx="388" cy="144"/>
            </a:xfrm>
            <a:custGeom>
              <a:avLst/>
              <a:gdLst>
                <a:gd name="T0" fmla="*/ 118715914 w 199"/>
                <a:gd name="T1" fmla="*/ 4044180 h 77"/>
                <a:gd name="T2" fmla="*/ 116758089 w 199"/>
                <a:gd name="T3" fmla="*/ 4677408 h 77"/>
                <a:gd name="T4" fmla="*/ 114714251 w 199"/>
                <a:gd name="T5" fmla="*/ 5735376 h 77"/>
                <a:gd name="T6" fmla="*/ 118715914 w 199"/>
                <a:gd name="T7" fmla="*/ 7207394 h 77"/>
                <a:gd name="T8" fmla="*/ 114714251 w 199"/>
                <a:gd name="T9" fmla="*/ 6584832 h 77"/>
                <a:gd name="T10" fmla="*/ 112750491 w 199"/>
                <a:gd name="T11" fmla="*/ 6296811 h 77"/>
                <a:gd name="T12" fmla="*/ 113437760 w 199"/>
                <a:gd name="T13" fmla="*/ 8209386 h 77"/>
                <a:gd name="T14" fmla="*/ 105451884 w 199"/>
                <a:gd name="T15" fmla="*/ 5735376 h 77"/>
                <a:gd name="T16" fmla="*/ 94049036 w 199"/>
                <a:gd name="T17" fmla="*/ 1337401 h 77"/>
                <a:gd name="T18" fmla="*/ 85697597 w 199"/>
                <a:gd name="T19" fmla="*/ 5018217 h 77"/>
                <a:gd name="T20" fmla="*/ 74222727 w 199"/>
                <a:gd name="T21" fmla="*/ 6584832 h 77"/>
                <a:gd name="T22" fmla="*/ 65641815 w 199"/>
                <a:gd name="T23" fmla="*/ 6919722 h 77"/>
                <a:gd name="T24" fmla="*/ 64983930 w 199"/>
                <a:gd name="T25" fmla="*/ 6919722 h 77"/>
                <a:gd name="T26" fmla="*/ 58504434 w 199"/>
                <a:gd name="T27" fmla="*/ 7207394 h 77"/>
                <a:gd name="T28" fmla="*/ 54433374 w 199"/>
                <a:gd name="T29" fmla="*/ 6584832 h 77"/>
                <a:gd name="T30" fmla="*/ 48360320 w 199"/>
                <a:gd name="T31" fmla="*/ 5018217 h 77"/>
                <a:gd name="T32" fmla="*/ 33329387 w 199"/>
                <a:gd name="T33" fmla="*/ 2162513 h 77"/>
                <a:gd name="T34" fmla="*/ 25162194 w 199"/>
                <a:gd name="T35" fmla="*/ 538341 h 77"/>
                <a:gd name="T36" fmla="*/ 15211866 w 199"/>
                <a:gd name="T37" fmla="*/ 1337401 h 77"/>
                <a:gd name="T38" fmla="*/ 6102329 w 199"/>
                <a:gd name="T39" fmla="*/ 2501114 h 77"/>
                <a:gd name="T40" fmla="*/ 1970525 w 199"/>
                <a:gd name="T41" fmla="*/ 3521056 h 77"/>
                <a:gd name="T42" fmla="*/ 4496674 w 199"/>
                <a:gd name="T43" fmla="*/ 6296811 h 77"/>
                <a:gd name="T44" fmla="*/ 3129803 w 199"/>
                <a:gd name="T45" fmla="*/ 10093151 h 77"/>
                <a:gd name="T46" fmla="*/ 3129803 w 199"/>
                <a:gd name="T47" fmla="*/ 11775854 h 77"/>
                <a:gd name="T48" fmla="*/ 4496674 w 199"/>
                <a:gd name="T49" fmla="*/ 13137982 h 77"/>
                <a:gd name="T50" fmla="*/ 7490991 w 199"/>
                <a:gd name="T51" fmla="*/ 14770559 h 77"/>
                <a:gd name="T52" fmla="*/ 9956790 w 199"/>
                <a:gd name="T53" fmla="*/ 15822372 h 77"/>
                <a:gd name="T54" fmla="*/ 22542981 w 199"/>
                <a:gd name="T55" fmla="*/ 11981630 h 77"/>
                <a:gd name="T56" fmla="*/ 26506263 w 199"/>
                <a:gd name="T57" fmla="*/ 11775854 h 77"/>
                <a:gd name="T58" fmla="*/ 31047707 w 199"/>
                <a:gd name="T59" fmla="*/ 11775854 h 77"/>
                <a:gd name="T60" fmla="*/ 31965602 w 199"/>
                <a:gd name="T61" fmla="*/ 11775854 h 77"/>
                <a:gd name="T62" fmla="*/ 33329387 w 199"/>
                <a:gd name="T63" fmla="*/ 10423975 h 77"/>
                <a:gd name="T64" fmla="*/ 38439213 w 199"/>
                <a:gd name="T65" fmla="*/ 11599045 h 77"/>
                <a:gd name="T66" fmla="*/ 45230517 w 199"/>
                <a:gd name="T67" fmla="*/ 12602179 h 77"/>
                <a:gd name="T68" fmla="*/ 47889524 w 199"/>
                <a:gd name="T69" fmla="*/ 13478763 h 77"/>
                <a:gd name="T70" fmla="*/ 56575077 w 199"/>
                <a:gd name="T71" fmla="*/ 13946630 h 77"/>
                <a:gd name="T72" fmla="*/ 62324892 w 199"/>
                <a:gd name="T73" fmla="*/ 15643268 h 77"/>
                <a:gd name="T74" fmla="*/ 63689670 w 199"/>
                <a:gd name="T75" fmla="*/ 20058822 h 77"/>
                <a:gd name="T76" fmla="*/ 68143781 w 199"/>
                <a:gd name="T77" fmla="*/ 19725791 h 77"/>
                <a:gd name="T78" fmla="*/ 71793418 w 199"/>
                <a:gd name="T79" fmla="*/ 20058822 h 77"/>
                <a:gd name="T80" fmla="*/ 75589351 w 199"/>
                <a:gd name="T81" fmla="*/ 20058822 h 77"/>
                <a:gd name="T82" fmla="*/ 76977800 w 199"/>
                <a:gd name="T83" fmla="*/ 21065493 h 77"/>
                <a:gd name="T84" fmla="*/ 80289285 w 199"/>
                <a:gd name="T85" fmla="*/ 19725791 h 77"/>
                <a:gd name="T86" fmla="*/ 85052236 w 199"/>
                <a:gd name="T87" fmla="*/ 19725791 h 77"/>
                <a:gd name="T88" fmla="*/ 89552377 w 199"/>
                <a:gd name="T89" fmla="*/ 18005392 h 77"/>
                <a:gd name="T90" fmla="*/ 92854191 w 199"/>
                <a:gd name="T91" fmla="*/ 16984899 h 77"/>
                <a:gd name="T92" fmla="*/ 97626604 w 199"/>
                <a:gd name="T93" fmla="*/ 17279600 h 77"/>
                <a:gd name="T94" fmla="*/ 116057757 w 199"/>
                <a:gd name="T95" fmla="*/ 12314491 h 77"/>
                <a:gd name="T96" fmla="*/ 124178854 w 199"/>
                <a:gd name="T97" fmla="*/ 6584832 h 7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199" h="77">
                  <a:moveTo>
                    <a:pt x="196" y="21"/>
                  </a:moveTo>
                  <a:lnTo>
                    <a:pt x="195" y="18"/>
                  </a:lnTo>
                  <a:lnTo>
                    <a:pt x="193" y="15"/>
                  </a:lnTo>
                  <a:lnTo>
                    <a:pt x="188" y="15"/>
                  </a:lnTo>
                  <a:lnTo>
                    <a:pt x="188" y="17"/>
                  </a:lnTo>
                  <a:lnTo>
                    <a:pt x="186" y="17"/>
                  </a:lnTo>
                  <a:lnTo>
                    <a:pt x="185" y="20"/>
                  </a:lnTo>
                  <a:lnTo>
                    <a:pt x="185" y="17"/>
                  </a:lnTo>
                  <a:lnTo>
                    <a:pt x="182" y="17"/>
                  </a:lnTo>
                  <a:lnTo>
                    <a:pt x="181" y="17"/>
                  </a:lnTo>
                  <a:lnTo>
                    <a:pt x="180" y="19"/>
                  </a:lnTo>
                  <a:lnTo>
                    <a:pt x="182" y="21"/>
                  </a:lnTo>
                  <a:lnTo>
                    <a:pt x="185" y="23"/>
                  </a:lnTo>
                  <a:lnTo>
                    <a:pt x="187" y="24"/>
                  </a:lnTo>
                  <a:lnTo>
                    <a:pt x="188" y="26"/>
                  </a:lnTo>
                  <a:lnTo>
                    <a:pt x="187" y="27"/>
                  </a:lnTo>
                  <a:lnTo>
                    <a:pt x="185" y="25"/>
                  </a:lnTo>
                  <a:lnTo>
                    <a:pt x="184" y="25"/>
                  </a:lnTo>
                  <a:lnTo>
                    <a:pt x="182" y="24"/>
                  </a:lnTo>
                  <a:lnTo>
                    <a:pt x="181" y="24"/>
                  </a:lnTo>
                  <a:lnTo>
                    <a:pt x="181" y="25"/>
                  </a:lnTo>
                  <a:lnTo>
                    <a:pt x="180" y="26"/>
                  </a:lnTo>
                  <a:lnTo>
                    <a:pt x="179" y="23"/>
                  </a:lnTo>
                  <a:lnTo>
                    <a:pt x="178" y="22"/>
                  </a:lnTo>
                  <a:lnTo>
                    <a:pt x="175" y="23"/>
                  </a:lnTo>
                  <a:lnTo>
                    <a:pt x="178" y="27"/>
                  </a:lnTo>
                  <a:lnTo>
                    <a:pt x="180" y="30"/>
                  </a:lnTo>
                  <a:lnTo>
                    <a:pt x="178" y="30"/>
                  </a:lnTo>
                  <a:lnTo>
                    <a:pt x="171" y="22"/>
                  </a:lnTo>
                  <a:lnTo>
                    <a:pt x="170" y="21"/>
                  </a:lnTo>
                  <a:lnTo>
                    <a:pt x="167" y="21"/>
                  </a:lnTo>
                  <a:lnTo>
                    <a:pt x="166" y="18"/>
                  </a:lnTo>
                  <a:lnTo>
                    <a:pt x="158" y="17"/>
                  </a:lnTo>
                  <a:lnTo>
                    <a:pt x="152" y="8"/>
                  </a:lnTo>
                  <a:lnTo>
                    <a:pt x="149" y="5"/>
                  </a:lnTo>
                  <a:lnTo>
                    <a:pt x="140" y="3"/>
                  </a:lnTo>
                  <a:lnTo>
                    <a:pt x="138" y="6"/>
                  </a:lnTo>
                  <a:lnTo>
                    <a:pt x="138" y="11"/>
                  </a:lnTo>
                  <a:lnTo>
                    <a:pt x="136" y="18"/>
                  </a:lnTo>
                  <a:lnTo>
                    <a:pt x="133" y="17"/>
                  </a:lnTo>
                  <a:lnTo>
                    <a:pt x="125" y="20"/>
                  </a:lnTo>
                  <a:lnTo>
                    <a:pt x="120" y="24"/>
                  </a:lnTo>
                  <a:lnTo>
                    <a:pt x="118" y="24"/>
                  </a:lnTo>
                  <a:lnTo>
                    <a:pt x="115" y="28"/>
                  </a:lnTo>
                  <a:lnTo>
                    <a:pt x="113" y="28"/>
                  </a:lnTo>
                  <a:lnTo>
                    <a:pt x="109" y="27"/>
                  </a:lnTo>
                  <a:lnTo>
                    <a:pt x="104" y="25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27"/>
                  </a:lnTo>
                  <a:lnTo>
                    <a:pt x="103" y="25"/>
                  </a:lnTo>
                  <a:lnTo>
                    <a:pt x="101" y="24"/>
                  </a:lnTo>
                  <a:lnTo>
                    <a:pt x="98" y="23"/>
                  </a:lnTo>
                  <a:lnTo>
                    <a:pt x="94" y="22"/>
                  </a:lnTo>
                  <a:lnTo>
                    <a:pt x="93" y="26"/>
                  </a:lnTo>
                  <a:lnTo>
                    <a:pt x="90" y="24"/>
                  </a:lnTo>
                  <a:lnTo>
                    <a:pt x="88" y="24"/>
                  </a:lnTo>
                  <a:lnTo>
                    <a:pt x="88" y="25"/>
                  </a:lnTo>
                  <a:lnTo>
                    <a:pt x="86" y="24"/>
                  </a:lnTo>
                  <a:lnTo>
                    <a:pt x="85" y="23"/>
                  </a:lnTo>
                  <a:lnTo>
                    <a:pt x="83" y="22"/>
                  </a:lnTo>
                  <a:lnTo>
                    <a:pt x="80" y="20"/>
                  </a:lnTo>
                  <a:lnTo>
                    <a:pt x="77" y="18"/>
                  </a:lnTo>
                  <a:lnTo>
                    <a:pt x="77" y="17"/>
                  </a:lnTo>
                  <a:lnTo>
                    <a:pt x="75" y="15"/>
                  </a:lnTo>
                  <a:lnTo>
                    <a:pt x="61" y="11"/>
                  </a:lnTo>
                  <a:lnTo>
                    <a:pt x="53" y="8"/>
                  </a:lnTo>
                  <a:lnTo>
                    <a:pt x="49" y="5"/>
                  </a:lnTo>
                  <a:lnTo>
                    <a:pt x="44" y="3"/>
                  </a:lnTo>
                  <a:lnTo>
                    <a:pt x="43" y="2"/>
                  </a:lnTo>
                  <a:lnTo>
                    <a:pt x="40" y="2"/>
                  </a:lnTo>
                  <a:lnTo>
                    <a:pt x="37" y="0"/>
                  </a:lnTo>
                  <a:lnTo>
                    <a:pt x="35" y="0"/>
                  </a:lnTo>
                  <a:lnTo>
                    <a:pt x="29" y="4"/>
                  </a:lnTo>
                  <a:lnTo>
                    <a:pt x="24" y="5"/>
                  </a:lnTo>
                  <a:lnTo>
                    <a:pt x="20" y="6"/>
                  </a:lnTo>
                  <a:lnTo>
                    <a:pt x="18" y="6"/>
                  </a:lnTo>
                  <a:lnTo>
                    <a:pt x="16" y="6"/>
                  </a:lnTo>
                  <a:lnTo>
                    <a:pt x="10" y="9"/>
                  </a:lnTo>
                  <a:lnTo>
                    <a:pt x="8" y="9"/>
                  </a:lnTo>
                  <a:lnTo>
                    <a:pt x="4" y="11"/>
                  </a:lnTo>
                  <a:lnTo>
                    <a:pt x="3" y="13"/>
                  </a:lnTo>
                  <a:lnTo>
                    <a:pt x="5" y="17"/>
                  </a:lnTo>
                  <a:lnTo>
                    <a:pt x="4" y="21"/>
                  </a:lnTo>
                  <a:lnTo>
                    <a:pt x="7" y="23"/>
                  </a:lnTo>
                  <a:lnTo>
                    <a:pt x="7" y="26"/>
                  </a:lnTo>
                  <a:lnTo>
                    <a:pt x="0" y="33"/>
                  </a:lnTo>
                  <a:lnTo>
                    <a:pt x="3" y="36"/>
                  </a:lnTo>
                  <a:lnTo>
                    <a:pt x="5" y="37"/>
                  </a:lnTo>
                  <a:lnTo>
                    <a:pt x="2" y="39"/>
                  </a:lnTo>
                  <a:lnTo>
                    <a:pt x="3" y="41"/>
                  </a:lnTo>
                  <a:lnTo>
                    <a:pt x="5" y="43"/>
                  </a:lnTo>
                  <a:lnTo>
                    <a:pt x="6" y="45"/>
                  </a:lnTo>
                  <a:lnTo>
                    <a:pt x="4" y="46"/>
                  </a:lnTo>
                  <a:lnTo>
                    <a:pt x="5" y="47"/>
                  </a:lnTo>
                  <a:lnTo>
                    <a:pt x="7" y="48"/>
                  </a:lnTo>
                  <a:lnTo>
                    <a:pt x="8" y="51"/>
                  </a:lnTo>
                  <a:lnTo>
                    <a:pt x="10" y="52"/>
                  </a:lnTo>
                  <a:lnTo>
                    <a:pt x="11" y="54"/>
                  </a:lnTo>
                  <a:lnTo>
                    <a:pt x="12" y="54"/>
                  </a:lnTo>
                  <a:lnTo>
                    <a:pt x="13" y="53"/>
                  </a:lnTo>
                  <a:lnTo>
                    <a:pt x="15" y="55"/>
                  </a:lnTo>
                  <a:lnTo>
                    <a:pt x="15" y="58"/>
                  </a:lnTo>
                  <a:lnTo>
                    <a:pt x="16" y="58"/>
                  </a:lnTo>
                  <a:lnTo>
                    <a:pt x="20" y="60"/>
                  </a:lnTo>
                  <a:lnTo>
                    <a:pt x="26" y="60"/>
                  </a:lnTo>
                  <a:lnTo>
                    <a:pt x="38" y="58"/>
                  </a:lnTo>
                  <a:lnTo>
                    <a:pt x="36" y="44"/>
                  </a:lnTo>
                  <a:lnTo>
                    <a:pt x="38" y="43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2" y="43"/>
                  </a:lnTo>
                  <a:lnTo>
                    <a:pt x="45" y="43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9" y="43"/>
                  </a:lnTo>
                  <a:lnTo>
                    <a:pt x="50" y="44"/>
                  </a:lnTo>
                  <a:lnTo>
                    <a:pt x="50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2" y="42"/>
                  </a:lnTo>
                  <a:lnTo>
                    <a:pt x="51" y="40"/>
                  </a:lnTo>
                  <a:lnTo>
                    <a:pt x="53" y="38"/>
                  </a:lnTo>
                  <a:lnTo>
                    <a:pt x="58" y="41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4" y="44"/>
                  </a:lnTo>
                  <a:lnTo>
                    <a:pt x="65" y="43"/>
                  </a:lnTo>
                  <a:lnTo>
                    <a:pt x="69" y="44"/>
                  </a:lnTo>
                  <a:lnTo>
                    <a:pt x="72" y="46"/>
                  </a:lnTo>
                  <a:lnTo>
                    <a:pt x="73" y="47"/>
                  </a:lnTo>
                  <a:lnTo>
                    <a:pt x="75" y="47"/>
                  </a:lnTo>
                  <a:lnTo>
                    <a:pt x="76" y="49"/>
                  </a:lnTo>
                  <a:lnTo>
                    <a:pt x="82" y="51"/>
                  </a:lnTo>
                  <a:lnTo>
                    <a:pt x="83" y="50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2" y="54"/>
                  </a:lnTo>
                  <a:lnTo>
                    <a:pt x="93" y="55"/>
                  </a:lnTo>
                  <a:lnTo>
                    <a:pt x="94" y="54"/>
                  </a:lnTo>
                  <a:lnTo>
                    <a:pt x="99" y="57"/>
                  </a:lnTo>
                  <a:lnTo>
                    <a:pt x="98" y="60"/>
                  </a:lnTo>
                  <a:lnTo>
                    <a:pt x="97" y="68"/>
                  </a:lnTo>
                  <a:lnTo>
                    <a:pt x="98" y="72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5" y="74"/>
                  </a:lnTo>
                  <a:lnTo>
                    <a:pt x="107" y="73"/>
                  </a:lnTo>
                  <a:lnTo>
                    <a:pt x="108" y="72"/>
                  </a:lnTo>
                  <a:lnTo>
                    <a:pt x="111" y="73"/>
                  </a:lnTo>
                  <a:lnTo>
                    <a:pt x="112" y="73"/>
                  </a:lnTo>
                  <a:lnTo>
                    <a:pt x="113" y="73"/>
                  </a:lnTo>
                  <a:lnTo>
                    <a:pt x="114" y="73"/>
                  </a:lnTo>
                  <a:lnTo>
                    <a:pt x="114" y="72"/>
                  </a:lnTo>
                  <a:lnTo>
                    <a:pt x="120" y="69"/>
                  </a:lnTo>
                  <a:lnTo>
                    <a:pt x="121" y="71"/>
                  </a:lnTo>
                  <a:lnTo>
                    <a:pt x="120" y="73"/>
                  </a:lnTo>
                  <a:lnTo>
                    <a:pt x="118" y="74"/>
                  </a:lnTo>
                  <a:lnTo>
                    <a:pt x="119" y="77"/>
                  </a:lnTo>
                  <a:lnTo>
                    <a:pt x="122" y="77"/>
                  </a:lnTo>
                  <a:lnTo>
                    <a:pt x="125" y="76"/>
                  </a:lnTo>
                  <a:lnTo>
                    <a:pt x="126" y="74"/>
                  </a:lnTo>
                  <a:lnTo>
                    <a:pt x="126" y="72"/>
                  </a:lnTo>
                  <a:lnTo>
                    <a:pt x="127" y="72"/>
                  </a:lnTo>
                  <a:lnTo>
                    <a:pt x="129" y="71"/>
                  </a:lnTo>
                  <a:lnTo>
                    <a:pt x="129" y="70"/>
                  </a:lnTo>
                  <a:lnTo>
                    <a:pt x="131" y="73"/>
                  </a:lnTo>
                  <a:lnTo>
                    <a:pt x="135" y="72"/>
                  </a:lnTo>
                  <a:lnTo>
                    <a:pt x="136" y="72"/>
                  </a:lnTo>
                  <a:lnTo>
                    <a:pt x="137" y="69"/>
                  </a:lnTo>
                  <a:lnTo>
                    <a:pt x="140" y="69"/>
                  </a:lnTo>
                  <a:lnTo>
                    <a:pt x="142" y="66"/>
                  </a:lnTo>
                  <a:lnTo>
                    <a:pt x="143" y="66"/>
                  </a:lnTo>
                  <a:lnTo>
                    <a:pt x="145" y="64"/>
                  </a:lnTo>
                  <a:lnTo>
                    <a:pt x="146" y="63"/>
                  </a:lnTo>
                  <a:lnTo>
                    <a:pt x="147" y="62"/>
                  </a:lnTo>
                  <a:lnTo>
                    <a:pt x="150" y="62"/>
                  </a:lnTo>
                  <a:lnTo>
                    <a:pt x="151" y="62"/>
                  </a:lnTo>
                  <a:lnTo>
                    <a:pt x="154" y="62"/>
                  </a:lnTo>
                  <a:lnTo>
                    <a:pt x="155" y="63"/>
                  </a:lnTo>
                  <a:lnTo>
                    <a:pt x="157" y="63"/>
                  </a:lnTo>
                  <a:lnTo>
                    <a:pt x="159" y="62"/>
                  </a:lnTo>
                  <a:lnTo>
                    <a:pt x="162" y="60"/>
                  </a:lnTo>
                  <a:lnTo>
                    <a:pt x="184" y="45"/>
                  </a:lnTo>
                  <a:lnTo>
                    <a:pt x="196" y="28"/>
                  </a:lnTo>
                  <a:lnTo>
                    <a:pt x="199" y="25"/>
                  </a:lnTo>
                  <a:lnTo>
                    <a:pt x="197" y="24"/>
                  </a:lnTo>
                  <a:lnTo>
                    <a:pt x="196" y="21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4" name="Freeform 48"/>
            <p:cNvSpPr>
              <a:spLocks/>
            </p:cNvSpPr>
            <p:nvPr/>
          </p:nvSpPr>
          <p:spPr bwMode="auto">
            <a:xfrm>
              <a:off x="866" y="2004"/>
              <a:ext cx="760" cy="533"/>
            </a:xfrm>
            <a:custGeom>
              <a:avLst/>
              <a:gdLst>
                <a:gd name="T0" fmla="*/ 235831895 w 390"/>
                <a:gd name="T1" fmla="*/ 46476581 h 286"/>
                <a:gd name="T2" fmla="*/ 223335048 w 390"/>
                <a:gd name="T3" fmla="*/ 42216884 h 286"/>
                <a:gd name="T4" fmla="*/ 231436326 w 390"/>
                <a:gd name="T5" fmla="*/ 38739349 h 286"/>
                <a:gd name="T6" fmla="*/ 218282334 w 390"/>
                <a:gd name="T7" fmla="*/ 34913554 h 286"/>
                <a:gd name="T8" fmla="*/ 209578313 w 390"/>
                <a:gd name="T9" fmla="*/ 31402418 h 286"/>
                <a:gd name="T10" fmla="*/ 190641816 w 390"/>
                <a:gd name="T11" fmla="*/ 29371828 h 286"/>
                <a:gd name="T12" fmla="*/ 172086666 w 390"/>
                <a:gd name="T13" fmla="*/ 27267782 h 286"/>
                <a:gd name="T14" fmla="*/ 149767601 w 390"/>
                <a:gd name="T15" fmla="*/ 26626550 h 286"/>
                <a:gd name="T16" fmla="*/ 145974295 w 390"/>
                <a:gd name="T17" fmla="*/ 24768361 h 286"/>
                <a:gd name="T18" fmla="*/ 137271095 w 390"/>
                <a:gd name="T19" fmla="*/ 20153224 h 286"/>
                <a:gd name="T20" fmla="*/ 137954352 w 390"/>
                <a:gd name="T21" fmla="*/ 14563243 h 286"/>
                <a:gd name="T22" fmla="*/ 140732949 w 390"/>
                <a:gd name="T23" fmla="*/ 9704542 h 286"/>
                <a:gd name="T24" fmla="*/ 133512548 w 390"/>
                <a:gd name="T25" fmla="*/ 2878042 h 286"/>
                <a:gd name="T26" fmla="*/ 113694667 w 390"/>
                <a:gd name="T27" fmla="*/ 2878042 h 286"/>
                <a:gd name="T28" fmla="*/ 104029122 w 390"/>
                <a:gd name="T29" fmla="*/ 4786482 h 286"/>
                <a:gd name="T30" fmla="*/ 101809873 w 390"/>
                <a:gd name="T31" fmla="*/ 6542077 h 286"/>
                <a:gd name="T32" fmla="*/ 78628935 w 390"/>
                <a:gd name="T33" fmla="*/ 14801833 h 286"/>
                <a:gd name="T34" fmla="*/ 67165277 w 390"/>
                <a:gd name="T35" fmla="*/ 18380801 h 286"/>
                <a:gd name="T36" fmla="*/ 54369765 w 390"/>
                <a:gd name="T37" fmla="*/ 24536290 h 286"/>
                <a:gd name="T38" fmla="*/ 44164313 w 390"/>
                <a:gd name="T39" fmla="*/ 25721600 h 286"/>
                <a:gd name="T40" fmla="*/ 44164313 w 390"/>
                <a:gd name="T41" fmla="*/ 32857782 h 286"/>
                <a:gd name="T42" fmla="*/ 55352168 w 390"/>
                <a:gd name="T43" fmla="*/ 35743392 h 286"/>
                <a:gd name="T44" fmla="*/ 53661895 w 390"/>
                <a:gd name="T45" fmla="*/ 38387184 h 286"/>
                <a:gd name="T46" fmla="*/ 56058017 w 390"/>
                <a:gd name="T47" fmla="*/ 41899290 h 286"/>
                <a:gd name="T48" fmla="*/ 59771673 w 390"/>
                <a:gd name="T49" fmla="*/ 39663284 h 286"/>
                <a:gd name="T50" fmla="*/ 63049892 w 390"/>
                <a:gd name="T51" fmla="*/ 43954292 h 286"/>
                <a:gd name="T52" fmla="*/ 71161873 w 390"/>
                <a:gd name="T53" fmla="*/ 49988547 h 286"/>
                <a:gd name="T54" fmla="*/ 56058017 w 390"/>
                <a:gd name="T55" fmla="*/ 50580189 h 286"/>
                <a:gd name="T56" fmla="*/ 36147738 w 390"/>
                <a:gd name="T57" fmla="*/ 51776421 h 286"/>
                <a:gd name="T58" fmla="*/ 32354550 w 390"/>
                <a:gd name="T59" fmla="*/ 57146391 h 286"/>
                <a:gd name="T60" fmla="*/ 30091847 w 390"/>
                <a:gd name="T61" fmla="*/ 64430455 h 286"/>
                <a:gd name="T62" fmla="*/ 18549497 w 390"/>
                <a:gd name="T63" fmla="*/ 66168374 h 286"/>
                <a:gd name="T64" fmla="*/ 7393600 w 390"/>
                <a:gd name="T65" fmla="*/ 66484925 h 286"/>
                <a:gd name="T66" fmla="*/ 3794084 w 390"/>
                <a:gd name="T67" fmla="*/ 72789231 h 286"/>
                <a:gd name="T68" fmla="*/ 38105609 w 390"/>
                <a:gd name="T69" fmla="*/ 68710469 h 286"/>
                <a:gd name="T70" fmla="*/ 60406996 w 390"/>
                <a:gd name="T71" fmla="*/ 65654021 h 286"/>
                <a:gd name="T72" fmla="*/ 78969400 w 390"/>
                <a:gd name="T73" fmla="*/ 67441282 h 286"/>
                <a:gd name="T74" fmla="*/ 97272913 w 390"/>
                <a:gd name="T75" fmla="*/ 71271239 h 286"/>
                <a:gd name="T76" fmla="*/ 109241264 w 390"/>
                <a:gd name="T77" fmla="*/ 69210324 h 286"/>
                <a:gd name="T78" fmla="*/ 116478132 w 390"/>
                <a:gd name="T79" fmla="*/ 72048819 h 286"/>
                <a:gd name="T80" fmla="*/ 121018999 w 390"/>
                <a:gd name="T81" fmla="*/ 71539752 h 286"/>
                <a:gd name="T82" fmla="*/ 126156182 w 390"/>
                <a:gd name="T83" fmla="*/ 68393218 h 286"/>
                <a:gd name="T84" fmla="*/ 121018999 w 390"/>
                <a:gd name="T85" fmla="*/ 65654021 h 286"/>
                <a:gd name="T86" fmla="*/ 130886181 w 390"/>
                <a:gd name="T87" fmla="*/ 62814305 h 286"/>
                <a:gd name="T88" fmla="*/ 142111580 w 390"/>
                <a:gd name="T89" fmla="*/ 62654510 h 286"/>
                <a:gd name="T90" fmla="*/ 145974295 w 390"/>
                <a:gd name="T91" fmla="*/ 59079051 h 286"/>
                <a:gd name="T92" fmla="*/ 144706112 w 390"/>
                <a:gd name="T93" fmla="*/ 57973314 h 286"/>
                <a:gd name="T94" fmla="*/ 153225617 w 390"/>
                <a:gd name="T95" fmla="*/ 58841005 h 286"/>
                <a:gd name="T96" fmla="*/ 163566738 w 390"/>
                <a:gd name="T97" fmla="*/ 60803013 h 286"/>
                <a:gd name="T98" fmla="*/ 175376704 w 390"/>
                <a:gd name="T99" fmla="*/ 62074835 h 286"/>
                <a:gd name="T100" fmla="*/ 183453670 w 390"/>
                <a:gd name="T101" fmla="*/ 64113228 h 286"/>
                <a:gd name="T102" fmla="*/ 181486948 w 390"/>
                <a:gd name="T103" fmla="*/ 59772560 h 286"/>
                <a:gd name="T104" fmla="*/ 193932618 w 390"/>
                <a:gd name="T105" fmla="*/ 61552268 h 286"/>
                <a:gd name="T106" fmla="*/ 204488564 w 390"/>
                <a:gd name="T107" fmla="*/ 58841005 h 286"/>
                <a:gd name="T108" fmla="*/ 215684882 w 390"/>
                <a:gd name="T109" fmla="*/ 57146391 h 286"/>
                <a:gd name="T110" fmla="*/ 225708415 w 390"/>
                <a:gd name="T111" fmla="*/ 56977221 h 286"/>
                <a:gd name="T112" fmla="*/ 235230077 w 390"/>
                <a:gd name="T113" fmla="*/ 55681034 h 286"/>
                <a:gd name="T114" fmla="*/ 243250255 w 390"/>
                <a:gd name="T115" fmla="*/ 51091602 h 28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90" h="286">
                  <a:moveTo>
                    <a:pt x="389" y="196"/>
                  </a:moveTo>
                  <a:lnTo>
                    <a:pt x="389" y="192"/>
                  </a:lnTo>
                  <a:lnTo>
                    <a:pt x="389" y="190"/>
                  </a:lnTo>
                  <a:lnTo>
                    <a:pt x="384" y="189"/>
                  </a:lnTo>
                  <a:lnTo>
                    <a:pt x="385" y="188"/>
                  </a:lnTo>
                  <a:lnTo>
                    <a:pt x="382" y="186"/>
                  </a:lnTo>
                  <a:lnTo>
                    <a:pt x="378" y="182"/>
                  </a:lnTo>
                  <a:lnTo>
                    <a:pt x="375" y="181"/>
                  </a:lnTo>
                  <a:lnTo>
                    <a:pt x="374" y="179"/>
                  </a:lnTo>
                  <a:lnTo>
                    <a:pt x="371" y="177"/>
                  </a:lnTo>
                  <a:lnTo>
                    <a:pt x="363" y="173"/>
                  </a:lnTo>
                  <a:lnTo>
                    <a:pt x="357" y="173"/>
                  </a:lnTo>
                  <a:lnTo>
                    <a:pt x="357" y="167"/>
                  </a:lnTo>
                  <a:lnTo>
                    <a:pt x="358" y="165"/>
                  </a:lnTo>
                  <a:lnTo>
                    <a:pt x="359" y="163"/>
                  </a:lnTo>
                  <a:lnTo>
                    <a:pt x="358" y="162"/>
                  </a:lnTo>
                  <a:lnTo>
                    <a:pt x="367" y="160"/>
                  </a:lnTo>
                  <a:lnTo>
                    <a:pt x="370" y="158"/>
                  </a:lnTo>
                  <a:lnTo>
                    <a:pt x="371" y="156"/>
                  </a:lnTo>
                  <a:lnTo>
                    <a:pt x="370" y="156"/>
                  </a:lnTo>
                  <a:lnTo>
                    <a:pt x="369" y="154"/>
                  </a:lnTo>
                  <a:lnTo>
                    <a:pt x="371" y="152"/>
                  </a:lnTo>
                  <a:lnTo>
                    <a:pt x="371" y="153"/>
                  </a:lnTo>
                  <a:lnTo>
                    <a:pt x="372" y="152"/>
                  </a:lnTo>
                  <a:lnTo>
                    <a:pt x="373" y="146"/>
                  </a:lnTo>
                  <a:lnTo>
                    <a:pt x="360" y="143"/>
                  </a:lnTo>
                  <a:lnTo>
                    <a:pt x="357" y="141"/>
                  </a:lnTo>
                  <a:lnTo>
                    <a:pt x="354" y="141"/>
                  </a:lnTo>
                  <a:lnTo>
                    <a:pt x="350" y="140"/>
                  </a:lnTo>
                  <a:lnTo>
                    <a:pt x="350" y="137"/>
                  </a:lnTo>
                  <a:lnTo>
                    <a:pt x="352" y="136"/>
                  </a:lnTo>
                  <a:lnTo>
                    <a:pt x="351" y="127"/>
                  </a:lnTo>
                  <a:lnTo>
                    <a:pt x="346" y="123"/>
                  </a:lnTo>
                  <a:lnTo>
                    <a:pt x="344" y="125"/>
                  </a:lnTo>
                  <a:lnTo>
                    <a:pt x="342" y="124"/>
                  </a:lnTo>
                  <a:lnTo>
                    <a:pt x="338" y="127"/>
                  </a:lnTo>
                  <a:lnTo>
                    <a:pt x="337" y="126"/>
                  </a:lnTo>
                  <a:lnTo>
                    <a:pt x="336" y="123"/>
                  </a:lnTo>
                  <a:lnTo>
                    <a:pt x="334" y="121"/>
                  </a:lnTo>
                  <a:lnTo>
                    <a:pt x="331" y="121"/>
                  </a:lnTo>
                  <a:lnTo>
                    <a:pt x="327" y="122"/>
                  </a:lnTo>
                  <a:lnTo>
                    <a:pt x="320" y="122"/>
                  </a:lnTo>
                  <a:lnTo>
                    <a:pt x="315" y="122"/>
                  </a:lnTo>
                  <a:lnTo>
                    <a:pt x="312" y="123"/>
                  </a:lnTo>
                  <a:lnTo>
                    <a:pt x="308" y="121"/>
                  </a:lnTo>
                  <a:lnTo>
                    <a:pt x="306" y="115"/>
                  </a:lnTo>
                  <a:lnTo>
                    <a:pt x="304" y="115"/>
                  </a:lnTo>
                  <a:lnTo>
                    <a:pt x="301" y="111"/>
                  </a:lnTo>
                  <a:lnTo>
                    <a:pt x="297" y="108"/>
                  </a:lnTo>
                  <a:lnTo>
                    <a:pt x="294" y="100"/>
                  </a:lnTo>
                  <a:lnTo>
                    <a:pt x="280" y="99"/>
                  </a:lnTo>
                  <a:lnTo>
                    <a:pt x="281" y="103"/>
                  </a:lnTo>
                  <a:lnTo>
                    <a:pt x="281" y="106"/>
                  </a:lnTo>
                  <a:lnTo>
                    <a:pt x="276" y="107"/>
                  </a:lnTo>
                  <a:lnTo>
                    <a:pt x="269" y="106"/>
                  </a:lnTo>
                  <a:lnTo>
                    <a:pt x="267" y="104"/>
                  </a:lnTo>
                  <a:lnTo>
                    <a:pt x="262" y="106"/>
                  </a:lnTo>
                  <a:lnTo>
                    <a:pt x="257" y="106"/>
                  </a:lnTo>
                  <a:lnTo>
                    <a:pt x="251" y="106"/>
                  </a:lnTo>
                  <a:lnTo>
                    <a:pt x="248" y="103"/>
                  </a:lnTo>
                  <a:lnTo>
                    <a:pt x="242" y="103"/>
                  </a:lnTo>
                  <a:lnTo>
                    <a:pt x="240" y="104"/>
                  </a:lnTo>
                  <a:lnTo>
                    <a:pt x="241" y="107"/>
                  </a:lnTo>
                  <a:lnTo>
                    <a:pt x="239" y="108"/>
                  </a:lnTo>
                  <a:lnTo>
                    <a:pt x="238" y="106"/>
                  </a:lnTo>
                  <a:lnTo>
                    <a:pt x="236" y="106"/>
                  </a:lnTo>
                  <a:lnTo>
                    <a:pt x="234" y="103"/>
                  </a:lnTo>
                  <a:lnTo>
                    <a:pt x="235" y="101"/>
                  </a:lnTo>
                  <a:lnTo>
                    <a:pt x="236" y="97"/>
                  </a:lnTo>
                  <a:lnTo>
                    <a:pt x="234" y="97"/>
                  </a:lnTo>
                  <a:lnTo>
                    <a:pt x="231" y="97"/>
                  </a:lnTo>
                  <a:lnTo>
                    <a:pt x="231" y="94"/>
                  </a:lnTo>
                  <a:lnTo>
                    <a:pt x="229" y="93"/>
                  </a:lnTo>
                  <a:lnTo>
                    <a:pt x="229" y="90"/>
                  </a:lnTo>
                  <a:lnTo>
                    <a:pt x="227" y="89"/>
                  </a:lnTo>
                  <a:lnTo>
                    <a:pt x="224" y="83"/>
                  </a:lnTo>
                  <a:lnTo>
                    <a:pt x="224" y="80"/>
                  </a:lnTo>
                  <a:lnTo>
                    <a:pt x="220" y="79"/>
                  </a:lnTo>
                  <a:lnTo>
                    <a:pt x="220" y="77"/>
                  </a:lnTo>
                  <a:lnTo>
                    <a:pt x="219" y="74"/>
                  </a:lnTo>
                  <a:lnTo>
                    <a:pt x="216" y="74"/>
                  </a:lnTo>
                  <a:lnTo>
                    <a:pt x="217" y="71"/>
                  </a:lnTo>
                  <a:lnTo>
                    <a:pt x="218" y="66"/>
                  </a:lnTo>
                  <a:lnTo>
                    <a:pt x="217" y="61"/>
                  </a:lnTo>
                  <a:lnTo>
                    <a:pt x="222" y="59"/>
                  </a:lnTo>
                  <a:lnTo>
                    <a:pt x="221" y="57"/>
                  </a:lnTo>
                  <a:lnTo>
                    <a:pt x="218" y="56"/>
                  </a:lnTo>
                  <a:lnTo>
                    <a:pt x="222" y="54"/>
                  </a:lnTo>
                  <a:lnTo>
                    <a:pt x="226" y="52"/>
                  </a:lnTo>
                  <a:lnTo>
                    <a:pt x="229" y="50"/>
                  </a:lnTo>
                  <a:lnTo>
                    <a:pt x="229" y="45"/>
                  </a:lnTo>
                  <a:lnTo>
                    <a:pt x="230" y="41"/>
                  </a:lnTo>
                  <a:lnTo>
                    <a:pt x="226" y="41"/>
                  </a:lnTo>
                  <a:lnTo>
                    <a:pt x="226" y="38"/>
                  </a:lnTo>
                  <a:lnTo>
                    <a:pt x="226" y="35"/>
                  </a:lnTo>
                  <a:lnTo>
                    <a:pt x="227" y="32"/>
                  </a:lnTo>
                  <a:lnTo>
                    <a:pt x="226" y="31"/>
                  </a:lnTo>
                  <a:lnTo>
                    <a:pt x="224" y="27"/>
                  </a:lnTo>
                  <a:lnTo>
                    <a:pt x="223" y="20"/>
                  </a:lnTo>
                  <a:lnTo>
                    <a:pt x="223" y="18"/>
                  </a:lnTo>
                  <a:lnTo>
                    <a:pt x="215" y="14"/>
                  </a:lnTo>
                  <a:lnTo>
                    <a:pt x="214" y="11"/>
                  </a:lnTo>
                  <a:lnTo>
                    <a:pt x="211" y="6"/>
                  </a:lnTo>
                  <a:lnTo>
                    <a:pt x="207" y="5"/>
                  </a:lnTo>
                  <a:lnTo>
                    <a:pt x="203" y="6"/>
                  </a:lnTo>
                  <a:lnTo>
                    <a:pt x="193" y="16"/>
                  </a:lnTo>
                  <a:lnTo>
                    <a:pt x="190" y="13"/>
                  </a:lnTo>
                  <a:lnTo>
                    <a:pt x="188" y="15"/>
                  </a:lnTo>
                  <a:lnTo>
                    <a:pt x="184" y="17"/>
                  </a:lnTo>
                  <a:lnTo>
                    <a:pt x="182" y="11"/>
                  </a:lnTo>
                  <a:lnTo>
                    <a:pt x="178" y="5"/>
                  </a:lnTo>
                  <a:lnTo>
                    <a:pt x="174" y="1"/>
                  </a:lnTo>
                  <a:lnTo>
                    <a:pt x="172" y="0"/>
                  </a:lnTo>
                  <a:lnTo>
                    <a:pt x="172" y="1"/>
                  </a:lnTo>
                  <a:lnTo>
                    <a:pt x="172" y="3"/>
                  </a:lnTo>
                  <a:lnTo>
                    <a:pt x="171" y="7"/>
                  </a:lnTo>
                  <a:lnTo>
                    <a:pt x="169" y="10"/>
                  </a:lnTo>
                  <a:lnTo>
                    <a:pt x="167" y="19"/>
                  </a:lnTo>
                  <a:lnTo>
                    <a:pt x="165" y="22"/>
                  </a:lnTo>
                  <a:lnTo>
                    <a:pt x="164" y="24"/>
                  </a:lnTo>
                  <a:lnTo>
                    <a:pt x="163" y="23"/>
                  </a:lnTo>
                  <a:lnTo>
                    <a:pt x="164" y="20"/>
                  </a:lnTo>
                  <a:lnTo>
                    <a:pt x="162" y="24"/>
                  </a:lnTo>
                  <a:lnTo>
                    <a:pt x="163" y="25"/>
                  </a:lnTo>
                  <a:lnTo>
                    <a:pt x="163" y="26"/>
                  </a:lnTo>
                  <a:lnTo>
                    <a:pt x="163" y="29"/>
                  </a:lnTo>
                  <a:lnTo>
                    <a:pt x="160" y="32"/>
                  </a:lnTo>
                  <a:lnTo>
                    <a:pt x="149" y="43"/>
                  </a:lnTo>
                  <a:lnTo>
                    <a:pt x="139" y="50"/>
                  </a:lnTo>
                  <a:lnTo>
                    <a:pt x="138" y="49"/>
                  </a:lnTo>
                  <a:lnTo>
                    <a:pt x="136" y="51"/>
                  </a:lnTo>
                  <a:lnTo>
                    <a:pt x="131" y="53"/>
                  </a:lnTo>
                  <a:lnTo>
                    <a:pt x="126" y="58"/>
                  </a:lnTo>
                  <a:lnTo>
                    <a:pt x="121" y="60"/>
                  </a:lnTo>
                  <a:lnTo>
                    <a:pt x="117" y="58"/>
                  </a:lnTo>
                  <a:lnTo>
                    <a:pt x="119" y="61"/>
                  </a:lnTo>
                  <a:lnTo>
                    <a:pt x="117" y="62"/>
                  </a:lnTo>
                  <a:lnTo>
                    <a:pt x="116" y="63"/>
                  </a:lnTo>
                  <a:lnTo>
                    <a:pt x="112" y="69"/>
                  </a:lnTo>
                  <a:lnTo>
                    <a:pt x="108" y="72"/>
                  </a:lnTo>
                  <a:lnTo>
                    <a:pt x="106" y="74"/>
                  </a:lnTo>
                  <a:lnTo>
                    <a:pt x="105" y="77"/>
                  </a:lnTo>
                  <a:lnTo>
                    <a:pt x="102" y="85"/>
                  </a:lnTo>
                  <a:lnTo>
                    <a:pt x="100" y="92"/>
                  </a:lnTo>
                  <a:lnTo>
                    <a:pt x="97" y="94"/>
                  </a:lnTo>
                  <a:lnTo>
                    <a:pt x="91" y="94"/>
                  </a:lnTo>
                  <a:lnTo>
                    <a:pt x="89" y="95"/>
                  </a:lnTo>
                  <a:lnTo>
                    <a:pt x="87" y="96"/>
                  </a:lnTo>
                  <a:lnTo>
                    <a:pt x="86" y="96"/>
                  </a:lnTo>
                  <a:lnTo>
                    <a:pt x="85" y="97"/>
                  </a:lnTo>
                  <a:lnTo>
                    <a:pt x="83" y="96"/>
                  </a:lnTo>
                  <a:lnTo>
                    <a:pt x="82" y="98"/>
                  </a:lnTo>
                  <a:lnTo>
                    <a:pt x="76" y="99"/>
                  </a:lnTo>
                  <a:lnTo>
                    <a:pt x="75" y="100"/>
                  </a:lnTo>
                  <a:lnTo>
                    <a:pt x="74" y="100"/>
                  </a:lnTo>
                  <a:lnTo>
                    <a:pt x="71" y="101"/>
                  </a:lnTo>
                  <a:lnTo>
                    <a:pt x="70" y="101"/>
                  </a:lnTo>
                  <a:lnTo>
                    <a:pt x="67" y="99"/>
                  </a:lnTo>
                  <a:lnTo>
                    <a:pt x="64" y="111"/>
                  </a:lnTo>
                  <a:lnTo>
                    <a:pt x="75" y="120"/>
                  </a:lnTo>
                  <a:lnTo>
                    <a:pt x="74" y="123"/>
                  </a:lnTo>
                  <a:lnTo>
                    <a:pt x="73" y="126"/>
                  </a:lnTo>
                  <a:lnTo>
                    <a:pt x="71" y="129"/>
                  </a:lnTo>
                  <a:lnTo>
                    <a:pt x="76" y="130"/>
                  </a:lnTo>
                  <a:lnTo>
                    <a:pt x="79" y="131"/>
                  </a:lnTo>
                  <a:lnTo>
                    <a:pt x="82" y="132"/>
                  </a:lnTo>
                  <a:lnTo>
                    <a:pt x="84" y="133"/>
                  </a:lnTo>
                  <a:lnTo>
                    <a:pt x="84" y="136"/>
                  </a:lnTo>
                  <a:lnTo>
                    <a:pt x="88" y="137"/>
                  </a:lnTo>
                  <a:lnTo>
                    <a:pt x="88" y="139"/>
                  </a:lnTo>
                  <a:lnTo>
                    <a:pt x="89" y="140"/>
                  </a:lnTo>
                  <a:lnTo>
                    <a:pt x="91" y="142"/>
                  </a:lnTo>
                  <a:lnTo>
                    <a:pt x="90" y="143"/>
                  </a:lnTo>
                  <a:lnTo>
                    <a:pt x="88" y="144"/>
                  </a:lnTo>
                  <a:lnTo>
                    <a:pt x="87" y="147"/>
                  </a:lnTo>
                  <a:lnTo>
                    <a:pt x="89" y="147"/>
                  </a:lnTo>
                  <a:lnTo>
                    <a:pt x="90" y="148"/>
                  </a:lnTo>
                  <a:lnTo>
                    <a:pt x="86" y="149"/>
                  </a:lnTo>
                  <a:lnTo>
                    <a:pt x="86" y="150"/>
                  </a:lnTo>
                  <a:lnTo>
                    <a:pt x="87" y="151"/>
                  </a:lnTo>
                  <a:lnTo>
                    <a:pt x="85" y="152"/>
                  </a:lnTo>
                  <a:lnTo>
                    <a:pt x="85" y="156"/>
                  </a:lnTo>
                  <a:lnTo>
                    <a:pt x="83" y="158"/>
                  </a:lnTo>
                  <a:lnTo>
                    <a:pt x="82" y="158"/>
                  </a:lnTo>
                  <a:lnTo>
                    <a:pt x="80" y="161"/>
                  </a:lnTo>
                  <a:lnTo>
                    <a:pt x="83" y="165"/>
                  </a:lnTo>
                  <a:lnTo>
                    <a:pt x="90" y="164"/>
                  </a:lnTo>
                  <a:lnTo>
                    <a:pt x="91" y="162"/>
                  </a:lnTo>
                  <a:lnTo>
                    <a:pt x="94" y="162"/>
                  </a:lnTo>
                  <a:lnTo>
                    <a:pt x="96" y="160"/>
                  </a:lnTo>
                  <a:lnTo>
                    <a:pt x="95" y="159"/>
                  </a:lnTo>
                  <a:lnTo>
                    <a:pt x="95" y="158"/>
                  </a:lnTo>
                  <a:lnTo>
                    <a:pt x="97" y="158"/>
                  </a:lnTo>
                  <a:lnTo>
                    <a:pt x="97" y="155"/>
                  </a:lnTo>
                  <a:lnTo>
                    <a:pt x="96" y="155"/>
                  </a:lnTo>
                  <a:lnTo>
                    <a:pt x="96" y="153"/>
                  </a:lnTo>
                  <a:lnTo>
                    <a:pt x="98" y="152"/>
                  </a:lnTo>
                  <a:lnTo>
                    <a:pt x="99" y="152"/>
                  </a:lnTo>
                  <a:lnTo>
                    <a:pt x="100" y="153"/>
                  </a:lnTo>
                  <a:lnTo>
                    <a:pt x="101" y="160"/>
                  </a:lnTo>
                  <a:lnTo>
                    <a:pt x="102" y="159"/>
                  </a:lnTo>
                  <a:lnTo>
                    <a:pt x="102" y="167"/>
                  </a:lnTo>
                  <a:lnTo>
                    <a:pt x="101" y="172"/>
                  </a:lnTo>
                  <a:lnTo>
                    <a:pt x="102" y="175"/>
                  </a:lnTo>
                  <a:lnTo>
                    <a:pt x="106" y="177"/>
                  </a:lnTo>
                  <a:lnTo>
                    <a:pt x="106" y="184"/>
                  </a:lnTo>
                  <a:lnTo>
                    <a:pt x="108" y="187"/>
                  </a:lnTo>
                  <a:lnTo>
                    <a:pt x="109" y="189"/>
                  </a:lnTo>
                  <a:lnTo>
                    <a:pt x="112" y="191"/>
                  </a:lnTo>
                  <a:lnTo>
                    <a:pt x="113" y="192"/>
                  </a:lnTo>
                  <a:lnTo>
                    <a:pt x="114" y="196"/>
                  </a:lnTo>
                  <a:lnTo>
                    <a:pt x="117" y="199"/>
                  </a:lnTo>
                  <a:lnTo>
                    <a:pt x="115" y="203"/>
                  </a:lnTo>
                  <a:lnTo>
                    <a:pt x="116" y="206"/>
                  </a:lnTo>
                  <a:lnTo>
                    <a:pt x="112" y="209"/>
                  </a:lnTo>
                  <a:lnTo>
                    <a:pt x="107" y="207"/>
                  </a:lnTo>
                  <a:lnTo>
                    <a:pt x="98" y="202"/>
                  </a:lnTo>
                  <a:lnTo>
                    <a:pt x="90" y="198"/>
                  </a:lnTo>
                  <a:lnTo>
                    <a:pt x="85" y="196"/>
                  </a:lnTo>
                  <a:lnTo>
                    <a:pt x="77" y="195"/>
                  </a:lnTo>
                  <a:lnTo>
                    <a:pt x="73" y="197"/>
                  </a:lnTo>
                  <a:lnTo>
                    <a:pt x="70" y="199"/>
                  </a:lnTo>
                  <a:lnTo>
                    <a:pt x="65" y="201"/>
                  </a:lnTo>
                  <a:lnTo>
                    <a:pt x="59" y="201"/>
                  </a:lnTo>
                  <a:lnTo>
                    <a:pt x="58" y="203"/>
                  </a:lnTo>
                  <a:lnTo>
                    <a:pt x="55" y="206"/>
                  </a:lnTo>
                  <a:lnTo>
                    <a:pt x="53" y="208"/>
                  </a:lnTo>
                  <a:lnTo>
                    <a:pt x="52" y="211"/>
                  </a:lnTo>
                  <a:lnTo>
                    <a:pt x="51" y="214"/>
                  </a:lnTo>
                  <a:lnTo>
                    <a:pt x="51" y="216"/>
                  </a:lnTo>
                  <a:lnTo>
                    <a:pt x="51" y="219"/>
                  </a:lnTo>
                  <a:lnTo>
                    <a:pt x="52" y="224"/>
                  </a:lnTo>
                  <a:lnTo>
                    <a:pt x="53" y="229"/>
                  </a:lnTo>
                  <a:lnTo>
                    <a:pt x="53" y="235"/>
                  </a:lnTo>
                  <a:lnTo>
                    <a:pt x="53" y="238"/>
                  </a:lnTo>
                  <a:lnTo>
                    <a:pt x="53" y="242"/>
                  </a:lnTo>
                  <a:lnTo>
                    <a:pt x="52" y="244"/>
                  </a:lnTo>
                  <a:lnTo>
                    <a:pt x="51" y="247"/>
                  </a:lnTo>
                  <a:lnTo>
                    <a:pt x="50" y="250"/>
                  </a:lnTo>
                  <a:lnTo>
                    <a:pt x="48" y="252"/>
                  </a:lnTo>
                  <a:lnTo>
                    <a:pt x="45" y="254"/>
                  </a:lnTo>
                  <a:lnTo>
                    <a:pt x="43" y="256"/>
                  </a:lnTo>
                  <a:lnTo>
                    <a:pt x="34" y="260"/>
                  </a:lnTo>
                  <a:lnTo>
                    <a:pt x="33" y="260"/>
                  </a:lnTo>
                  <a:lnTo>
                    <a:pt x="31" y="260"/>
                  </a:lnTo>
                  <a:lnTo>
                    <a:pt x="30" y="259"/>
                  </a:lnTo>
                  <a:lnTo>
                    <a:pt x="29" y="258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3" y="257"/>
                  </a:lnTo>
                  <a:lnTo>
                    <a:pt x="19" y="257"/>
                  </a:lnTo>
                  <a:lnTo>
                    <a:pt x="16" y="259"/>
                  </a:lnTo>
                  <a:lnTo>
                    <a:pt x="12" y="260"/>
                  </a:lnTo>
                  <a:lnTo>
                    <a:pt x="5" y="264"/>
                  </a:lnTo>
                  <a:lnTo>
                    <a:pt x="0" y="268"/>
                  </a:lnTo>
                  <a:lnTo>
                    <a:pt x="5" y="271"/>
                  </a:lnTo>
                  <a:lnTo>
                    <a:pt x="9" y="273"/>
                  </a:lnTo>
                  <a:lnTo>
                    <a:pt x="8" y="277"/>
                  </a:lnTo>
                  <a:lnTo>
                    <a:pt x="9" y="279"/>
                  </a:lnTo>
                  <a:lnTo>
                    <a:pt x="5" y="283"/>
                  </a:lnTo>
                  <a:lnTo>
                    <a:pt x="6" y="285"/>
                  </a:lnTo>
                  <a:lnTo>
                    <a:pt x="15" y="283"/>
                  </a:lnTo>
                  <a:lnTo>
                    <a:pt x="26" y="283"/>
                  </a:lnTo>
                  <a:lnTo>
                    <a:pt x="33" y="286"/>
                  </a:lnTo>
                  <a:lnTo>
                    <a:pt x="38" y="284"/>
                  </a:lnTo>
                  <a:lnTo>
                    <a:pt x="44" y="285"/>
                  </a:lnTo>
                  <a:lnTo>
                    <a:pt x="50" y="283"/>
                  </a:lnTo>
                  <a:lnTo>
                    <a:pt x="58" y="278"/>
                  </a:lnTo>
                  <a:lnTo>
                    <a:pt x="61" y="269"/>
                  </a:lnTo>
                  <a:lnTo>
                    <a:pt x="66" y="258"/>
                  </a:lnTo>
                  <a:lnTo>
                    <a:pt x="70" y="254"/>
                  </a:lnTo>
                  <a:lnTo>
                    <a:pt x="75" y="259"/>
                  </a:lnTo>
                  <a:lnTo>
                    <a:pt x="80" y="260"/>
                  </a:lnTo>
                  <a:lnTo>
                    <a:pt x="84" y="258"/>
                  </a:lnTo>
                  <a:lnTo>
                    <a:pt x="88" y="252"/>
                  </a:lnTo>
                  <a:lnTo>
                    <a:pt x="93" y="254"/>
                  </a:lnTo>
                  <a:lnTo>
                    <a:pt x="97" y="257"/>
                  </a:lnTo>
                  <a:lnTo>
                    <a:pt x="100" y="257"/>
                  </a:lnTo>
                  <a:lnTo>
                    <a:pt x="103" y="253"/>
                  </a:lnTo>
                  <a:lnTo>
                    <a:pt x="107" y="253"/>
                  </a:lnTo>
                  <a:lnTo>
                    <a:pt x="112" y="252"/>
                  </a:lnTo>
                  <a:lnTo>
                    <a:pt x="117" y="256"/>
                  </a:lnTo>
                  <a:lnTo>
                    <a:pt x="121" y="256"/>
                  </a:lnTo>
                  <a:lnTo>
                    <a:pt x="124" y="260"/>
                  </a:lnTo>
                  <a:lnTo>
                    <a:pt x="127" y="264"/>
                  </a:lnTo>
                  <a:lnTo>
                    <a:pt x="132" y="266"/>
                  </a:lnTo>
                  <a:lnTo>
                    <a:pt x="134" y="268"/>
                  </a:lnTo>
                  <a:lnTo>
                    <a:pt x="136" y="271"/>
                  </a:lnTo>
                  <a:lnTo>
                    <a:pt x="142" y="272"/>
                  </a:lnTo>
                  <a:lnTo>
                    <a:pt x="145" y="275"/>
                  </a:lnTo>
                  <a:lnTo>
                    <a:pt x="146" y="278"/>
                  </a:lnTo>
                  <a:lnTo>
                    <a:pt x="150" y="279"/>
                  </a:lnTo>
                  <a:lnTo>
                    <a:pt x="156" y="279"/>
                  </a:lnTo>
                  <a:lnTo>
                    <a:pt x="159" y="278"/>
                  </a:lnTo>
                  <a:lnTo>
                    <a:pt x="165" y="277"/>
                  </a:lnTo>
                  <a:lnTo>
                    <a:pt x="172" y="278"/>
                  </a:lnTo>
                  <a:lnTo>
                    <a:pt x="173" y="276"/>
                  </a:lnTo>
                  <a:lnTo>
                    <a:pt x="173" y="275"/>
                  </a:lnTo>
                  <a:lnTo>
                    <a:pt x="172" y="273"/>
                  </a:lnTo>
                  <a:lnTo>
                    <a:pt x="172" y="271"/>
                  </a:lnTo>
                  <a:lnTo>
                    <a:pt x="175" y="271"/>
                  </a:lnTo>
                  <a:lnTo>
                    <a:pt x="177" y="270"/>
                  </a:lnTo>
                  <a:lnTo>
                    <a:pt x="179" y="271"/>
                  </a:lnTo>
                  <a:lnTo>
                    <a:pt x="182" y="276"/>
                  </a:lnTo>
                  <a:lnTo>
                    <a:pt x="183" y="277"/>
                  </a:lnTo>
                  <a:lnTo>
                    <a:pt x="183" y="280"/>
                  </a:lnTo>
                  <a:lnTo>
                    <a:pt x="186" y="280"/>
                  </a:lnTo>
                  <a:lnTo>
                    <a:pt x="187" y="282"/>
                  </a:lnTo>
                  <a:lnTo>
                    <a:pt x="187" y="283"/>
                  </a:lnTo>
                  <a:lnTo>
                    <a:pt x="190" y="283"/>
                  </a:lnTo>
                  <a:lnTo>
                    <a:pt x="191" y="283"/>
                  </a:lnTo>
                  <a:lnTo>
                    <a:pt x="191" y="282"/>
                  </a:lnTo>
                  <a:lnTo>
                    <a:pt x="194" y="282"/>
                  </a:lnTo>
                  <a:lnTo>
                    <a:pt x="194" y="281"/>
                  </a:lnTo>
                  <a:lnTo>
                    <a:pt x="194" y="280"/>
                  </a:lnTo>
                  <a:lnTo>
                    <a:pt x="195" y="280"/>
                  </a:lnTo>
                  <a:lnTo>
                    <a:pt x="198" y="277"/>
                  </a:lnTo>
                  <a:lnTo>
                    <a:pt x="199" y="277"/>
                  </a:lnTo>
                  <a:lnTo>
                    <a:pt x="202" y="275"/>
                  </a:lnTo>
                  <a:lnTo>
                    <a:pt x="202" y="273"/>
                  </a:lnTo>
                  <a:lnTo>
                    <a:pt x="200" y="272"/>
                  </a:lnTo>
                  <a:lnTo>
                    <a:pt x="200" y="271"/>
                  </a:lnTo>
                  <a:lnTo>
                    <a:pt x="202" y="268"/>
                  </a:lnTo>
                  <a:lnTo>
                    <a:pt x="198" y="268"/>
                  </a:lnTo>
                  <a:lnTo>
                    <a:pt x="198" y="264"/>
                  </a:lnTo>
                  <a:lnTo>
                    <a:pt x="199" y="264"/>
                  </a:lnTo>
                  <a:lnTo>
                    <a:pt x="194" y="259"/>
                  </a:lnTo>
                  <a:lnTo>
                    <a:pt x="193" y="258"/>
                  </a:lnTo>
                  <a:lnTo>
                    <a:pt x="192" y="257"/>
                  </a:lnTo>
                  <a:lnTo>
                    <a:pt x="194" y="257"/>
                  </a:lnTo>
                  <a:lnTo>
                    <a:pt x="192" y="254"/>
                  </a:lnTo>
                  <a:lnTo>
                    <a:pt x="195" y="249"/>
                  </a:lnTo>
                  <a:lnTo>
                    <a:pt x="197" y="250"/>
                  </a:lnTo>
                  <a:lnTo>
                    <a:pt x="201" y="251"/>
                  </a:lnTo>
                  <a:lnTo>
                    <a:pt x="202" y="252"/>
                  </a:lnTo>
                  <a:lnTo>
                    <a:pt x="206" y="250"/>
                  </a:lnTo>
                  <a:lnTo>
                    <a:pt x="207" y="249"/>
                  </a:lnTo>
                  <a:lnTo>
                    <a:pt x="210" y="246"/>
                  </a:lnTo>
                  <a:lnTo>
                    <a:pt x="211" y="247"/>
                  </a:lnTo>
                  <a:lnTo>
                    <a:pt x="212" y="246"/>
                  </a:lnTo>
                  <a:lnTo>
                    <a:pt x="216" y="243"/>
                  </a:lnTo>
                  <a:lnTo>
                    <a:pt x="216" y="242"/>
                  </a:lnTo>
                  <a:lnTo>
                    <a:pt x="217" y="241"/>
                  </a:lnTo>
                  <a:lnTo>
                    <a:pt x="218" y="238"/>
                  </a:lnTo>
                  <a:lnTo>
                    <a:pt x="225" y="244"/>
                  </a:lnTo>
                  <a:lnTo>
                    <a:pt x="228" y="245"/>
                  </a:lnTo>
                  <a:lnTo>
                    <a:pt x="235" y="245"/>
                  </a:lnTo>
                  <a:lnTo>
                    <a:pt x="241" y="247"/>
                  </a:lnTo>
                  <a:lnTo>
                    <a:pt x="241" y="246"/>
                  </a:lnTo>
                  <a:lnTo>
                    <a:pt x="240" y="242"/>
                  </a:lnTo>
                  <a:lnTo>
                    <a:pt x="241" y="240"/>
                  </a:lnTo>
                  <a:lnTo>
                    <a:pt x="236" y="237"/>
                  </a:lnTo>
                  <a:lnTo>
                    <a:pt x="236" y="234"/>
                  </a:lnTo>
                  <a:lnTo>
                    <a:pt x="234" y="231"/>
                  </a:lnTo>
                  <a:lnTo>
                    <a:pt x="229" y="229"/>
                  </a:lnTo>
                  <a:lnTo>
                    <a:pt x="227" y="229"/>
                  </a:lnTo>
                  <a:lnTo>
                    <a:pt x="228" y="228"/>
                  </a:lnTo>
                  <a:lnTo>
                    <a:pt x="229" y="226"/>
                  </a:lnTo>
                  <a:lnTo>
                    <a:pt x="229" y="227"/>
                  </a:lnTo>
                  <a:lnTo>
                    <a:pt x="230" y="225"/>
                  </a:lnTo>
                  <a:lnTo>
                    <a:pt x="232" y="227"/>
                  </a:lnTo>
                  <a:lnTo>
                    <a:pt x="238" y="224"/>
                  </a:lnTo>
                  <a:lnTo>
                    <a:pt x="239" y="224"/>
                  </a:lnTo>
                  <a:lnTo>
                    <a:pt x="241" y="226"/>
                  </a:lnTo>
                  <a:lnTo>
                    <a:pt x="242" y="225"/>
                  </a:lnTo>
                  <a:lnTo>
                    <a:pt x="243" y="227"/>
                  </a:lnTo>
                  <a:lnTo>
                    <a:pt x="246" y="229"/>
                  </a:lnTo>
                  <a:lnTo>
                    <a:pt x="246" y="230"/>
                  </a:lnTo>
                  <a:lnTo>
                    <a:pt x="245" y="231"/>
                  </a:lnTo>
                  <a:lnTo>
                    <a:pt x="245" y="232"/>
                  </a:lnTo>
                  <a:lnTo>
                    <a:pt x="248" y="235"/>
                  </a:lnTo>
                  <a:lnTo>
                    <a:pt x="252" y="237"/>
                  </a:lnTo>
                  <a:lnTo>
                    <a:pt x="255" y="237"/>
                  </a:lnTo>
                  <a:lnTo>
                    <a:pt x="256" y="236"/>
                  </a:lnTo>
                  <a:lnTo>
                    <a:pt x="259" y="236"/>
                  </a:lnTo>
                  <a:lnTo>
                    <a:pt x="262" y="238"/>
                  </a:lnTo>
                  <a:lnTo>
                    <a:pt x="263" y="237"/>
                  </a:lnTo>
                  <a:lnTo>
                    <a:pt x="265" y="234"/>
                  </a:lnTo>
                  <a:lnTo>
                    <a:pt x="267" y="235"/>
                  </a:lnTo>
                  <a:lnTo>
                    <a:pt x="271" y="238"/>
                  </a:lnTo>
                  <a:lnTo>
                    <a:pt x="273" y="244"/>
                  </a:lnTo>
                  <a:lnTo>
                    <a:pt x="274" y="243"/>
                  </a:lnTo>
                  <a:lnTo>
                    <a:pt x="275" y="242"/>
                  </a:lnTo>
                  <a:lnTo>
                    <a:pt x="281" y="243"/>
                  </a:lnTo>
                  <a:lnTo>
                    <a:pt x="284" y="244"/>
                  </a:lnTo>
                  <a:lnTo>
                    <a:pt x="285" y="246"/>
                  </a:lnTo>
                  <a:lnTo>
                    <a:pt x="285" y="249"/>
                  </a:lnTo>
                  <a:lnTo>
                    <a:pt x="287" y="249"/>
                  </a:lnTo>
                  <a:lnTo>
                    <a:pt x="289" y="249"/>
                  </a:lnTo>
                  <a:lnTo>
                    <a:pt x="291" y="249"/>
                  </a:lnTo>
                  <a:lnTo>
                    <a:pt x="292" y="250"/>
                  </a:lnTo>
                  <a:lnTo>
                    <a:pt x="294" y="251"/>
                  </a:lnTo>
                  <a:lnTo>
                    <a:pt x="295" y="251"/>
                  </a:lnTo>
                  <a:lnTo>
                    <a:pt x="294" y="248"/>
                  </a:lnTo>
                  <a:lnTo>
                    <a:pt x="295" y="248"/>
                  </a:lnTo>
                  <a:lnTo>
                    <a:pt x="294" y="245"/>
                  </a:lnTo>
                  <a:lnTo>
                    <a:pt x="296" y="242"/>
                  </a:lnTo>
                  <a:lnTo>
                    <a:pt x="291" y="238"/>
                  </a:lnTo>
                  <a:lnTo>
                    <a:pt x="291" y="234"/>
                  </a:lnTo>
                  <a:lnTo>
                    <a:pt x="294" y="236"/>
                  </a:lnTo>
                  <a:lnTo>
                    <a:pt x="296" y="236"/>
                  </a:lnTo>
                  <a:lnTo>
                    <a:pt x="300" y="238"/>
                  </a:lnTo>
                  <a:lnTo>
                    <a:pt x="301" y="240"/>
                  </a:lnTo>
                  <a:lnTo>
                    <a:pt x="305" y="238"/>
                  </a:lnTo>
                  <a:lnTo>
                    <a:pt x="308" y="242"/>
                  </a:lnTo>
                  <a:lnTo>
                    <a:pt x="310" y="242"/>
                  </a:lnTo>
                  <a:lnTo>
                    <a:pt x="311" y="241"/>
                  </a:lnTo>
                  <a:lnTo>
                    <a:pt x="312" y="241"/>
                  </a:lnTo>
                  <a:lnTo>
                    <a:pt x="316" y="239"/>
                  </a:lnTo>
                  <a:lnTo>
                    <a:pt x="319" y="234"/>
                  </a:lnTo>
                  <a:lnTo>
                    <a:pt x="322" y="234"/>
                  </a:lnTo>
                  <a:lnTo>
                    <a:pt x="326" y="230"/>
                  </a:lnTo>
                  <a:lnTo>
                    <a:pt x="327" y="230"/>
                  </a:lnTo>
                  <a:lnTo>
                    <a:pt x="328" y="230"/>
                  </a:lnTo>
                  <a:lnTo>
                    <a:pt x="329" y="231"/>
                  </a:lnTo>
                  <a:lnTo>
                    <a:pt x="330" y="231"/>
                  </a:lnTo>
                  <a:lnTo>
                    <a:pt x="330" y="230"/>
                  </a:lnTo>
                  <a:lnTo>
                    <a:pt x="333" y="228"/>
                  </a:lnTo>
                  <a:lnTo>
                    <a:pt x="335" y="227"/>
                  </a:lnTo>
                  <a:lnTo>
                    <a:pt x="344" y="224"/>
                  </a:lnTo>
                  <a:lnTo>
                    <a:pt x="346" y="224"/>
                  </a:lnTo>
                  <a:lnTo>
                    <a:pt x="347" y="223"/>
                  </a:lnTo>
                  <a:lnTo>
                    <a:pt x="354" y="219"/>
                  </a:lnTo>
                  <a:lnTo>
                    <a:pt x="357" y="218"/>
                  </a:lnTo>
                  <a:lnTo>
                    <a:pt x="357" y="219"/>
                  </a:lnTo>
                  <a:lnTo>
                    <a:pt x="360" y="219"/>
                  </a:lnTo>
                  <a:lnTo>
                    <a:pt x="360" y="221"/>
                  </a:lnTo>
                  <a:lnTo>
                    <a:pt x="362" y="221"/>
                  </a:lnTo>
                  <a:lnTo>
                    <a:pt x="362" y="223"/>
                  </a:lnTo>
                  <a:lnTo>
                    <a:pt x="366" y="225"/>
                  </a:lnTo>
                  <a:lnTo>
                    <a:pt x="366" y="226"/>
                  </a:lnTo>
                  <a:lnTo>
                    <a:pt x="370" y="223"/>
                  </a:lnTo>
                  <a:lnTo>
                    <a:pt x="373" y="221"/>
                  </a:lnTo>
                  <a:lnTo>
                    <a:pt x="373" y="219"/>
                  </a:lnTo>
                  <a:lnTo>
                    <a:pt x="374" y="219"/>
                  </a:lnTo>
                  <a:lnTo>
                    <a:pt x="374" y="218"/>
                  </a:lnTo>
                  <a:lnTo>
                    <a:pt x="377" y="218"/>
                  </a:lnTo>
                  <a:lnTo>
                    <a:pt x="380" y="213"/>
                  </a:lnTo>
                  <a:lnTo>
                    <a:pt x="380" y="212"/>
                  </a:lnTo>
                  <a:lnTo>
                    <a:pt x="382" y="210"/>
                  </a:lnTo>
                  <a:lnTo>
                    <a:pt x="382" y="206"/>
                  </a:lnTo>
                  <a:lnTo>
                    <a:pt x="383" y="203"/>
                  </a:lnTo>
                  <a:lnTo>
                    <a:pt x="386" y="201"/>
                  </a:lnTo>
                  <a:lnTo>
                    <a:pt x="389" y="201"/>
                  </a:lnTo>
                  <a:lnTo>
                    <a:pt x="390" y="200"/>
                  </a:lnTo>
                  <a:lnTo>
                    <a:pt x="390" y="197"/>
                  </a:lnTo>
                  <a:lnTo>
                    <a:pt x="389" y="196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5" name="Freeform 49"/>
            <p:cNvSpPr>
              <a:spLocks/>
            </p:cNvSpPr>
            <p:nvPr/>
          </p:nvSpPr>
          <p:spPr bwMode="auto">
            <a:xfrm>
              <a:off x="1308" y="1546"/>
              <a:ext cx="413" cy="393"/>
            </a:xfrm>
            <a:custGeom>
              <a:avLst/>
              <a:gdLst>
                <a:gd name="T0" fmla="*/ 41024667 w 212"/>
                <a:gd name="T1" fmla="*/ 22996865 h 210"/>
                <a:gd name="T2" fmla="*/ 24833049 w 212"/>
                <a:gd name="T3" fmla="*/ 28049995 h 210"/>
                <a:gd name="T4" fmla="*/ 11064841 w 212"/>
                <a:gd name="T5" fmla="*/ 31643999 h 210"/>
                <a:gd name="T6" fmla="*/ 1326813 w 212"/>
                <a:gd name="T7" fmla="*/ 36075023 h 210"/>
                <a:gd name="T8" fmla="*/ 6710173 w 212"/>
                <a:gd name="T9" fmla="*/ 38833414 h 210"/>
                <a:gd name="T10" fmla="*/ 9126942 w 212"/>
                <a:gd name="T11" fmla="*/ 42098315 h 210"/>
                <a:gd name="T12" fmla="*/ 1326813 w 212"/>
                <a:gd name="T13" fmla="*/ 44956595 h 210"/>
                <a:gd name="T14" fmla="*/ 2584782 w 212"/>
                <a:gd name="T15" fmla="*/ 47785722 h 210"/>
                <a:gd name="T16" fmla="*/ 6710173 w 212"/>
                <a:gd name="T17" fmla="*/ 51922277 h 210"/>
                <a:gd name="T18" fmla="*/ 11745837 w 212"/>
                <a:gd name="T19" fmla="*/ 51922277 h 210"/>
                <a:gd name="T20" fmla="*/ 19110256 w 212"/>
                <a:gd name="T21" fmla="*/ 53279021 h 210"/>
                <a:gd name="T22" fmla="*/ 22882220 w 212"/>
                <a:gd name="T23" fmla="*/ 53575890 h 210"/>
                <a:gd name="T24" fmla="*/ 27423467 w 212"/>
                <a:gd name="T25" fmla="*/ 53279021 h 210"/>
                <a:gd name="T26" fmla="*/ 32182602 w 212"/>
                <a:gd name="T27" fmla="*/ 55504726 h 210"/>
                <a:gd name="T28" fmla="*/ 35280648 w 212"/>
                <a:gd name="T29" fmla="*/ 58283652 h 210"/>
                <a:gd name="T30" fmla="*/ 41992677 w 212"/>
                <a:gd name="T31" fmla="*/ 57403678 h 210"/>
                <a:gd name="T32" fmla="*/ 46345561 w 212"/>
                <a:gd name="T33" fmla="*/ 57403678 h 210"/>
                <a:gd name="T34" fmla="*/ 51655887 w 212"/>
                <a:gd name="T35" fmla="*/ 57692806 h 210"/>
                <a:gd name="T36" fmla="*/ 53424018 w 212"/>
                <a:gd name="T37" fmla="*/ 55185339 h 210"/>
                <a:gd name="T38" fmla="*/ 79221619 w 212"/>
                <a:gd name="T39" fmla="*/ 54778546 h 210"/>
                <a:gd name="T40" fmla="*/ 81161511 w 212"/>
                <a:gd name="T41" fmla="*/ 56678194 h 210"/>
                <a:gd name="T42" fmla="*/ 87522083 w 212"/>
                <a:gd name="T43" fmla="*/ 54778546 h 210"/>
                <a:gd name="T44" fmla="*/ 89377981 w 212"/>
                <a:gd name="T45" fmla="*/ 54487710 h 210"/>
                <a:gd name="T46" fmla="*/ 92318422 w 212"/>
                <a:gd name="T47" fmla="*/ 54138800 h 210"/>
                <a:gd name="T48" fmla="*/ 96014708 w 212"/>
                <a:gd name="T49" fmla="*/ 54778546 h 210"/>
                <a:gd name="T50" fmla="*/ 99938075 w 212"/>
                <a:gd name="T51" fmla="*/ 54487710 h 210"/>
                <a:gd name="T52" fmla="*/ 103361216 w 212"/>
                <a:gd name="T53" fmla="*/ 54138800 h 210"/>
                <a:gd name="T54" fmla="*/ 109064966 w 212"/>
                <a:gd name="T55" fmla="*/ 54487710 h 210"/>
                <a:gd name="T56" fmla="*/ 111766142 w 212"/>
                <a:gd name="T57" fmla="*/ 55185339 h 210"/>
                <a:gd name="T58" fmla="*/ 115119433 w 212"/>
                <a:gd name="T59" fmla="*/ 55017283 h 210"/>
                <a:gd name="T60" fmla="*/ 119553726 w 212"/>
                <a:gd name="T61" fmla="*/ 55017283 h 210"/>
                <a:gd name="T62" fmla="*/ 126263827 w 212"/>
                <a:gd name="T63" fmla="*/ 55794386 h 210"/>
                <a:gd name="T64" fmla="*/ 129541383 w 212"/>
                <a:gd name="T65" fmla="*/ 44385862 h 210"/>
                <a:gd name="T66" fmla="*/ 131456493 w 212"/>
                <a:gd name="T67" fmla="*/ 36075023 h 210"/>
                <a:gd name="T68" fmla="*/ 129541383 w 212"/>
                <a:gd name="T69" fmla="*/ 33840117 h 210"/>
                <a:gd name="T70" fmla="*/ 124769346 w 212"/>
                <a:gd name="T71" fmla="*/ 28287558 h 210"/>
                <a:gd name="T72" fmla="*/ 113023606 w 212"/>
                <a:gd name="T73" fmla="*/ 22651740 h 210"/>
                <a:gd name="T74" fmla="*/ 97352385 w 212"/>
                <a:gd name="T75" fmla="*/ 14988547 h 210"/>
                <a:gd name="T76" fmla="*/ 81806489 w 212"/>
                <a:gd name="T77" fmla="*/ 8357776 h 210"/>
                <a:gd name="T78" fmla="*/ 68730696 w 212"/>
                <a:gd name="T79" fmla="*/ 9824218 h 210"/>
                <a:gd name="T80" fmla="*/ 64547842 w 212"/>
                <a:gd name="T81" fmla="*/ 6082143 h 210"/>
                <a:gd name="T82" fmla="*/ 58273575 w 212"/>
                <a:gd name="T83" fmla="*/ 4122437 h 210"/>
                <a:gd name="T84" fmla="*/ 51655887 w 212"/>
                <a:gd name="T85" fmla="*/ 542256 h 210"/>
                <a:gd name="T86" fmla="*/ 43247272 w 212"/>
                <a:gd name="T87" fmla="*/ 883586 h 210"/>
                <a:gd name="T88" fmla="*/ 36537083 w 212"/>
                <a:gd name="T89" fmla="*/ 3895876 h 210"/>
                <a:gd name="T90" fmla="*/ 31501754 w 212"/>
                <a:gd name="T91" fmla="*/ 9922760 h 210"/>
                <a:gd name="T92" fmla="*/ 25466081 w 212"/>
                <a:gd name="T93" fmla="*/ 11382296 h 2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212" h="210">
                  <a:moveTo>
                    <a:pt x="52" y="51"/>
                  </a:moveTo>
                  <a:lnTo>
                    <a:pt x="52" y="64"/>
                  </a:lnTo>
                  <a:lnTo>
                    <a:pt x="66" y="83"/>
                  </a:lnTo>
                  <a:lnTo>
                    <a:pt x="59" y="98"/>
                  </a:lnTo>
                  <a:lnTo>
                    <a:pt x="46" y="107"/>
                  </a:lnTo>
                  <a:lnTo>
                    <a:pt x="40" y="101"/>
                  </a:lnTo>
                  <a:lnTo>
                    <a:pt x="30" y="100"/>
                  </a:lnTo>
                  <a:lnTo>
                    <a:pt x="23" y="106"/>
                  </a:lnTo>
                  <a:lnTo>
                    <a:pt x="18" y="114"/>
                  </a:lnTo>
                  <a:lnTo>
                    <a:pt x="9" y="119"/>
                  </a:lnTo>
                  <a:lnTo>
                    <a:pt x="0" y="126"/>
                  </a:lnTo>
                  <a:lnTo>
                    <a:pt x="2" y="130"/>
                  </a:lnTo>
                  <a:lnTo>
                    <a:pt x="4" y="133"/>
                  </a:lnTo>
                  <a:lnTo>
                    <a:pt x="7" y="136"/>
                  </a:lnTo>
                  <a:lnTo>
                    <a:pt x="11" y="140"/>
                  </a:lnTo>
                  <a:lnTo>
                    <a:pt x="14" y="144"/>
                  </a:lnTo>
                  <a:lnTo>
                    <a:pt x="18" y="148"/>
                  </a:lnTo>
                  <a:lnTo>
                    <a:pt x="15" y="152"/>
                  </a:lnTo>
                  <a:lnTo>
                    <a:pt x="11" y="156"/>
                  </a:lnTo>
                  <a:lnTo>
                    <a:pt x="7" y="160"/>
                  </a:lnTo>
                  <a:lnTo>
                    <a:pt x="2" y="162"/>
                  </a:lnTo>
                  <a:lnTo>
                    <a:pt x="1" y="164"/>
                  </a:lnTo>
                  <a:lnTo>
                    <a:pt x="1" y="167"/>
                  </a:lnTo>
                  <a:lnTo>
                    <a:pt x="4" y="172"/>
                  </a:lnTo>
                  <a:lnTo>
                    <a:pt x="7" y="178"/>
                  </a:lnTo>
                  <a:lnTo>
                    <a:pt x="8" y="184"/>
                  </a:lnTo>
                  <a:lnTo>
                    <a:pt x="11" y="187"/>
                  </a:lnTo>
                  <a:lnTo>
                    <a:pt x="15" y="188"/>
                  </a:lnTo>
                  <a:lnTo>
                    <a:pt x="18" y="190"/>
                  </a:lnTo>
                  <a:lnTo>
                    <a:pt x="19" y="187"/>
                  </a:lnTo>
                  <a:lnTo>
                    <a:pt x="26" y="188"/>
                  </a:lnTo>
                  <a:lnTo>
                    <a:pt x="28" y="190"/>
                  </a:lnTo>
                  <a:lnTo>
                    <a:pt x="31" y="192"/>
                  </a:lnTo>
                  <a:lnTo>
                    <a:pt x="33" y="192"/>
                  </a:lnTo>
                  <a:lnTo>
                    <a:pt x="35" y="192"/>
                  </a:lnTo>
                  <a:lnTo>
                    <a:pt x="37" y="193"/>
                  </a:lnTo>
                  <a:lnTo>
                    <a:pt x="40" y="192"/>
                  </a:lnTo>
                  <a:lnTo>
                    <a:pt x="43" y="191"/>
                  </a:lnTo>
                  <a:lnTo>
                    <a:pt x="44" y="192"/>
                  </a:lnTo>
                  <a:lnTo>
                    <a:pt x="44" y="195"/>
                  </a:lnTo>
                  <a:lnTo>
                    <a:pt x="49" y="197"/>
                  </a:lnTo>
                  <a:lnTo>
                    <a:pt x="52" y="200"/>
                  </a:lnTo>
                  <a:lnTo>
                    <a:pt x="55" y="204"/>
                  </a:lnTo>
                  <a:lnTo>
                    <a:pt x="55" y="206"/>
                  </a:lnTo>
                  <a:lnTo>
                    <a:pt x="57" y="210"/>
                  </a:lnTo>
                  <a:lnTo>
                    <a:pt x="60" y="209"/>
                  </a:lnTo>
                  <a:lnTo>
                    <a:pt x="63" y="208"/>
                  </a:lnTo>
                  <a:lnTo>
                    <a:pt x="68" y="207"/>
                  </a:lnTo>
                  <a:lnTo>
                    <a:pt x="70" y="209"/>
                  </a:lnTo>
                  <a:lnTo>
                    <a:pt x="74" y="210"/>
                  </a:lnTo>
                  <a:lnTo>
                    <a:pt x="75" y="207"/>
                  </a:lnTo>
                  <a:lnTo>
                    <a:pt x="77" y="207"/>
                  </a:lnTo>
                  <a:lnTo>
                    <a:pt x="79" y="208"/>
                  </a:lnTo>
                  <a:lnTo>
                    <a:pt x="83" y="208"/>
                  </a:lnTo>
                  <a:lnTo>
                    <a:pt x="86" y="210"/>
                  </a:lnTo>
                  <a:lnTo>
                    <a:pt x="86" y="204"/>
                  </a:lnTo>
                  <a:lnTo>
                    <a:pt x="86" y="199"/>
                  </a:lnTo>
                  <a:lnTo>
                    <a:pt x="93" y="192"/>
                  </a:lnTo>
                  <a:lnTo>
                    <a:pt x="108" y="188"/>
                  </a:lnTo>
                  <a:lnTo>
                    <a:pt x="128" y="197"/>
                  </a:lnTo>
                  <a:lnTo>
                    <a:pt x="128" y="205"/>
                  </a:lnTo>
                  <a:lnTo>
                    <a:pt x="132" y="205"/>
                  </a:lnTo>
                  <a:lnTo>
                    <a:pt x="131" y="204"/>
                  </a:lnTo>
                  <a:lnTo>
                    <a:pt x="134" y="202"/>
                  </a:lnTo>
                  <a:lnTo>
                    <a:pt x="138" y="198"/>
                  </a:lnTo>
                  <a:lnTo>
                    <a:pt x="141" y="197"/>
                  </a:lnTo>
                  <a:lnTo>
                    <a:pt x="142" y="196"/>
                  </a:lnTo>
                  <a:lnTo>
                    <a:pt x="144" y="197"/>
                  </a:lnTo>
                  <a:lnTo>
                    <a:pt x="144" y="196"/>
                  </a:lnTo>
                  <a:lnTo>
                    <a:pt x="146" y="195"/>
                  </a:lnTo>
                  <a:lnTo>
                    <a:pt x="148" y="195"/>
                  </a:lnTo>
                  <a:lnTo>
                    <a:pt x="149" y="195"/>
                  </a:lnTo>
                  <a:lnTo>
                    <a:pt x="152" y="195"/>
                  </a:lnTo>
                  <a:lnTo>
                    <a:pt x="152" y="196"/>
                  </a:lnTo>
                  <a:lnTo>
                    <a:pt x="155" y="197"/>
                  </a:lnTo>
                  <a:lnTo>
                    <a:pt x="156" y="197"/>
                  </a:lnTo>
                  <a:lnTo>
                    <a:pt x="158" y="195"/>
                  </a:lnTo>
                  <a:lnTo>
                    <a:pt x="161" y="196"/>
                  </a:lnTo>
                  <a:lnTo>
                    <a:pt x="165" y="195"/>
                  </a:lnTo>
                  <a:lnTo>
                    <a:pt x="166" y="195"/>
                  </a:lnTo>
                  <a:lnTo>
                    <a:pt x="167" y="195"/>
                  </a:lnTo>
                  <a:lnTo>
                    <a:pt x="168" y="195"/>
                  </a:lnTo>
                  <a:lnTo>
                    <a:pt x="173" y="195"/>
                  </a:lnTo>
                  <a:lnTo>
                    <a:pt x="176" y="196"/>
                  </a:lnTo>
                  <a:lnTo>
                    <a:pt x="176" y="198"/>
                  </a:lnTo>
                  <a:lnTo>
                    <a:pt x="178" y="199"/>
                  </a:lnTo>
                  <a:lnTo>
                    <a:pt x="180" y="199"/>
                  </a:lnTo>
                  <a:lnTo>
                    <a:pt x="182" y="199"/>
                  </a:lnTo>
                  <a:lnTo>
                    <a:pt x="185" y="199"/>
                  </a:lnTo>
                  <a:lnTo>
                    <a:pt x="186" y="198"/>
                  </a:lnTo>
                  <a:lnTo>
                    <a:pt x="189" y="198"/>
                  </a:lnTo>
                  <a:lnTo>
                    <a:pt x="189" y="196"/>
                  </a:lnTo>
                  <a:lnTo>
                    <a:pt x="193" y="198"/>
                  </a:lnTo>
                  <a:lnTo>
                    <a:pt x="196" y="198"/>
                  </a:lnTo>
                  <a:lnTo>
                    <a:pt x="196" y="199"/>
                  </a:lnTo>
                  <a:lnTo>
                    <a:pt x="204" y="201"/>
                  </a:lnTo>
                  <a:lnTo>
                    <a:pt x="207" y="197"/>
                  </a:lnTo>
                  <a:lnTo>
                    <a:pt x="208" y="185"/>
                  </a:lnTo>
                  <a:lnTo>
                    <a:pt x="209" y="160"/>
                  </a:lnTo>
                  <a:lnTo>
                    <a:pt x="210" y="136"/>
                  </a:lnTo>
                  <a:lnTo>
                    <a:pt x="212" y="131"/>
                  </a:lnTo>
                  <a:lnTo>
                    <a:pt x="212" y="130"/>
                  </a:lnTo>
                  <a:lnTo>
                    <a:pt x="210" y="130"/>
                  </a:lnTo>
                  <a:lnTo>
                    <a:pt x="210" y="126"/>
                  </a:lnTo>
                  <a:lnTo>
                    <a:pt x="209" y="122"/>
                  </a:lnTo>
                  <a:lnTo>
                    <a:pt x="207" y="117"/>
                  </a:lnTo>
                  <a:lnTo>
                    <a:pt x="195" y="117"/>
                  </a:lnTo>
                  <a:lnTo>
                    <a:pt x="201" y="102"/>
                  </a:lnTo>
                  <a:lnTo>
                    <a:pt x="195" y="100"/>
                  </a:lnTo>
                  <a:lnTo>
                    <a:pt x="191" y="95"/>
                  </a:lnTo>
                  <a:lnTo>
                    <a:pt x="182" y="82"/>
                  </a:lnTo>
                  <a:lnTo>
                    <a:pt x="181" y="78"/>
                  </a:lnTo>
                  <a:lnTo>
                    <a:pt x="169" y="66"/>
                  </a:lnTo>
                  <a:lnTo>
                    <a:pt x="157" y="54"/>
                  </a:lnTo>
                  <a:lnTo>
                    <a:pt x="156" y="53"/>
                  </a:lnTo>
                  <a:lnTo>
                    <a:pt x="144" y="42"/>
                  </a:lnTo>
                  <a:lnTo>
                    <a:pt x="132" y="30"/>
                  </a:lnTo>
                  <a:lnTo>
                    <a:pt x="126" y="30"/>
                  </a:lnTo>
                  <a:lnTo>
                    <a:pt x="119" y="31"/>
                  </a:lnTo>
                  <a:lnTo>
                    <a:pt x="111" y="35"/>
                  </a:lnTo>
                  <a:lnTo>
                    <a:pt x="108" y="30"/>
                  </a:lnTo>
                  <a:lnTo>
                    <a:pt x="106" y="27"/>
                  </a:lnTo>
                  <a:lnTo>
                    <a:pt x="104" y="22"/>
                  </a:lnTo>
                  <a:lnTo>
                    <a:pt x="99" y="21"/>
                  </a:lnTo>
                  <a:lnTo>
                    <a:pt x="98" y="18"/>
                  </a:lnTo>
                  <a:lnTo>
                    <a:pt x="94" y="15"/>
                  </a:lnTo>
                  <a:lnTo>
                    <a:pt x="93" y="11"/>
                  </a:lnTo>
                  <a:lnTo>
                    <a:pt x="88" y="3"/>
                  </a:lnTo>
                  <a:lnTo>
                    <a:pt x="83" y="2"/>
                  </a:lnTo>
                  <a:lnTo>
                    <a:pt x="78" y="1"/>
                  </a:lnTo>
                  <a:lnTo>
                    <a:pt x="74" y="0"/>
                  </a:lnTo>
                  <a:lnTo>
                    <a:pt x="70" y="3"/>
                  </a:lnTo>
                  <a:lnTo>
                    <a:pt x="68" y="6"/>
                  </a:lnTo>
                  <a:lnTo>
                    <a:pt x="63" y="9"/>
                  </a:lnTo>
                  <a:lnTo>
                    <a:pt x="59" y="14"/>
                  </a:lnTo>
                  <a:lnTo>
                    <a:pt x="55" y="19"/>
                  </a:lnTo>
                  <a:lnTo>
                    <a:pt x="52" y="31"/>
                  </a:lnTo>
                  <a:lnTo>
                    <a:pt x="51" y="36"/>
                  </a:lnTo>
                  <a:lnTo>
                    <a:pt x="47" y="43"/>
                  </a:lnTo>
                  <a:lnTo>
                    <a:pt x="41" y="41"/>
                  </a:lnTo>
                  <a:lnTo>
                    <a:pt x="39" y="46"/>
                  </a:lnTo>
                  <a:lnTo>
                    <a:pt x="52" y="51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6" name="Freeform 50"/>
            <p:cNvSpPr>
              <a:spLocks/>
            </p:cNvSpPr>
            <p:nvPr/>
          </p:nvSpPr>
          <p:spPr bwMode="auto">
            <a:xfrm>
              <a:off x="1322" y="1360"/>
              <a:ext cx="454" cy="431"/>
            </a:xfrm>
            <a:custGeom>
              <a:avLst/>
              <a:gdLst>
                <a:gd name="T0" fmla="*/ 142422257 w 233"/>
                <a:gd name="T1" fmla="*/ 38345521 h 231"/>
                <a:gd name="T2" fmla="*/ 141739689 w 233"/>
                <a:gd name="T3" fmla="*/ 32863103 h 231"/>
                <a:gd name="T4" fmla="*/ 138968556 w 233"/>
                <a:gd name="T5" fmla="*/ 31662038 h 231"/>
                <a:gd name="T6" fmla="*/ 139782609 w 233"/>
                <a:gd name="T7" fmla="*/ 28694027 h 231"/>
                <a:gd name="T8" fmla="*/ 141739689 w 233"/>
                <a:gd name="T9" fmla="*/ 26879169 h 231"/>
                <a:gd name="T10" fmla="*/ 143057181 w 233"/>
                <a:gd name="T11" fmla="*/ 25384040 h 231"/>
                <a:gd name="T12" fmla="*/ 143751401 w 233"/>
                <a:gd name="T13" fmla="*/ 24540957 h 231"/>
                <a:gd name="T14" fmla="*/ 142422257 w 233"/>
                <a:gd name="T15" fmla="*/ 21418737 h 231"/>
                <a:gd name="T16" fmla="*/ 135689975 w 233"/>
                <a:gd name="T17" fmla="*/ 20402971 h 231"/>
                <a:gd name="T18" fmla="*/ 129298614 w 233"/>
                <a:gd name="T19" fmla="*/ 20205384 h 231"/>
                <a:gd name="T20" fmla="*/ 124584260 w 233"/>
                <a:gd name="T21" fmla="*/ 18464158 h 231"/>
                <a:gd name="T22" fmla="*/ 124584260 w 233"/>
                <a:gd name="T23" fmla="*/ 16221651 h 231"/>
                <a:gd name="T24" fmla="*/ 126842152 w 233"/>
                <a:gd name="T25" fmla="*/ 14844370 h 231"/>
                <a:gd name="T26" fmla="*/ 123900522 w 233"/>
                <a:gd name="T27" fmla="*/ 15378933 h 231"/>
                <a:gd name="T28" fmla="*/ 116167344 w 233"/>
                <a:gd name="T29" fmla="*/ 15165838 h 231"/>
                <a:gd name="T30" fmla="*/ 113412863 w 233"/>
                <a:gd name="T31" fmla="*/ 14406237 h 231"/>
                <a:gd name="T32" fmla="*/ 104373320 w 233"/>
                <a:gd name="T33" fmla="*/ 13074788 h 231"/>
                <a:gd name="T34" fmla="*/ 99680209 w 233"/>
                <a:gd name="T35" fmla="*/ 10656497 h 231"/>
                <a:gd name="T36" fmla="*/ 99680209 w 233"/>
                <a:gd name="T37" fmla="*/ 9896103 h 231"/>
                <a:gd name="T38" fmla="*/ 98997827 w 233"/>
                <a:gd name="T39" fmla="*/ 8839997 h 231"/>
                <a:gd name="T40" fmla="*/ 98351131 w 233"/>
                <a:gd name="T41" fmla="*/ 7007601 h 231"/>
                <a:gd name="T42" fmla="*/ 96400000 w 233"/>
                <a:gd name="T43" fmla="*/ 5711487 h 231"/>
                <a:gd name="T44" fmla="*/ 97084315 w 233"/>
                <a:gd name="T45" fmla="*/ 2612629 h 231"/>
                <a:gd name="T46" fmla="*/ 90355926 w 233"/>
                <a:gd name="T47" fmla="*/ 843182 h 231"/>
                <a:gd name="T48" fmla="*/ 80166971 w 233"/>
                <a:gd name="T49" fmla="*/ 0 h 231"/>
                <a:gd name="T50" fmla="*/ 64282519 w 233"/>
                <a:gd name="T51" fmla="*/ 1295651 h 231"/>
                <a:gd name="T52" fmla="*/ 54617354 w 233"/>
                <a:gd name="T53" fmla="*/ 3390259 h 231"/>
                <a:gd name="T54" fmla="*/ 41142961 w 233"/>
                <a:gd name="T55" fmla="*/ 4181247 h 231"/>
                <a:gd name="T56" fmla="*/ 32990808 w 233"/>
                <a:gd name="T57" fmla="*/ 4874645 h 231"/>
                <a:gd name="T58" fmla="*/ 19854918 w 233"/>
                <a:gd name="T59" fmla="*/ 7291723 h 231"/>
                <a:gd name="T60" fmla="*/ 5696227 w 233"/>
                <a:gd name="T61" fmla="*/ 6325548 h 231"/>
                <a:gd name="T62" fmla="*/ 5046518 w 233"/>
                <a:gd name="T63" fmla="*/ 5998346 h 231"/>
                <a:gd name="T64" fmla="*/ 3789055 w 233"/>
                <a:gd name="T65" fmla="*/ 5711487 h 231"/>
                <a:gd name="T66" fmla="*/ 682169 w 233"/>
                <a:gd name="T67" fmla="*/ 8415577 h 231"/>
                <a:gd name="T68" fmla="*/ 4459572 w 233"/>
                <a:gd name="T69" fmla="*/ 11802213 h 231"/>
                <a:gd name="T70" fmla="*/ 14385693 w 233"/>
                <a:gd name="T71" fmla="*/ 13074788 h 231"/>
                <a:gd name="T72" fmla="*/ 17478094 w 233"/>
                <a:gd name="T73" fmla="*/ 16646856 h 231"/>
                <a:gd name="T74" fmla="*/ 12429483 w 233"/>
                <a:gd name="T75" fmla="*/ 18307779 h 231"/>
                <a:gd name="T76" fmla="*/ 10527520 w 233"/>
                <a:gd name="T77" fmla="*/ 20881519 h 231"/>
                <a:gd name="T78" fmla="*/ 6735182 w 233"/>
                <a:gd name="T79" fmla="*/ 23246498 h 231"/>
                <a:gd name="T80" fmla="*/ 8689466 w 233"/>
                <a:gd name="T81" fmla="*/ 25928701 h 231"/>
                <a:gd name="T82" fmla="*/ 3789055 w 233"/>
                <a:gd name="T83" fmla="*/ 28452993 h 231"/>
                <a:gd name="T84" fmla="*/ 1944603 w 233"/>
                <a:gd name="T85" fmla="*/ 32863103 h 231"/>
                <a:gd name="T86" fmla="*/ 16236328 w 233"/>
                <a:gd name="T87" fmla="*/ 35572404 h 231"/>
                <a:gd name="T88" fmla="*/ 21115220 w 233"/>
                <a:gd name="T89" fmla="*/ 36867395 h 231"/>
                <a:gd name="T90" fmla="*/ 27490943 w 233"/>
                <a:gd name="T91" fmla="*/ 35572404 h 231"/>
                <a:gd name="T92" fmla="*/ 32283090 w 233"/>
                <a:gd name="T93" fmla="*/ 29828898 h 231"/>
                <a:gd name="T94" fmla="*/ 39369701 w 233"/>
                <a:gd name="T95" fmla="*/ 26879169 h 231"/>
                <a:gd name="T96" fmla="*/ 47190321 w 233"/>
                <a:gd name="T97" fmla="*/ 26637931 h 231"/>
                <a:gd name="T98" fmla="*/ 54260533 w 233"/>
                <a:gd name="T99" fmla="*/ 30113024 h 231"/>
                <a:gd name="T100" fmla="*/ 60313573 w 233"/>
                <a:gd name="T101" fmla="*/ 31916522 h 231"/>
                <a:gd name="T102" fmla="*/ 64940341 w 233"/>
                <a:gd name="T103" fmla="*/ 35280485 h 231"/>
                <a:gd name="T104" fmla="*/ 77879986 w 233"/>
                <a:gd name="T105" fmla="*/ 34009863 h 231"/>
                <a:gd name="T106" fmla="*/ 93298317 w 233"/>
                <a:gd name="T107" fmla="*/ 40162573 h 231"/>
                <a:gd name="T108" fmla="*/ 108833420 w 233"/>
                <a:gd name="T109" fmla="*/ 47604284 h 231"/>
                <a:gd name="T110" fmla="*/ 120795651 w 233"/>
                <a:gd name="T111" fmla="*/ 52795511 h 231"/>
                <a:gd name="T112" fmla="*/ 125841678 w 233"/>
                <a:gd name="T113" fmla="*/ 57951249 h 231"/>
                <a:gd name="T114" fmla="*/ 127353997 w 233"/>
                <a:gd name="T115" fmla="*/ 60090837 h 231"/>
                <a:gd name="T116" fmla="*/ 128036455 w 233"/>
                <a:gd name="T117" fmla="*/ 58565836 h 231"/>
                <a:gd name="T118" fmla="*/ 139315783 w 233"/>
                <a:gd name="T119" fmla="*/ 50151177 h 231"/>
                <a:gd name="T120" fmla="*/ 144459121 w 233"/>
                <a:gd name="T121" fmla="*/ 44393405 h 23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233" h="231">
                  <a:moveTo>
                    <a:pt x="232" y="165"/>
                  </a:moveTo>
                  <a:lnTo>
                    <a:pt x="231" y="163"/>
                  </a:lnTo>
                  <a:lnTo>
                    <a:pt x="229" y="147"/>
                  </a:lnTo>
                  <a:lnTo>
                    <a:pt x="228" y="138"/>
                  </a:lnTo>
                  <a:lnTo>
                    <a:pt x="228" y="130"/>
                  </a:lnTo>
                  <a:lnTo>
                    <a:pt x="228" y="126"/>
                  </a:lnTo>
                  <a:lnTo>
                    <a:pt x="224" y="123"/>
                  </a:lnTo>
                  <a:lnTo>
                    <a:pt x="225" y="122"/>
                  </a:lnTo>
                  <a:lnTo>
                    <a:pt x="223" y="121"/>
                  </a:lnTo>
                  <a:lnTo>
                    <a:pt x="223" y="116"/>
                  </a:lnTo>
                  <a:lnTo>
                    <a:pt x="225" y="113"/>
                  </a:lnTo>
                  <a:lnTo>
                    <a:pt x="225" y="110"/>
                  </a:lnTo>
                  <a:lnTo>
                    <a:pt x="226" y="108"/>
                  </a:lnTo>
                  <a:lnTo>
                    <a:pt x="226" y="106"/>
                  </a:lnTo>
                  <a:lnTo>
                    <a:pt x="228" y="103"/>
                  </a:lnTo>
                  <a:lnTo>
                    <a:pt x="229" y="103"/>
                  </a:lnTo>
                  <a:lnTo>
                    <a:pt x="230" y="99"/>
                  </a:lnTo>
                  <a:lnTo>
                    <a:pt x="230" y="97"/>
                  </a:lnTo>
                  <a:lnTo>
                    <a:pt x="230" y="96"/>
                  </a:lnTo>
                  <a:lnTo>
                    <a:pt x="231" y="94"/>
                  </a:lnTo>
                  <a:lnTo>
                    <a:pt x="230" y="89"/>
                  </a:lnTo>
                  <a:lnTo>
                    <a:pt x="229" y="85"/>
                  </a:lnTo>
                  <a:lnTo>
                    <a:pt x="229" y="82"/>
                  </a:lnTo>
                  <a:lnTo>
                    <a:pt x="228" y="82"/>
                  </a:lnTo>
                  <a:lnTo>
                    <a:pt x="226" y="82"/>
                  </a:lnTo>
                  <a:lnTo>
                    <a:pt x="218" y="78"/>
                  </a:lnTo>
                  <a:lnTo>
                    <a:pt x="217" y="79"/>
                  </a:lnTo>
                  <a:lnTo>
                    <a:pt x="215" y="79"/>
                  </a:lnTo>
                  <a:lnTo>
                    <a:pt x="208" y="77"/>
                  </a:lnTo>
                  <a:lnTo>
                    <a:pt x="206" y="76"/>
                  </a:lnTo>
                  <a:lnTo>
                    <a:pt x="203" y="74"/>
                  </a:lnTo>
                  <a:lnTo>
                    <a:pt x="200" y="71"/>
                  </a:lnTo>
                  <a:lnTo>
                    <a:pt x="201" y="67"/>
                  </a:lnTo>
                  <a:lnTo>
                    <a:pt x="200" y="62"/>
                  </a:lnTo>
                  <a:lnTo>
                    <a:pt x="200" y="60"/>
                  </a:lnTo>
                  <a:lnTo>
                    <a:pt x="201" y="60"/>
                  </a:lnTo>
                  <a:lnTo>
                    <a:pt x="204" y="57"/>
                  </a:lnTo>
                  <a:lnTo>
                    <a:pt x="203" y="56"/>
                  </a:lnTo>
                  <a:lnTo>
                    <a:pt x="200" y="57"/>
                  </a:lnTo>
                  <a:lnTo>
                    <a:pt x="199" y="59"/>
                  </a:lnTo>
                  <a:lnTo>
                    <a:pt x="193" y="59"/>
                  </a:lnTo>
                  <a:lnTo>
                    <a:pt x="189" y="58"/>
                  </a:lnTo>
                  <a:lnTo>
                    <a:pt x="187" y="58"/>
                  </a:lnTo>
                  <a:lnTo>
                    <a:pt x="185" y="57"/>
                  </a:lnTo>
                  <a:lnTo>
                    <a:pt x="184" y="56"/>
                  </a:lnTo>
                  <a:lnTo>
                    <a:pt x="182" y="55"/>
                  </a:lnTo>
                  <a:lnTo>
                    <a:pt x="179" y="54"/>
                  </a:lnTo>
                  <a:lnTo>
                    <a:pt x="178" y="54"/>
                  </a:lnTo>
                  <a:lnTo>
                    <a:pt x="168" y="50"/>
                  </a:lnTo>
                  <a:lnTo>
                    <a:pt x="168" y="48"/>
                  </a:lnTo>
                  <a:lnTo>
                    <a:pt x="168" y="47"/>
                  </a:lnTo>
                  <a:lnTo>
                    <a:pt x="160" y="41"/>
                  </a:lnTo>
                  <a:lnTo>
                    <a:pt x="160" y="40"/>
                  </a:lnTo>
                  <a:lnTo>
                    <a:pt x="160" y="38"/>
                  </a:lnTo>
                  <a:lnTo>
                    <a:pt x="160" y="36"/>
                  </a:lnTo>
                  <a:lnTo>
                    <a:pt x="160" y="34"/>
                  </a:lnTo>
                  <a:lnTo>
                    <a:pt x="159" y="34"/>
                  </a:lnTo>
                  <a:lnTo>
                    <a:pt x="159" y="33"/>
                  </a:lnTo>
                  <a:lnTo>
                    <a:pt x="158" y="28"/>
                  </a:lnTo>
                  <a:lnTo>
                    <a:pt x="158" y="27"/>
                  </a:lnTo>
                  <a:lnTo>
                    <a:pt x="157" y="27"/>
                  </a:lnTo>
                  <a:lnTo>
                    <a:pt x="157" y="25"/>
                  </a:lnTo>
                  <a:lnTo>
                    <a:pt x="155" y="22"/>
                  </a:lnTo>
                  <a:lnTo>
                    <a:pt x="155" y="20"/>
                  </a:lnTo>
                  <a:lnTo>
                    <a:pt x="155" y="15"/>
                  </a:lnTo>
                  <a:lnTo>
                    <a:pt x="156" y="10"/>
                  </a:lnTo>
                  <a:lnTo>
                    <a:pt x="149" y="5"/>
                  </a:lnTo>
                  <a:lnTo>
                    <a:pt x="146" y="4"/>
                  </a:lnTo>
                  <a:lnTo>
                    <a:pt x="145" y="3"/>
                  </a:lnTo>
                  <a:lnTo>
                    <a:pt x="141" y="1"/>
                  </a:lnTo>
                  <a:lnTo>
                    <a:pt x="137" y="4"/>
                  </a:lnTo>
                  <a:lnTo>
                    <a:pt x="129" y="0"/>
                  </a:lnTo>
                  <a:lnTo>
                    <a:pt x="126" y="0"/>
                  </a:lnTo>
                  <a:lnTo>
                    <a:pt x="115" y="2"/>
                  </a:lnTo>
                  <a:lnTo>
                    <a:pt x="103" y="5"/>
                  </a:lnTo>
                  <a:lnTo>
                    <a:pt x="100" y="7"/>
                  </a:lnTo>
                  <a:lnTo>
                    <a:pt x="94" y="11"/>
                  </a:lnTo>
                  <a:lnTo>
                    <a:pt x="88" y="13"/>
                  </a:lnTo>
                  <a:lnTo>
                    <a:pt x="83" y="14"/>
                  </a:lnTo>
                  <a:lnTo>
                    <a:pt x="77" y="15"/>
                  </a:lnTo>
                  <a:lnTo>
                    <a:pt x="66" y="16"/>
                  </a:lnTo>
                  <a:lnTo>
                    <a:pt x="63" y="17"/>
                  </a:lnTo>
                  <a:lnTo>
                    <a:pt x="55" y="19"/>
                  </a:lnTo>
                  <a:lnTo>
                    <a:pt x="53" y="19"/>
                  </a:lnTo>
                  <a:lnTo>
                    <a:pt x="48" y="19"/>
                  </a:lnTo>
                  <a:lnTo>
                    <a:pt x="40" y="23"/>
                  </a:lnTo>
                  <a:lnTo>
                    <a:pt x="32" y="28"/>
                  </a:lnTo>
                  <a:lnTo>
                    <a:pt x="30" y="26"/>
                  </a:lnTo>
                  <a:lnTo>
                    <a:pt x="20" y="21"/>
                  </a:lnTo>
                  <a:lnTo>
                    <a:pt x="9" y="24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3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1" y="32"/>
                  </a:lnTo>
                  <a:lnTo>
                    <a:pt x="0" y="37"/>
                  </a:lnTo>
                  <a:lnTo>
                    <a:pt x="2" y="43"/>
                  </a:lnTo>
                  <a:lnTo>
                    <a:pt x="7" y="45"/>
                  </a:lnTo>
                  <a:lnTo>
                    <a:pt x="12" y="47"/>
                  </a:lnTo>
                  <a:lnTo>
                    <a:pt x="17" y="49"/>
                  </a:lnTo>
                  <a:lnTo>
                    <a:pt x="23" y="50"/>
                  </a:lnTo>
                  <a:lnTo>
                    <a:pt x="26" y="52"/>
                  </a:lnTo>
                  <a:lnTo>
                    <a:pt x="26" y="62"/>
                  </a:lnTo>
                  <a:lnTo>
                    <a:pt x="28" y="64"/>
                  </a:lnTo>
                  <a:lnTo>
                    <a:pt x="24" y="67"/>
                  </a:lnTo>
                  <a:lnTo>
                    <a:pt x="23" y="70"/>
                  </a:lnTo>
                  <a:lnTo>
                    <a:pt x="20" y="70"/>
                  </a:lnTo>
                  <a:lnTo>
                    <a:pt x="19" y="74"/>
                  </a:lnTo>
                  <a:lnTo>
                    <a:pt x="19" y="77"/>
                  </a:lnTo>
                  <a:lnTo>
                    <a:pt x="17" y="80"/>
                  </a:lnTo>
                  <a:lnTo>
                    <a:pt x="16" y="82"/>
                  </a:lnTo>
                  <a:lnTo>
                    <a:pt x="15" y="86"/>
                  </a:lnTo>
                  <a:lnTo>
                    <a:pt x="11" y="89"/>
                  </a:lnTo>
                  <a:lnTo>
                    <a:pt x="12" y="92"/>
                  </a:lnTo>
                  <a:lnTo>
                    <a:pt x="14" y="95"/>
                  </a:lnTo>
                  <a:lnTo>
                    <a:pt x="14" y="99"/>
                  </a:lnTo>
                  <a:lnTo>
                    <a:pt x="11" y="102"/>
                  </a:lnTo>
                  <a:lnTo>
                    <a:pt x="7" y="105"/>
                  </a:lnTo>
                  <a:lnTo>
                    <a:pt x="6" y="109"/>
                  </a:lnTo>
                  <a:lnTo>
                    <a:pt x="4" y="113"/>
                  </a:lnTo>
                  <a:lnTo>
                    <a:pt x="3" y="118"/>
                  </a:lnTo>
                  <a:lnTo>
                    <a:pt x="3" y="126"/>
                  </a:lnTo>
                  <a:lnTo>
                    <a:pt x="8" y="133"/>
                  </a:lnTo>
                  <a:lnTo>
                    <a:pt x="22" y="134"/>
                  </a:lnTo>
                  <a:lnTo>
                    <a:pt x="26" y="136"/>
                  </a:lnTo>
                  <a:lnTo>
                    <a:pt x="30" y="140"/>
                  </a:lnTo>
                  <a:lnTo>
                    <a:pt x="34" y="141"/>
                  </a:lnTo>
                  <a:lnTo>
                    <a:pt x="40" y="143"/>
                  </a:lnTo>
                  <a:lnTo>
                    <a:pt x="44" y="136"/>
                  </a:lnTo>
                  <a:lnTo>
                    <a:pt x="45" y="131"/>
                  </a:lnTo>
                  <a:lnTo>
                    <a:pt x="48" y="119"/>
                  </a:lnTo>
                  <a:lnTo>
                    <a:pt x="52" y="114"/>
                  </a:lnTo>
                  <a:lnTo>
                    <a:pt x="56" y="109"/>
                  </a:lnTo>
                  <a:lnTo>
                    <a:pt x="61" y="106"/>
                  </a:lnTo>
                  <a:lnTo>
                    <a:pt x="63" y="103"/>
                  </a:lnTo>
                  <a:lnTo>
                    <a:pt x="67" y="100"/>
                  </a:lnTo>
                  <a:lnTo>
                    <a:pt x="71" y="101"/>
                  </a:lnTo>
                  <a:lnTo>
                    <a:pt x="76" y="102"/>
                  </a:lnTo>
                  <a:lnTo>
                    <a:pt x="81" y="103"/>
                  </a:lnTo>
                  <a:lnTo>
                    <a:pt x="86" y="111"/>
                  </a:lnTo>
                  <a:lnTo>
                    <a:pt x="87" y="115"/>
                  </a:lnTo>
                  <a:lnTo>
                    <a:pt x="91" y="118"/>
                  </a:lnTo>
                  <a:lnTo>
                    <a:pt x="92" y="121"/>
                  </a:lnTo>
                  <a:lnTo>
                    <a:pt x="97" y="122"/>
                  </a:lnTo>
                  <a:lnTo>
                    <a:pt x="99" y="127"/>
                  </a:lnTo>
                  <a:lnTo>
                    <a:pt x="101" y="130"/>
                  </a:lnTo>
                  <a:lnTo>
                    <a:pt x="104" y="135"/>
                  </a:lnTo>
                  <a:lnTo>
                    <a:pt x="112" y="131"/>
                  </a:lnTo>
                  <a:lnTo>
                    <a:pt x="119" y="130"/>
                  </a:lnTo>
                  <a:lnTo>
                    <a:pt x="125" y="130"/>
                  </a:lnTo>
                  <a:lnTo>
                    <a:pt x="137" y="142"/>
                  </a:lnTo>
                  <a:lnTo>
                    <a:pt x="149" y="153"/>
                  </a:lnTo>
                  <a:lnTo>
                    <a:pt x="150" y="154"/>
                  </a:lnTo>
                  <a:lnTo>
                    <a:pt x="162" y="166"/>
                  </a:lnTo>
                  <a:lnTo>
                    <a:pt x="174" y="178"/>
                  </a:lnTo>
                  <a:lnTo>
                    <a:pt x="175" y="182"/>
                  </a:lnTo>
                  <a:lnTo>
                    <a:pt x="184" y="195"/>
                  </a:lnTo>
                  <a:lnTo>
                    <a:pt x="188" y="200"/>
                  </a:lnTo>
                  <a:lnTo>
                    <a:pt x="194" y="202"/>
                  </a:lnTo>
                  <a:lnTo>
                    <a:pt x="188" y="217"/>
                  </a:lnTo>
                  <a:lnTo>
                    <a:pt x="200" y="217"/>
                  </a:lnTo>
                  <a:lnTo>
                    <a:pt x="202" y="222"/>
                  </a:lnTo>
                  <a:lnTo>
                    <a:pt x="203" y="226"/>
                  </a:lnTo>
                  <a:lnTo>
                    <a:pt x="203" y="230"/>
                  </a:lnTo>
                  <a:lnTo>
                    <a:pt x="205" y="230"/>
                  </a:lnTo>
                  <a:lnTo>
                    <a:pt x="205" y="231"/>
                  </a:lnTo>
                  <a:lnTo>
                    <a:pt x="207" y="226"/>
                  </a:lnTo>
                  <a:lnTo>
                    <a:pt x="206" y="224"/>
                  </a:lnTo>
                  <a:lnTo>
                    <a:pt x="211" y="216"/>
                  </a:lnTo>
                  <a:lnTo>
                    <a:pt x="219" y="202"/>
                  </a:lnTo>
                  <a:lnTo>
                    <a:pt x="224" y="192"/>
                  </a:lnTo>
                  <a:lnTo>
                    <a:pt x="227" y="184"/>
                  </a:lnTo>
                  <a:lnTo>
                    <a:pt x="228" y="178"/>
                  </a:lnTo>
                  <a:lnTo>
                    <a:pt x="232" y="170"/>
                  </a:lnTo>
                  <a:lnTo>
                    <a:pt x="233" y="167"/>
                  </a:lnTo>
                  <a:lnTo>
                    <a:pt x="232" y="165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7" name="Freeform 51"/>
            <p:cNvSpPr>
              <a:spLocks/>
            </p:cNvSpPr>
            <p:nvPr/>
          </p:nvSpPr>
          <p:spPr bwMode="auto">
            <a:xfrm>
              <a:off x="1608" y="1272"/>
              <a:ext cx="9" cy="5"/>
            </a:xfrm>
            <a:custGeom>
              <a:avLst/>
              <a:gdLst>
                <a:gd name="T0" fmla="*/ 0 w 4"/>
                <a:gd name="T1" fmla="*/ 28458 h 3"/>
                <a:gd name="T2" fmla="*/ 10760531 w 4"/>
                <a:gd name="T3" fmla="*/ 79050 h 3"/>
                <a:gd name="T4" fmla="*/ 24211195 w 4"/>
                <a:gd name="T5" fmla="*/ 79050 h 3"/>
                <a:gd name="T6" fmla="*/ 24211195 w 4"/>
                <a:gd name="T7" fmla="*/ 47430 h 3"/>
                <a:gd name="T8" fmla="*/ 43568422 w 4"/>
                <a:gd name="T9" fmla="*/ 79050 h 3"/>
                <a:gd name="T10" fmla="*/ 43568422 w 4"/>
                <a:gd name="T11" fmla="*/ 0 h 3"/>
                <a:gd name="T12" fmla="*/ 34962365 w 4"/>
                <a:gd name="T13" fmla="*/ 0 h 3"/>
                <a:gd name="T14" fmla="*/ 0 w 4"/>
                <a:gd name="T15" fmla="*/ 28458 h 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4" h="3">
                  <a:moveTo>
                    <a:pt x="0" y="1"/>
                  </a:move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4" y="3"/>
                  </a:lnTo>
                  <a:lnTo>
                    <a:pt x="4" y="0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8" name="Freeform 52"/>
            <p:cNvSpPr>
              <a:spLocks/>
            </p:cNvSpPr>
            <p:nvPr/>
          </p:nvSpPr>
          <p:spPr bwMode="auto">
            <a:xfrm>
              <a:off x="1529" y="1259"/>
              <a:ext cx="67" cy="45"/>
            </a:xfrm>
            <a:custGeom>
              <a:avLst/>
              <a:gdLst>
                <a:gd name="T0" fmla="*/ 948883 w 35"/>
                <a:gd name="T1" fmla="*/ 4952014 h 24"/>
                <a:gd name="T2" fmla="*/ 3477172 w 35"/>
                <a:gd name="T3" fmla="*/ 6000261 h 24"/>
                <a:gd name="T4" fmla="*/ 7017614 w 35"/>
                <a:gd name="T5" fmla="*/ 6000261 h 24"/>
                <a:gd name="T6" fmla="*/ 7712251 w 35"/>
                <a:gd name="T7" fmla="*/ 6000261 h 24"/>
                <a:gd name="T8" fmla="*/ 8715421 w 35"/>
                <a:gd name="T9" fmla="*/ 6910868 h 24"/>
                <a:gd name="T10" fmla="*/ 10017151 w 35"/>
                <a:gd name="T11" fmla="*/ 6643952 h 24"/>
                <a:gd name="T12" fmla="*/ 10017151 w 35"/>
                <a:gd name="T13" fmla="*/ 6298474 h 24"/>
                <a:gd name="T14" fmla="*/ 10017151 w 35"/>
                <a:gd name="T15" fmla="*/ 6000261 h 24"/>
                <a:gd name="T16" fmla="*/ 9140619 w 35"/>
                <a:gd name="T17" fmla="*/ 5603726 h 24"/>
                <a:gd name="T18" fmla="*/ 8715421 w 35"/>
                <a:gd name="T19" fmla="*/ 5603726 h 24"/>
                <a:gd name="T20" fmla="*/ 8228400 w 35"/>
                <a:gd name="T21" fmla="*/ 4952014 h 24"/>
                <a:gd name="T22" fmla="*/ 7543074 w 35"/>
                <a:gd name="T23" fmla="*/ 4341193 h 24"/>
                <a:gd name="T24" fmla="*/ 6220663 w 35"/>
                <a:gd name="T25" fmla="*/ 4036849 h 24"/>
                <a:gd name="T26" fmla="*/ 7017614 w 35"/>
                <a:gd name="T27" fmla="*/ 3685796 h 24"/>
                <a:gd name="T28" fmla="*/ 7712251 w 35"/>
                <a:gd name="T29" fmla="*/ 3685796 h 24"/>
                <a:gd name="T30" fmla="*/ 9140619 w 35"/>
                <a:gd name="T31" fmla="*/ 3200139 h 24"/>
                <a:gd name="T32" fmla="*/ 10463838 w 35"/>
                <a:gd name="T33" fmla="*/ 2641074 h 24"/>
                <a:gd name="T34" fmla="*/ 13433718 w 35"/>
                <a:gd name="T35" fmla="*/ 2641074 h 24"/>
                <a:gd name="T36" fmla="*/ 15255092 w 35"/>
                <a:gd name="T37" fmla="*/ 2315303 h 24"/>
                <a:gd name="T38" fmla="*/ 15255092 w 35"/>
                <a:gd name="T39" fmla="*/ 1965758 h 24"/>
                <a:gd name="T40" fmla="*/ 13947511 w 35"/>
                <a:gd name="T41" fmla="*/ 1706741 h 24"/>
                <a:gd name="T42" fmla="*/ 11908126 w 35"/>
                <a:gd name="T43" fmla="*/ 1234828 h 24"/>
                <a:gd name="T44" fmla="*/ 8228400 w 35"/>
                <a:gd name="T45" fmla="*/ 0 h 24"/>
                <a:gd name="T46" fmla="*/ 7543074 w 35"/>
                <a:gd name="T47" fmla="*/ 351240 h 24"/>
                <a:gd name="T48" fmla="*/ 4774950 w 35"/>
                <a:gd name="T49" fmla="*/ 1408573 h 24"/>
                <a:gd name="T50" fmla="*/ 948883 w 35"/>
                <a:gd name="T51" fmla="*/ 2641074 h 24"/>
                <a:gd name="T52" fmla="*/ 0 w 35"/>
                <a:gd name="T53" fmla="*/ 2988654 h 24"/>
                <a:gd name="T54" fmla="*/ 0 w 35"/>
                <a:gd name="T55" fmla="*/ 3685796 h 24"/>
                <a:gd name="T56" fmla="*/ 0 w 35"/>
                <a:gd name="T57" fmla="*/ 4036849 h 24"/>
                <a:gd name="T58" fmla="*/ 948883 w 35"/>
                <a:gd name="T59" fmla="*/ 4952014 h 2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0" t="0" r="r" b="b"/>
              <a:pathLst>
                <a:path w="35" h="24">
                  <a:moveTo>
                    <a:pt x="2" y="17"/>
                  </a:moveTo>
                  <a:lnTo>
                    <a:pt x="8" y="21"/>
                  </a:lnTo>
                  <a:lnTo>
                    <a:pt x="16" y="21"/>
                  </a:lnTo>
                  <a:lnTo>
                    <a:pt x="18" y="21"/>
                  </a:lnTo>
                  <a:lnTo>
                    <a:pt x="20" y="24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19" y="17"/>
                  </a:lnTo>
                  <a:lnTo>
                    <a:pt x="17" y="15"/>
                  </a:lnTo>
                  <a:lnTo>
                    <a:pt x="14" y="14"/>
                  </a:lnTo>
                  <a:lnTo>
                    <a:pt x="16" y="13"/>
                  </a:lnTo>
                  <a:lnTo>
                    <a:pt x="18" y="13"/>
                  </a:lnTo>
                  <a:lnTo>
                    <a:pt x="21" y="11"/>
                  </a:lnTo>
                  <a:lnTo>
                    <a:pt x="24" y="9"/>
                  </a:lnTo>
                  <a:lnTo>
                    <a:pt x="31" y="9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2" y="6"/>
                  </a:lnTo>
                  <a:lnTo>
                    <a:pt x="27" y="4"/>
                  </a:lnTo>
                  <a:lnTo>
                    <a:pt x="19" y="0"/>
                  </a:lnTo>
                  <a:lnTo>
                    <a:pt x="17" y="1"/>
                  </a:lnTo>
                  <a:lnTo>
                    <a:pt x="11" y="5"/>
                  </a:lnTo>
                  <a:lnTo>
                    <a:pt x="2" y="9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4"/>
                  </a:lnTo>
                  <a:lnTo>
                    <a:pt x="2" y="17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79" name="Freeform 53"/>
            <p:cNvSpPr>
              <a:spLocks/>
            </p:cNvSpPr>
            <p:nvPr/>
          </p:nvSpPr>
          <p:spPr bwMode="auto">
            <a:xfrm>
              <a:off x="1492" y="1305"/>
              <a:ext cx="17" cy="10"/>
            </a:xfrm>
            <a:custGeom>
              <a:avLst/>
              <a:gdLst>
                <a:gd name="T0" fmla="*/ 736194 w 9"/>
                <a:gd name="T1" fmla="*/ 3145728 h 5"/>
                <a:gd name="T2" fmla="*/ 736194 w 9"/>
                <a:gd name="T3" fmla="*/ 3145728 h 5"/>
                <a:gd name="T4" fmla="*/ 389750 w 9"/>
                <a:gd name="T5" fmla="*/ 4194304 h 5"/>
                <a:gd name="T6" fmla="*/ 736194 w 9"/>
                <a:gd name="T7" fmla="*/ 5242880 h 5"/>
                <a:gd name="T8" fmla="*/ 1060298 w 9"/>
                <a:gd name="T9" fmla="*/ 5242880 h 5"/>
                <a:gd name="T10" fmla="*/ 1566223 w 9"/>
                <a:gd name="T11" fmla="*/ 5242880 h 5"/>
                <a:gd name="T12" fmla="*/ 1566223 w 9"/>
                <a:gd name="T13" fmla="*/ 4194304 h 5"/>
                <a:gd name="T14" fmla="*/ 1390589 w 9"/>
                <a:gd name="T15" fmla="*/ 4194304 h 5"/>
                <a:gd name="T16" fmla="*/ 1390589 w 9"/>
                <a:gd name="T17" fmla="*/ 3145728 h 5"/>
                <a:gd name="T18" fmla="*/ 1566223 w 9"/>
                <a:gd name="T19" fmla="*/ 3145728 h 5"/>
                <a:gd name="T20" fmla="*/ 2002785 w 9"/>
                <a:gd name="T21" fmla="*/ 1048576 h 5"/>
                <a:gd name="T22" fmla="*/ 2958421 w 9"/>
                <a:gd name="T23" fmla="*/ 0 h 5"/>
                <a:gd name="T24" fmla="*/ 2333001 w 9"/>
                <a:gd name="T25" fmla="*/ 0 h 5"/>
                <a:gd name="T26" fmla="*/ 2002785 w 9"/>
                <a:gd name="T27" fmla="*/ 0 h 5"/>
                <a:gd name="T28" fmla="*/ 0 w 9"/>
                <a:gd name="T29" fmla="*/ 0 h 5"/>
                <a:gd name="T30" fmla="*/ 0 w 9"/>
                <a:gd name="T31" fmla="*/ 2097152 h 5"/>
                <a:gd name="T32" fmla="*/ 0 w 9"/>
                <a:gd name="T33" fmla="*/ 3145728 h 5"/>
                <a:gd name="T34" fmla="*/ 736194 w 9"/>
                <a:gd name="T35" fmla="*/ 3145728 h 5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" h="5">
                  <a:moveTo>
                    <a:pt x="2" y="3"/>
                  </a:moveTo>
                  <a:lnTo>
                    <a:pt x="2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1"/>
                  </a:lnTo>
                  <a:lnTo>
                    <a:pt x="9" y="0"/>
                  </a:lnTo>
                  <a:lnTo>
                    <a:pt x="7" y="0"/>
                  </a:lnTo>
                  <a:lnTo>
                    <a:pt x="6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"/>
                  </a:lnTo>
                  <a:lnTo>
                    <a:pt x="2" y="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0" name="Freeform 54"/>
            <p:cNvSpPr>
              <a:spLocks/>
            </p:cNvSpPr>
            <p:nvPr/>
          </p:nvSpPr>
          <p:spPr bwMode="auto">
            <a:xfrm>
              <a:off x="1303" y="1335"/>
              <a:ext cx="91" cy="42"/>
            </a:xfrm>
            <a:custGeom>
              <a:avLst/>
              <a:gdLst>
                <a:gd name="T0" fmla="*/ 1745668 w 47"/>
                <a:gd name="T1" fmla="*/ 6718856 h 22"/>
                <a:gd name="T2" fmla="*/ 1745668 w 47"/>
                <a:gd name="T3" fmla="*/ 6886379 h 22"/>
                <a:gd name="T4" fmla="*/ 1745668 w 47"/>
                <a:gd name="T5" fmla="*/ 6886379 h 22"/>
                <a:gd name="T6" fmla="*/ 1123749 w 47"/>
                <a:gd name="T7" fmla="*/ 8250068 h 22"/>
                <a:gd name="T8" fmla="*/ 1123749 w 47"/>
                <a:gd name="T9" fmla="*/ 9080142 h 22"/>
                <a:gd name="T10" fmla="*/ 1745668 w 47"/>
                <a:gd name="T11" fmla="*/ 9080142 h 22"/>
                <a:gd name="T12" fmla="*/ 1745668 w 47"/>
                <a:gd name="T13" fmla="*/ 8250068 h 22"/>
                <a:gd name="T14" fmla="*/ 2800827 w 47"/>
                <a:gd name="T15" fmla="*/ 8250068 h 22"/>
                <a:gd name="T16" fmla="*/ 3379910 w 47"/>
                <a:gd name="T17" fmla="*/ 6886379 h 22"/>
                <a:gd name="T18" fmla="*/ 4212659 w 47"/>
                <a:gd name="T19" fmla="*/ 6718856 h 22"/>
                <a:gd name="T20" fmla="*/ 4838079 w 47"/>
                <a:gd name="T21" fmla="*/ 5882719 h 22"/>
                <a:gd name="T22" fmla="*/ 5422878 w 47"/>
                <a:gd name="T23" fmla="*/ 5882719 h 22"/>
                <a:gd name="T24" fmla="*/ 9988164 w 47"/>
                <a:gd name="T25" fmla="*/ 5477982 h 22"/>
                <a:gd name="T26" fmla="*/ 15326902 w 47"/>
                <a:gd name="T27" fmla="*/ 4970883 h 22"/>
                <a:gd name="T28" fmla="*/ 17512137 w 47"/>
                <a:gd name="T29" fmla="*/ 4109290 h 22"/>
                <a:gd name="T30" fmla="*/ 18136772 w 47"/>
                <a:gd name="T31" fmla="*/ 3607151 h 22"/>
                <a:gd name="T32" fmla="*/ 18718026 w 47"/>
                <a:gd name="T33" fmla="*/ 2869419 h 22"/>
                <a:gd name="T34" fmla="*/ 21759573 w 47"/>
                <a:gd name="T35" fmla="*/ 2366996 h 22"/>
                <a:gd name="T36" fmla="*/ 22338446 w 47"/>
                <a:gd name="T37" fmla="*/ 2152485 h 22"/>
                <a:gd name="T38" fmla="*/ 24117660 w 47"/>
                <a:gd name="T39" fmla="*/ 1708539 h 22"/>
                <a:gd name="T40" fmla="*/ 24532158 w 47"/>
                <a:gd name="T41" fmla="*/ 1239855 h 22"/>
                <a:gd name="T42" fmla="*/ 25738850 w 47"/>
                <a:gd name="T43" fmla="*/ 894949 h 22"/>
                <a:gd name="T44" fmla="*/ 25738850 w 47"/>
                <a:gd name="T45" fmla="*/ 468783 h 22"/>
                <a:gd name="T46" fmla="*/ 23545967 w 47"/>
                <a:gd name="T47" fmla="*/ 0 h 22"/>
                <a:gd name="T48" fmla="*/ 20329042 w 47"/>
                <a:gd name="T49" fmla="*/ 0 h 22"/>
                <a:gd name="T50" fmla="*/ 3943121 w 47"/>
                <a:gd name="T51" fmla="*/ 2152485 h 22"/>
                <a:gd name="T52" fmla="*/ 1745668 w 47"/>
                <a:gd name="T53" fmla="*/ 3261756 h 22"/>
                <a:gd name="T54" fmla="*/ 580398 w 47"/>
                <a:gd name="T55" fmla="*/ 5477982 h 22"/>
                <a:gd name="T56" fmla="*/ 0 w 47"/>
                <a:gd name="T57" fmla="*/ 6718856 h 22"/>
                <a:gd name="T58" fmla="*/ 580398 w 47"/>
                <a:gd name="T59" fmla="*/ 6886379 h 22"/>
                <a:gd name="T60" fmla="*/ 1745668 w 47"/>
                <a:gd name="T61" fmla="*/ 6718856 h 22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0" t="0" r="r" b="b"/>
              <a:pathLst>
                <a:path w="47" h="22">
                  <a:moveTo>
                    <a:pt x="3" y="16"/>
                  </a:moveTo>
                  <a:lnTo>
                    <a:pt x="3" y="17"/>
                  </a:lnTo>
                  <a:lnTo>
                    <a:pt x="2" y="20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0"/>
                  </a:lnTo>
                  <a:lnTo>
                    <a:pt x="5" y="20"/>
                  </a:lnTo>
                  <a:lnTo>
                    <a:pt x="6" y="17"/>
                  </a:lnTo>
                  <a:lnTo>
                    <a:pt x="8" y="16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8" y="13"/>
                  </a:lnTo>
                  <a:lnTo>
                    <a:pt x="28" y="12"/>
                  </a:lnTo>
                  <a:lnTo>
                    <a:pt x="32" y="10"/>
                  </a:lnTo>
                  <a:lnTo>
                    <a:pt x="33" y="9"/>
                  </a:lnTo>
                  <a:lnTo>
                    <a:pt x="34" y="7"/>
                  </a:lnTo>
                  <a:lnTo>
                    <a:pt x="40" y="6"/>
                  </a:lnTo>
                  <a:lnTo>
                    <a:pt x="41" y="5"/>
                  </a:lnTo>
                  <a:lnTo>
                    <a:pt x="44" y="4"/>
                  </a:lnTo>
                  <a:lnTo>
                    <a:pt x="45" y="3"/>
                  </a:lnTo>
                  <a:lnTo>
                    <a:pt x="47" y="2"/>
                  </a:lnTo>
                  <a:lnTo>
                    <a:pt x="47" y="1"/>
                  </a:lnTo>
                  <a:lnTo>
                    <a:pt x="43" y="0"/>
                  </a:lnTo>
                  <a:lnTo>
                    <a:pt x="37" y="0"/>
                  </a:lnTo>
                  <a:lnTo>
                    <a:pt x="7" y="5"/>
                  </a:lnTo>
                  <a:lnTo>
                    <a:pt x="3" y="8"/>
                  </a:lnTo>
                  <a:lnTo>
                    <a:pt x="1" y="13"/>
                  </a:lnTo>
                  <a:lnTo>
                    <a:pt x="0" y="16"/>
                  </a:lnTo>
                  <a:lnTo>
                    <a:pt x="1" y="17"/>
                  </a:lnTo>
                  <a:lnTo>
                    <a:pt x="3" y="16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1" name="Freeform 55"/>
            <p:cNvSpPr>
              <a:spLocks/>
            </p:cNvSpPr>
            <p:nvPr/>
          </p:nvSpPr>
          <p:spPr bwMode="auto">
            <a:xfrm>
              <a:off x="1071" y="2508"/>
              <a:ext cx="296" cy="698"/>
            </a:xfrm>
            <a:custGeom>
              <a:avLst/>
              <a:gdLst>
                <a:gd name="T0" fmla="*/ 47992605 w 152"/>
                <a:gd name="T1" fmla="*/ 2626386 h 374"/>
                <a:gd name="T2" fmla="*/ 41666631 w 152"/>
                <a:gd name="T3" fmla="*/ 1300100 h 374"/>
                <a:gd name="T4" fmla="*/ 52742762 w 152"/>
                <a:gd name="T5" fmla="*/ 6351569 h 374"/>
                <a:gd name="T6" fmla="*/ 65055725 w 152"/>
                <a:gd name="T7" fmla="*/ 18385734 h 374"/>
                <a:gd name="T8" fmla="*/ 42980359 w 152"/>
                <a:gd name="T9" fmla="*/ 20538531 h 374"/>
                <a:gd name="T10" fmla="*/ 16073380 w 152"/>
                <a:gd name="T11" fmla="*/ 44240263 h 374"/>
                <a:gd name="T12" fmla="*/ 11682018 w 152"/>
                <a:gd name="T13" fmla="*/ 55484746 h 374"/>
                <a:gd name="T14" fmla="*/ 16714890 w 152"/>
                <a:gd name="T15" fmla="*/ 57041719 h 374"/>
                <a:gd name="T16" fmla="*/ 21396378 w 152"/>
                <a:gd name="T17" fmla="*/ 57041719 h 374"/>
                <a:gd name="T18" fmla="*/ 29301515 w 152"/>
                <a:gd name="T19" fmla="*/ 58341819 h 374"/>
                <a:gd name="T20" fmla="*/ 31300793 w 152"/>
                <a:gd name="T21" fmla="*/ 60015326 h 374"/>
                <a:gd name="T22" fmla="*/ 38882531 w 152"/>
                <a:gd name="T23" fmla="*/ 59143737 h 374"/>
                <a:gd name="T24" fmla="*/ 37648850 w 152"/>
                <a:gd name="T25" fmla="*/ 62267033 h 374"/>
                <a:gd name="T26" fmla="*/ 36982629 w 152"/>
                <a:gd name="T27" fmla="*/ 65772447 h 374"/>
                <a:gd name="T28" fmla="*/ 33061831 w 152"/>
                <a:gd name="T29" fmla="*/ 67595076 h 374"/>
                <a:gd name="T30" fmla="*/ 28396875 w 152"/>
                <a:gd name="T31" fmla="*/ 71538037 h 374"/>
                <a:gd name="T32" fmla="*/ 25322866 w 152"/>
                <a:gd name="T33" fmla="*/ 76453967 h 374"/>
                <a:gd name="T34" fmla="*/ 27725580 w 152"/>
                <a:gd name="T35" fmla="*/ 78550246 h 374"/>
                <a:gd name="T36" fmla="*/ 23300505 w 152"/>
                <a:gd name="T37" fmla="*/ 83075025 h 374"/>
                <a:gd name="T38" fmla="*/ 16714890 w 152"/>
                <a:gd name="T39" fmla="*/ 85875849 h 374"/>
                <a:gd name="T40" fmla="*/ 11682018 w 152"/>
                <a:gd name="T41" fmla="*/ 88906350 h 374"/>
                <a:gd name="T42" fmla="*/ 13634114 w 152"/>
                <a:gd name="T43" fmla="*/ 91703955 h 374"/>
                <a:gd name="T44" fmla="*/ 19681028 w 152"/>
                <a:gd name="T45" fmla="*/ 93111119 h 374"/>
                <a:gd name="T46" fmla="*/ 18991080 w 152"/>
                <a:gd name="T47" fmla="*/ 98003950 h 374"/>
                <a:gd name="T48" fmla="*/ 27084121 w 152"/>
                <a:gd name="T49" fmla="*/ 96234546 h 374"/>
                <a:gd name="T50" fmla="*/ 38882531 w 152"/>
                <a:gd name="T51" fmla="*/ 97400807 h 374"/>
                <a:gd name="T52" fmla="*/ 48623318 w 152"/>
                <a:gd name="T53" fmla="*/ 98332379 h 374"/>
                <a:gd name="T54" fmla="*/ 59719482 w 152"/>
                <a:gd name="T55" fmla="*/ 98003950 h 374"/>
                <a:gd name="T56" fmla="*/ 61625687 w 152"/>
                <a:gd name="T57" fmla="*/ 94603536 h 374"/>
                <a:gd name="T58" fmla="*/ 65055725 w 152"/>
                <a:gd name="T59" fmla="*/ 92227445 h 374"/>
                <a:gd name="T60" fmla="*/ 66290199 w 152"/>
                <a:gd name="T61" fmla="*/ 88906350 h 374"/>
                <a:gd name="T62" fmla="*/ 72638048 w 152"/>
                <a:gd name="T63" fmla="*/ 88906350 h 374"/>
                <a:gd name="T64" fmla="*/ 73956948 w 152"/>
                <a:gd name="T65" fmla="*/ 83532368 h 374"/>
                <a:gd name="T66" fmla="*/ 70064479 w 152"/>
                <a:gd name="T67" fmla="*/ 81547418 h 374"/>
                <a:gd name="T68" fmla="*/ 64064725 w 152"/>
                <a:gd name="T69" fmla="*/ 78027548 h 374"/>
                <a:gd name="T70" fmla="*/ 53991919 w 152"/>
                <a:gd name="T71" fmla="*/ 75600880 h 374"/>
                <a:gd name="T72" fmla="*/ 48623318 w 152"/>
                <a:gd name="T73" fmla="*/ 74114726 h 374"/>
                <a:gd name="T74" fmla="*/ 42980359 w 152"/>
                <a:gd name="T75" fmla="*/ 69864541 h 374"/>
                <a:gd name="T76" fmla="*/ 53373700 w 152"/>
                <a:gd name="T77" fmla="*/ 70991994 h 374"/>
                <a:gd name="T78" fmla="*/ 57751185 w 152"/>
                <a:gd name="T79" fmla="*/ 68565436 h 374"/>
                <a:gd name="T80" fmla="*/ 66983760 w 152"/>
                <a:gd name="T81" fmla="*/ 65162790 h 374"/>
                <a:gd name="T82" fmla="*/ 74635255 w 152"/>
                <a:gd name="T83" fmla="*/ 62267033 h 374"/>
                <a:gd name="T84" fmla="*/ 83698594 w 152"/>
                <a:gd name="T85" fmla="*/ 60120767 h 374"/>
                <a:gd name="T86" fmla="*/ 84932275 w 152"/>
                <a:gd name="T87" fmla="*/ 55765213 h 374"/>
                <a:gd name="T88" fmla="*/ 71385401 w 152"/>
                <a:gd name="T89" fmla="*/ 54091824 h 374"/>
                <a:gd name="T90" fmla="*/ 79290940 w 152"/>
                <a:gd name="T91" fmla="*/ 48159716 h 374"/>
                <a:gd name="T92" fmla="*/ 86960529 w 152"/>
                <a:gd name="T93" fmla="*/ 42566996 h 374"/>
                <a:gd name="T94" fmla="*/ 90973193 w 152"/>
                <a:gd name="T95" fmla="*/ 36069404 h 374"/>
                <a:gd name="T96" fmla="*/ 91613067 w 152"/>
                <a:gd name="T97" fmla="*/ 27951328 h 374"/>
                <a:gd name="T98" fmla="*/ 83698594 w 152"/>
                <a:gd name="T99" fmla="*/ 20662179 h 374"/>
                <a:gd name="T100" fmla="*/ 78065712 w 152"/>
                <a:gd name="T101" fmla="*/ 17876831 h 374"/>
                <a:gd name="T102" fmla="*/ 75718613 w 152"/>
                <a:gd name="T103" fmla="*/ 13676700 h 374"/>
                <a:gd name="T104" fmla="*/ 75162396 w 152"/>
                <a:gd name="T105" fmla="*/ 11574682 h 374"/>
                <a:gd name="T106" fmla="*/ 71385401 w 152"/>
                <a:gd name="T107" fmla="*/ 11004886 h 374"/>
                <a:gd name="T108" fmla="*/ 65697494 w 152"/>
                <a:gd name="T109" fmla="*/ 6351569 h 374"/>
                <a:gd name="T110" fmla="*/ 54624746 w 152"/>
                <a:gd name="T111" fmla="*/ 3926573 h 374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152" h="374">
                  <a:moveTo>
                    <a:pt x="86" y="13"/>
                  </a:moveTo>
                  <a:lnTo>
                    <a:pt x="85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1" y="10"/>
                  </a:lnTo>
                  <a:lnTo>
                    <a:pt x="78" y="10"/>
                  </a:lnTo>
                  <a:lnTo>
                    <a:pt x="78" y="7"/>
                  </a:lnTo>
                  <a:lnTo>
                    <a:pt x="77" y="6"/>
                  </a:lnTo>
                  <a:lnTo>
                    <a:pt x="74" y="1"/>
                  </a:lnTo>
                  <a:lnTo>
                    <a:pt x="72" y="0"/>
                  </a:lnTo>
                  <a:lnTo>
                    <a:pt x="70" y="1"/>
                  </a:lnTo>
                  <a:lnTo>
                    <a:pt x="67" y="1"/>
                  </a:lnTo>
                  <a:lnTo>
                    <a:pt x="67" y="3"/>
                  </a:lnTo>
                  <a:lnTo>
                    <a:pt x="68" y="5"/>
                  </a:lnTo>
                  <a:lnTo>
                    <a:pt x="68" y="6"/>
                  </a:lnTo>
                  <a:lnTo>
                    <a:pt x="67" y="8"/>
                  </a:lnTo>
                  <a:lnTo>
                    <a:pt x="70" y="9"/>
                  </a:lnTo>
                  <a:lnTo>
                    <a:pt x="71" y="14"/>
                  </a:lnTo>
                  <a:lnTo>
                    <a:pt x="73" y="20"/>
                  </a:lnTo>
                  <a:lnTo>
                    <a:pt x="76" y="22"/>
                  </a:lnTo>
                  <a:lnTo>
                    <a:pt x="81" y="23"/>
                  </a:lnTo>
                  <a:lnTo>
                    <a:pt x="86" y="24"/>
                  </a:lnTo>
                  <a:lnTo>
                    <a:pt x="89" y="27"/>
                  </a:lnTo>
                  <a:lnTo>
                    <a:pt x="89" y="35"/>
                  </a:lnTo>
                  <a:lnTo>
                    <a:pt x="88" y="39"/>
                  </a:lnTo>
                  <a:lnTo>
                    <a:pt x="92" y="40"/>
                  </a:lnTo>
                  <a:lnTo>
                    <a:pt x="91" y="47"/>
                  </a:lnTo>
                  <a:lnTo>
                    <a:pt x="97" y="52"/>
                  </a:lnTo>
                  <a:lnTo>
                    <a:pt x="102" y="58"/>
                  </a:lnTo>
                  <a:lnTo>
                    <a:pt x="106" y="70"/>
                  </a:lnTo>
                  <a:lnTo>
                    <a:pt x="108" y="78"/>
                  </a:lnTo>
                  <a:lnTo>
                    <a:pt x="106" y="78"/>
                  </a:lnTo>
                  <a:lnTo>
                    <a:pt x="103" y="80"/>
                  </a:lnTo>
                  <a:lnTo>
                    <a:pt x="100" y="76"/>
                  </a:lnTo>
                  <a:lnTo>
                    <a:pt x="97" y="74"/>
                  </a:lnTo>
                  <a:lnTo>
                    <a:pt x="85" y="79"/>
                  </a:lnTo>
                  <a:lnTo>
                    <a:pt x="75" y="81"/>
                  </a:lnTo>
                  <a:lnTo>
                    <a:pt x="70" y="78"/>
                  </a:lnTo>
                  <a:lnTo>
                    <a:pt x="60" y="76"/>
                  </a:lnTo>
                  <a:lnTo>
                    <a:pt x="63" y="98"/>
                  </a:lnTo>
                  <a:lnTo>
                    <a:pt x="66" y="104"/>
                  </a:lnTo>
                  <a:lnTo>
                    <a:pt x="69" y="120"/>
                  </a:lnTo>
                  <a:lnTo>
                    <a:pt x="82" y="140"/>
                  </a:lnTo>
                  <a:lnTo>
                    <a:pt x="69" y="152"/>
                  </a:lnTo>
                  <a:lnTo>
                    <a:pt x="41" y="160"/>
                  </a:lnTo>
                  <a:lnTo>
                    <a:pt x="26" y="168"/>
                  </a:lnTo>
                  <a:lnTo>
                    <a:pt x="16" y="183"/>
                  </a:lnTo>
                  <a:lnTo>
                    <a:pt x="15" y="198"/>
                  </a:lnTo>
                  <a:lnTo>
                    <a:pt x="7" y="200"/>
                  </a:lnTo>
                  <a:lnTo>
                    <a:pt x="3" y="201"/>
                  </a:lnTo>
                  <a:lnTo>
                    <a:pt x="0" y="201"/>
                  </a:lnTo>
                  <a:lnTo>
                    <a:pt x="0" y="203"/>
                  </a:lnTo>
                  <a:lnTo>
                    <a:pt x="2" y="203"/>
                  </a:lnTo>
                  <a:lnTo>
                    <a:pt x="19" y="211"/>
                  </a:lnTo>
                  <a:lnTo>
                    <a:pt x="21" y="212"/>
                  </a:lnTo>
                  <a:lnTo>
                    <a:pt x="22" y="213"/>
                  </a:lnTo>
                  <a:lnTo>
                    <a:pt x="21" y="213"/>
                  </a:lnTo>
                  <a:lnTo>
                    <a:pt x="22" y="216"/>
                  </a:lnTo>
                  <a:lnTo>
                    <a:pt x="22" y="217"/>
                  </a:lnTo>
                  <a:lnTo>
                    <a:pt x="24" y="216"/>
                  </a:lnTo>
                  <a:lnTo>
                    <a:pt x="26" y="216"/>
                  </a:lnTo>
                  <a:lnTo>
                    <a:pt x="27" y="217"/>
                  </a:lnTo>
                  <a:lnTo>
                    <a:pt x="29" y="216"/>
                  </a:lnTo>
                  <a:lnTo>
                    <a:pt x="31" y="217"/>
                  </a:lnTo>
                  <a:lnTo>
                    <a:pt x="32" y="217"/>
                  </a:lnTo>
                  <a:lnTo>
                    <a:pt x="34" y="217"/>
                  </a:lnTo>
                  <a:lnTo>
                    <a:pt x="34" y="218"/>
                  </a:lnTo>
                  <a:lnTo>
                    <a:pt x="35" y="217"/>
                  </a:lnTo>
                  <a:lnTo>
                    <a:pt x="41" y="216"/>
                  </a:lnTo>
                  <a:lnTo>
                    <a:pt x="42" y="215"/>
                  </a:lnTo>
                  <a:lnTo>
                    <a:pt x="47" y="217"/>
                  </a:lnTo>
                  <a:lnTo>
                    <a:pt x="49" y="218"/>
                  </a:lnTo>
                  <a:lnTo>
                    <a:pt x="49" y="220"/>
                  </a:lnTo>
                  <a:lnTo>
                    <a:pt x="50" y="221"/>
                  </a:lnTo>
                  <a:lnTo>
                    <a:pt x="48" y="222"/>
                  </a:lnTo>
                  <a:lnTo>
                    <a:pt x="48" y="223"/>
                  </a:lnTo>
                  <a:lnTo>
                    <a:pt x="50" y="223"/>
                  </a:lnTo>
                  <a:lnTo>
                    <a:pt x="50" y="224"/>
                  </a:lnTo>
                  <a:lnTo>
                    <a:pt x="50" y="225"/>
                  </a:lnTo>
                  <a:lnTo>
                    <a:pt x="49" y="227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3" y="226"/>
                  </a:lnTo>
                  <a:lnTo>
                    <a:pt x="55" y="226"/>
                  </a:lnTo>
                  <a:lnTo>
                    <a:pt x="56" y="224"/>
                  </a:lnTo>
                  <a:lnTo>
                    <a:pt x="59" y="225"/>
                  </a:lnTo>
                  <a:lnTo>
                    <a:pt x="60" y="222"/>
                  </a:lnTo>
                  <a:lnTo>
                    <a:pt x="61" y="223"/>
                  </a:lnTo>
                  <a:lnTo>
                    <a:pt x="63" y="225"/>
                  </a:lnTo>
                  <a:lnTo>
                    <a:pt x="63" y="226"/>
                  </a:lnTo>
                  <a:lnTo>
                    <a:pt x="63" y="228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6" y="233"/>
                  </a:lnTo>
                  <a:lnTo>
                    <a:pt x="64" y="236"/>
                  </a:lnTo>
                  <a:lnTo>
                    <a:pt x="61" y="237"/>
                  </a:lnTo>
                  <a:lnTo>
                    <a:pt x="59" y="238"/>
                  </a:lnTo>
                  <a:lnTo>
                    <a:pt x="58" y="240"/>
                  </a:lnTo>
                  <a:lnTo>
                    <a:pt x="57" y="242"/>
                  </a:lnTo>
                  <a:lnTo>
                    <a:pt x="57" y="244"/>
                  </a:lnTo>
                  <a:lnTo>
                    <a:pt x="62" y="245"/>
                  </a:lnTo>
                  <a:lnTo>
                    <a:pt x="63" y="247"/>
                  </a:lnTo>
                  <a:lnTo>
                    <a:pt x="62" y="249"/>
                  </a:lnTo>
                  <a:lnTo>
                    <a:pt x="60" y="250"/>
                  </a:lnTo>
                  <a:lnTo>
                    <a:pt x="58" y="249"/>
                  </a:lnTo>
                  <a:lnTo>
                    <a:pt x="57" y="249"/>
                  </a:lnTo>
                  <a:lnTo>
                    <a:pt x="55" y="249"/>
                  </a:lnTo>
                  <a:lnTo>
                    <a:pt x="54" y="251"/>
                  </a:lnTo>
                  <a:lnTo>
                    <a:pt x="56" y="254"/>
                  </a:lnTo>
                  <a:lnTo>
                    <a:pt x="56" y="255"/>
                  </a:lnTo>
                  <a:lnTo>
                    <a:pt x="55" y="256"/>
                  </a:lnTo>
                  <a:lnTo>
                    <a:pt x="54" y="257"/>
                  </a:lnTo>
                  <a:lnTo>
                    <a:pt x="55" y="260"/>
                  </a:lnTo>
                  <a:lnTo>
                    <a:pt x="55" y="262"/>
                  </a:lnTo>
                  <a:lnTo>
                    <a:pt x="53" y="262"/>
                  </a:lnTo>
                  <a:lnTo>
                    <a:pt x="50" y="261"/>
                  </a:lnTo>
                  <a:lnTo>
                    <a:pt x="49" y="261"/>
                  </a:lnTo>
                  <a:lnTo>
                    <a:pt x="48" y="266"/>
                  </a:lnTo>
                  <a:lnTo>
                    <a:pt x="45" y="271"/>
                  </a:lnTo>
                  <a:lnTo>
                    <a:pt x="46" y="272"/>
                  </a:lnTo>
                  <a:lnTo>
                    <a:pt x="49" y="274"/>
                  </a:lnTo>
                  <a:lnTo>
                    <a:pt x="49" y="276"/>
                  </a:lnTo>
                  <a:lnTo>
                    <a:pt x="48" y="280"/>
                  </a:lnTo>
                  <a:lnTo>
                    <a:pt x="48" y="283"/>
                  </a:lnTo>
                  <a:lnTo>
                    <a:pt x="47" y="285"/>
                  </a:lnTo>
                  <a:lnTo>
                    <a:pt x="44" y="290"/>
                  </a:lnTo>
                  <a:lnTo>
                    <a:pt x="41" y="291"/>
                  </a:lnTo>
                  <a:lnTo>
                    <a:pt x="40" y="294"/>
                  </a:lnTo>
                  <a:lnTo>
                    <a:pt x="37" y="297"/>
                  </a:lnTo>
                  <a:lnTo>
                    <a:pt x="37" y="299"/>
                  </a:lnTo>
                  <a:lnTo>
                    <a:pt x="39" y="300"/>
                  </a:lnTo>
                  <a:lnTo>
                    <a:pt x="40" y="299"/>
                  </a:lnTo>
                  <a:lnTo>
                    <a:pt x="42" y="298"/>
                  </a:lnTo>
                  <a:lnTo>
                    <a:pt x="44" y="298"/>
                  </a:lnTo>
                  <a:lnTo>
                    <a:pt x="45" y="299"/>
                  </a:lnTo>
                  <a:lnTo>
                    <a:pt x="46" y="300"/>
                  </a:lnTo>
                  <a:lnTo>
                    <a:pt x="45" y="301"/>
                  </a:lnTo>
                  <a:lnTo>
                    <a:pt x="44" y="302"/>
                  </a:lnTo>
                  <a:lnTo>
                    <a:pt x="43" y="303"/>
                  </a:lnTo>
                  <a:lnTo>
                    <a:pt x="42" y="307"/>
                  </a:lnTo>
                  <a:lnTo>
                    <a:pt x="39" y="311"/>
                  </a:lnTo>
                  <a:lnTo>
                    <a:pt x="38" y="315"/>
                  </a:lnTo>
                  <a:lnTo>
                    <a:pt x="38" y="316"/>
                  </a:lnTo>
                  <a:lnTo>
                    <a:pt x="36" y="317"/>
                  </a:lnTo>
                  <a:lnTo>
                    <a:pt x="34" y="316"/>
                  </a:lnTo>
                  <a:lnTo>
                    <a:pt x="32" y="316"/>
                  </a:lnTo>
                  <a:lnTo>
                    <a:pt x="32" y="317"/>
                  </a:lnTo>
                  <a:lnTo>
                    <a:pt x="31" y="320"/>
                  </a:lnTo>
                  <a:lnTo>
                    <a:pt x="31" y="322"/>
                  </a:lnTo>
                  <a:lnTo>
                    <a:pt x="28" y="325"/>
                  </a:lnTo>
                  <a:lnTo>
                    <a:pt x="27" y="327"/>
                  </a:lnTo>
                  <a:lnTo>
                    <a:pt x="26" y="326"/>
                  </a:lnTo>
                  <a:lnTo>
                    <a:pt x="23" y="329"/>
                  </a:lnTo>
                  <a:lnTo>
                    <a:pt x="20" y="330"/>
                  </a:lnTo>
                  <a:lnTo>
                    <a:pt x="21" y="331"/>
                  </a:lnTo>
                  <a:lnTo>
                    <a:pt x="19" y="333"/>
                  </a:lnTo>
                  <a:lnTo>
                    <a:pt x="20" y="334"/>
                  </a:lnTo>
                  <a:lnTo>
                    <a:pt x="18" y="337"/>
                  </a:lnTo>
                  <a:lnTo>
                    <a:pt x="19" y="338"/>
                  </a:lnTo>
                  <a:lnTo>
                    <a:pt x="18" y="339"/>
                  </a:lnTo>
                  <a:lnTo>
                    <a:pt x="19" y="341"/>
                  </a:lnTo>
                  <a:lnTo>
                    <a:pt x="20" y="342"/>
                  </a:lnTo>
                  <a:lnTo>
                    <a:pt x="20" y="343"/>
                  </a:lnTo>
                  <a:lnTo>
                    <a:pt x="21" y="345"/>
                  </a:lnTo>
                  <a:lnTo>
                    <a:pt x="21" y="346"/>
                  </a:lnTo>
                  <a:lnTo>
                    <a:pt x="22" y="348"/>
                  </a:lnTo>
                  <a:lnTo>
                    <a:pt x="22" y="349"/>
                  </a:lnTo>
                  <a:lnTo>
                    <a:pt x="25" y="350"/>
                  </a:lnTo>
                  <a:lnTo>
                    <a:pt x="26" y="350"/>
                  </a:lnTo>
                  <a:lnTo>
                    <a:pt x="27" y="351"/>
                  </a:lnTo>
                  <a:lnTo>
                    <a:pt x="27" y="350"/>
                  </a:lnTo>
                  <a:lnTo>
                    <a:pt x="28" y="352"/>
                  </a:lnTo>
                  <a:lnTo>
                    <a:pt x="29" y="352"/>
                  </a:lnTo>
                  <a:lnTo>
                    <a:pt x="31" y="352"/>
                  </a:lnTo>
                  <a:lnTo>
                    <a:pt x="32" y="354"/>
                  </a:lnTo>
                  <a:lnTo>
                    <a:pt x="30" y="358"/>
                  </a:lnTo>
                  <a:lnTo>
                    <a:pt x="33" y="363"/>
                  </a:lnTo>
                  <a:lnTo>
                    <a:pt x="31" y="367"/>
                  </a:lnTo>
                  <a:lnTo>
                    <a:pt x="29" y="369"/>
                  </a:lnTo>
                  <a:lnTo>
                    <a:pt x="29" y="371"/>
                  </a:lnTo>
                  <a:lnTo>
                    <a:pt x="30" y="371"/>
                  </a:lnTo>
                  <a:lnTo>
                    <a:pt x="30" y="372"/>
                  </a:lnTo>
                  <a:lnTo>
                    <a:pt x="31" y="373"/>
                  </a:lnTo>
                  <a:lnTo>
                    <a:pt x="33" y="372"/>
                  </a:lnTo>
                  <a:lnTo>
                    <a:pt x="33" y="371"/>
                  </a:lnTo>
                  <a:lnTo>
                    <a:pt x="36" y="371"/>
                  </a:lnTo>
                  <a:lnTo>
                    <a:pt x="37" y="369"/>
                  </a:lnTo>
                  <a:lnTo>
                    <a:pt x="39" y="371"/>
                  </a:lnTo>
                  <a:lnTo>
                    <a:pt x="42" y="371"/>
                  </a:lnTo>
                  <a:lnTo>
                    <a:pt x="42" y="369"/>
                  </a:lnTo>
                  <a:lnTo>
                    <a:pt x="44" y="366"/>
                  </a:lnTo>
                  <a:lnTo>
                    <a:pt x="48" y="363"/>
                  </a:lnTo>
                  <a:lnTo>
                    <a:pt x="50" y="362"/>
                  </a:lnTo>
                  <a:lnTo>
                    <a:pt x="52" y="367"/>
                  </a:lnTo>
                  <a:lnTo>
                    <a:pt x="53" y="368"/>
                  </a:lnTo>
                  <a:lnTo>
                    <a:pt x="54" y="367"/>
                  </a:lnTo>
                  <a:lnTo>
                    <a:pt x="58" y="371"/>
                  </a:lnTo>
                  <a:lnTo>
                    <a:pt x="61" y="371"/>
                  </a:lnTo>
                  <a:lnTo>
                    <a:pt x="63" y="371"/>
                  </a:lnTo>
                  <a:lnTo>
                    <a:pt x="66" y="369"/>
                  </a:lnTo>
                  <a:lnTo>
                    <a:pt x="67" y="373"/>
                  </a:lnTo>
                  <a:lnTo>
                    <a:pt x="70" y="370"/>
                  </a:lnTo>
                  <a:lnTo>
                    <a:pt x="75" y="367"/>
                  </a:lnTo>
                  <a:lnTo>
                    <a:pt x="76" y="370"/>
                  </a:lnTo>
                  <a:lnTo>
                    <a:pt x="76" y="371"/>
                  </a:lnTo>
                  <a:lnTo>
                    <a:pt x="77" y="372"/>
                  </a:lnTo>
                  <a:lnTo>
                    <a:pt x="79" y="374"/>
                  </a:lnTo>
                  <a:lnTo>
                    <a:pt x="80" y="372"/>
                  </a:lnTo>
                  <a:lnTo>
                    <a:pt x="82" y="372"/>
                  </a:lnTo>
                  <a:lnTo>
                    <a:pt x="82" y="374"/>
                  </a:lnTo>
                  <a:lnTo>
                    <a:pt x="87" y="371"/>
                  </a:lnTo>
                  <a:lnTo>
                    <a:pt x="92" y="370"/>
                  </a:lnTo>
                  <a:lnTo>
                    <a:pt x="95" y="371"/>
                  </a:lnTo>
                  <a:lnTo>
                    <a:pt x="96" y="372"/>
                  </a:lnTo>
                  <a:lnTo>
                    <a:pt x="97" y="373"/>
                  </a:lnTo>
                  <a:lnTo>
                    <a:pt x="104" y="372"/>
                  </a:lnTo>
                  <a:lnTo>
                    <a:pt x="107" y="372"/>
                  </a:lnTo>
                  <a:lnTo>
                    <a:pt x="106" y="369"/>
                  </a:lnTo>
                  <a:lnTo>
                    <a:pt x="108" y="365"/>
                  </a:lnTo>
                  <a:lnTo>
                    <a:pt x="107" y="364"/>
                  </a:lnTo>
                  <a:lnTo>
                    <a:pt x="103" y="363"/>
                  </a:lnTo>
                  <a:lnTo>
                    <a:pt x="100" y="360"/>
                  </a:lnTo>
                  <a:lnTo>
                    <a:pt x="96" y="357"/>
                  </a:lnTo>
                  <a:lnTo>
                    <a:pt x="96" y="356"/>
                  </a:lnTo>
                  <a:lnTo>
                    <a:pt x="96" y="355"/>
                  </a:lnTo>
                  <a:lnTo>
                    <a:pt x="97" y="352"/>
                  </a:lnTo>
                  <a:lnTo>
                    <a:pt x="98" y="352"/>
                  </a:lnTo>
                  <a:lnTo>
                    <a:pt x="99" y="352"/>
                  </a:lnTo>
                  <a:lnTo>
                    <a:pt x="102" y="355"/>
                  </a:lnTo>
                  <a:lnTo>
                    <a:pt x="106" y="351"/>
                  </a:lnTo>
                  <a:lnTo>
                    <a:pt x="107" y="349"/>
                  </a:lnTo>
                  <a:lnTo>
                    <a:pt x="107" y="348"/>
                  </a:lnTo>
                  <a:lnTo>
                    <a:pt x="106" y="347"/>
                  </a:lnTo>
                  <a:lnTo>
                    <a:pt x="107" y="345"/>
                  </a:lnTo>
                  <a:lnTo>
                    <a:pt x="105" y="345"/>
                  </a:lnTo>
                  <a:lnTo>
                    <a:pt x="105" y="341"/>
                  </a:lnTo>
                  <a:lnTo>
                    <a:pt x="106" y="339"/>
                  </a:lnTo>
                  <a:lnTo>
                    <a:pt x="108" y="338"/>
                  </a:lnTo>
                  <a:lnTo>
                    <a:pt x="109" y="337"/>
                  </a:lnTo>
                  <a:lnTo>
                    <a:pt x="112" y="337"/>
                  </a:lnTo>
                  <a:lnTo>
                    <a:pt x="113" y="336"/>
                  </a:lnTo>
                  <a:lnTo>
                    <a:pt x="114" y="335"/>
                  </a:lnTo>
                  <a:lnTo>
                    <a:pt x="114" y="337"/>
                  </a:lnTo>
                  <a:lnTo>
                    <a:pt x="116" y="337"/>
                  </a:lnTo>
                  <a:lnTo>
                    <a:pt x="118" y="338"/>
                  </a:lnTo>
                  <a:lnTo>
                    <a:pt x="119" y="334"/>
                  </a:lnTo>
                  <a:lnTo>
                    <a:pt x="121" y="332"/>
                  </a:lnTo>
                  <a:lnTo>
                    <a:pt x="121" y="329"/>
                  </a:lnTo>
                  <a:lnTo>
                    <a:pt x="121" y="326"/>
                  </a:lnTo>
                  <a:lnTo>
                    <a:pt x="120" y="326"/>
                  </a:lnTo>
                  <a:lnTo>
                    <a:pt x="118" y="322"/>
                  </a:lnTo>
                  <a:lnTo>
                    <a:pt x="120" y="318"/>
                  </a:lnTo>
                  <a:lnTo>
                    <a:pt x="119" y="317"/>
                  </a:lnTo>
                  <a:lnTo>
                    <a:pt x="123" y="312"/>
                  </a:lnTo>
                  <a:lnTo>
                    <a:pt x="122" y="312"/>
                  </a:lnTo>
                  <a:lnTo>
                    <a:pt x="118" y="311"/>
                  </a:lnTo>
                  <a:lnTo>
                    <a:pt x="117" y="311"/>
                  </a:lnTo>
                  <a:lnTo>
                    <a:pt x="114" y="311"/>
                  </a:lnTo>
                  <a:lnTo>
                    <a:pt x="114" y="310"/>
                  </a:lnTo>
                  <a:lnTo>
                    <a:pt x="110" y="308"/>
                  </a:lnTo>
                  <a:lnTo>
                    <a:pt x="106" y="307"/>
                  </a:lnTo>
                  <a:lnTo>
                    <a:pt x="104" y="302"/>
                  </a:lnTo>
                  <a:lnTo>
                    <a:pt x="105" y="300"/>
                  </a:lnTo>
                  <a:lnTo>
                    <a:pt x="103" y="299"/>
                  </a:lnTo>
                  <a:lnTo>
                    <a:pt x="103" y="298"/>
                  </a:lnTo>
                  <a:lnTo>
                    <a:pt x="104" y="297"/>
                  </a:lnTo>
                  <a:lnTo>
                    <a:pt x="107" y="289"/>
                  </a:lnTo>
                  <a:lnTo>
                    <a:pt x="105" y="289"/>
                  </a:lnTo>
                  <a:lnTo>
                    <a:pt x="97" y="289"/>
                  </a:lnTo>
                  <a:lnTo>
                    <a:pt x="96" y="290"/>
                  </a:lnTo>
                  <a:lnTo>
                    <a:pt x="93" y="290"/>
                  </a:lnTo>
                  <a:lnTo>
                    <a:pt x="91" y="289"/>
                  </a:lnTo>
                  <a:lnTo>
                    <a:pt x="91" y="287"/>
                  </a:lnTo>
                  <a:lnTo>
                    <a:pt x="88" y="288"/>
                  </a:lnTo>
                  <a:lnTo>
                    <a:pt x="86" y="289"/>
                  </a:lnTo>
                  <a:lnTo>
                    <a:pt x="83" y="291"/>
                  </a:lnTo>
                  <a:lnTo>
                    <a:pt x="81" y="291"/>
                  </a:lnTo>
                  <a:lnTo>
                    <a:pt x="80" y="292"/>
                  </a:lnTo>
                  <a:lnTo>
                    <a:pt x="77" y="292"/>
                  </a:lnTo>
                  <a:lnTo>
                    <a:pt x="77" y="290"/>
                  </a:lnTo>
                  <a:lnTo>
                    <a:pt x="79" y="288"/>
                  </a:lnTo>
                  <a:lnTo>
                    <a:pt x="79" y="282"/>
                  </a:lnTo>
                  <a:lnTo>
                    <a:pt x="77" y="282"/>
                  </a:lnTo>
                  <a:lnTo>
                    <a:pt x="77" y="279"/>
                  </a:lnTo>
                  <a:lnTo>
                    <a:pt x="74" y="278"/>
                  </a:lnTo>
                  <a:lnTo>
                    <a:pt x="72" y="274"/>
                  </a:lnTo>
                  <a:lnTo>
                    <a:pt x="72" y="273"/>
                  </a:lnTo>
                  <a:lnTo>
                    <a:pt x="73" y="270"/>
                  </a:lnTo>
                  <a:lnTo>
                    <a:pt x="72" y="269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76" y="264"/>
                  </a:lnTo>
                  <a:lnTo>
                    <a:pt x="77" y="263"/>
                  </a:lnTo>
                  <a:lnTo>
                    <a:pt x="81" y="259"/>
                  </a:lnTo>
                  <a:lnTo>
                    <a:pt x="82" y="260"/>
                  </a:lnTo>
                  <a:lnTo>
                    <a:pt x="84" y="266"/>
                  </a:lnTo>
                  <a:lnTo>
                    <a:pt x="86" y="268"/>
                  </a:lnTo>
                  <a:lnTo>
                    <a:pt x="87" y="270"/>
                  </a:lnTo>
                  <a:lnTo>
                    <a:pt x="89" y="270"/>
                  </a:lnTo>
                  <a:lnTo>
                    <a:pt x="91" y="270"/>
                  </a:lnTo>
                  <a:lnTo>
                    <a:pt x="92" y="269"/>
                  </a:lnTo>
                  <a:lnTo>
                    <a:pt x="92" y="268"/>
                  </a:lnTo>
                  <a:lnTo>
                    <a:pt x="94" y="266"/>
                  </a:lnTo>
                  <a:lnTo>
                    <a:pt x="94" y="263"/>
                  </a:lnTo>
                  <a:lnTo>
                    <a:pt x="94" y="261"/>
                  </a:lnTo>
                  <a:lnTo>
                    <a:pt x="96" y="258"/>
                  </a:lnTo>
                  <a:lnTo>
                    <a:pt x="96" y="257"/>
                  </a:lnTo>
                  <a:lnTo>
                    <a:pt x="98" y="256"/>
                  </a:lnTo>
                  <a:lnTo>
                    <a:pt x="100" y="252"/>
                  </a:lnTo>
                  <a:lnTo>
                    <a:pt x="103" y="250"/>
                  </a:lnTo>
                  <a:lnTo>
                    <a:pt x="105" y="249"/>
                  </a:lnTo>
                  <a:lnTo>
                    <a:pt x="109" y="248"/>
                  </a:lnTo>
                  <a:lnTo>
                    <a:pt x="111" y="246"/>
                  </a:lnTo>
                  <a:lnTo>
                    <a:pt x="114" y="242"/>
                  </a:lnTo>
                  <a:lnTo>
                    <a:pt x="117" y="240"/>
                  </a:lnTo>
                  <a:lnTo>
                    <a:pt x="118" y="240"/>
                  </a:lnTo>
                  <a:lnTo>
                    <a:pt x="119" y="237"/>
                  </a:lnTo>
                  <a:lnTo>
                    <a:pt x="120" y="237"/>
                  </a:lnTo>
                  <a:lnTo>
                    <a:pt x="121" y="237"/>
                  </a:lnTo>
                  <a:lnTo>
                    <a:pt x="120" y="237"/>
                  </a:lnTo>
                  <a:lnTo>
                    <a:pt x="121" y="237"/>
                  </a:lnTo>
                  <a:lnTo>
                    <a:pt x="122" y="234"/>
                  </a:lnTo>
                  <a:lnTo>
                    <a:pt x="128" y="232"/>
                  </a:lnTo>
                  <a:lnTo>
                    <a:pt x="129" y="230"/>
                  </a:lnTo>
                  <a:lnTo>
                    <a:pt x="132" y="230"/>
                  </a:lnTo>
                  <a:lnTo>
                    <a:pt x="134" y="229"/>
                  </a:lnTo>
                  <a:lnTo>
                    <a:pt x="136" y="229"/>
                  </a:lnTo>
                  <a:lnTo>
                    <a:pt x="138" y="228"/>
                  </a:lnTo>
                  <a:lnTo>
                    <a:pt x="138" y="227"/>
                  </a:lnTo>
                  <a:lnTo>
                    <a:pt x="140" y="225"/>
                  </a:lnTo>
                  <a:lnTo>
                    <a:pt x="134" y="221"/>
                  </a:lnTo>
                  <a:lnTo>
                    <a:pt x="133" y="220"/>
                  </a:lnTo>
                  <a:lnTo>
                    <a:pt x="135" y="218"/>
                  </a:lnTo>
                  <a:lnTo>
                    <a:pt x="142" y="215"/>
                  </a:lnTo>
                  <a:lnTo>
                    <a:pt x="138" y="212"/>
                  </a:lnTo>
                  <a:lnTo>
                    <a:pt x="128" y="218"/>
                  </a:lnTo>
                  <a:lnTo>
                    <a:pt x="127" y="218"/>
                  </a:lnTo>
                  <a:lnTo>
                    <a:pt x="126" y="219"/>
                  </a:lnTo>
                  <a:lnTo>
                    <a:pt x="123" y="221"/>
                  </a:lnTo>
                  <a:lnTo>
                    <a:pt x="119" y="221"/>
                  </a:lnTo>
                  <a:lnTo>
                    <a:pt x="118" y="218"/>
                  </a:lnTo>
                  <a:lnTo>
                    <a:pt x="117" y="217"/>
                  </a:lnTo>
                  <a:lnTo>
                    <a:pt x="116" y="206"/>
                  </a:lnTo>
                  <a:lnTo>
                    <a:pt x="116" y="203"/>
                  </a:lnTo>
                  <a:lnTo>
                    <a:pt x="119" y="202"/>
                  </a:lnTo>
                  <a:lnTo>
                    <a:pt x="120" y="202"/>
                  </a:lnTo>
                  <a:lnTo>
                    <a:pt x="120" y="201"/>
                  </a:lnTo>
                  <a:lnTo>
                    <a:pt x="117" y="195"/>
                  </a:lnTo>
                  <a:lnTo>
                    <a:pt x="120" y="193"/>
                  </a:lnTo>
                  <a:lnTo>
                    <a:pt x="129" y="183"/>
                  </a:lnTo>
                  <a:lnTo>
                    <a:pt x="129" y="181"/>
                  </a:lnTo>
                  <a:lnTo>
                    <a:pt x="129" y="180"/>
                  </a:lnTo>
                  <a:lnTo>
                    <a:pt x="135" y="172"/>
                  </a:lnTo>
                  <a:lnTo>
                    <a:pt x="136" y="168"/>
                  </a:lnTo>
                  <a:lnTo>
                    <a:pt x="137" y="166"/>
                  </a:lnTo>
                  <a:lnTo>
                    <a:pt x="139" y="163"/>
                  </a:lnTo>
                  <a:lnTo>
                    <a:pt x="138" y="162"/>
                  </a:lnTo>
                  <a:lnTo>
                    <a:pt x="141" y="162"/>
                  </a:lnTo>
                  <a:lnTo>
                    <a:pt x="144" y="161"/>
                  </a:lnTo>
                  <a:lnTo>
                    <a:pt x="144" y="159"/>
                  </a:lnTo>
                  <a:lnTo>
                    <a:pt x="152" y="151"/>
                  </a:lnTo>
                  <a:lnTo>
                    <a:pt x="151" y="149"/>
                  </a:lnTo>
                  <a:lnTo>
                    <a:pt x="149" y="142"/>
                  </a:lnTo>
                  <a:lnTo>
                    <a:pt x="149" y="141"/>
                  </a:lnTo>
                  <a:lnTo>
                    <a:pt x="152" y="137"/>
                  </a:lnTo>
                  <a:lnTo>
                    <a:pt x="148" y="137"/>
                  </a:lnTo>
                  <a:lnTo>
                    <a:pt x="147" y="137"/>
                  </a:lnTo>
                  <a:lnTo>
                    <a:pt x="147" y="135"/>
                  </a:lnTo>
                  <a:lnTo>
                    <a:pt x="149" y="125"/>
                  </a:lnTo>
                  <a:lnTo>
                    <a:pt x="148" y="121"/>
                  </a:lnTo>
                  <a:lnTo>
                    <a:pt x="150" y="121"/>
                  </a:lnTo>
                  <a:lnTo>
                    <a:pt x="150" y="117"/>
                  </a:lnTo>
                  <a:lnTo>
                    <a:pt x="151" y="110"/>
                  </a:lnTo>
                  <a:lnTo>
                    <a:pt x="149" y="106"/>
                  </a:lnTo>
                  <a:lnTo>
                    <a:pt x="148" y="104"/>
                  </a:lnTo>
                  <a:lnTo>
                    <a:pt x="148" y="100"/>
                  </a:lnTo>
                  <a:lnTo>
                    <a:pt x="148" y="98"/>
                  </a:lnTo>
                  <a:lnTo>
                    <a:pt x="148" y="96"/>
                  </a:lnTo>
                  <a:lnTo>
                    <a:pt x="145" y="92"/>
                  </a:lnTo>
                  <a:lnTo>
                    <a:pt x="140" y="87"/>
                  </a:lnTo>
                  <a:lnTo>
                    <a:pt x="136" y="80"/>
                  </a:lnTo>
                  <a:lnTo>
                    <a:pt x="136" y="79"/>
                  </a:lnTo>
                  <a:lnTo>
                    <a:pt x="135" y="77"/>
                  </a:lnTo>
                  <a:lnTo>
                    <a:pt x="134" y="76"/>
                  </a:lnTo>
                  <a:lnTo>
                    <a:pt x="132" y="75"/>
                  </a:lnTo>
                  <a:lnTo>
                    <a:pt x="130" y="73"/>
                  </a:lnTo>
                  <a:lnTo>
                    <a:pt x="129" y="72"/>
                  </a:lnTo>
                  <a:lnTo>
                    <a:pt x="128" y="70"/>
                  </a:lnTo>
                  <a:lnTo>
                    <a:pt x="127" y="69"/>
                  </a:lnTo>
                  <a:lnTo>
                    <a:pt x="127" y="68"/>
                  </a:lnTo>
                  <a:lnTo>
                    <a:pt x="126" y="68"/>
                  </a:lnTo>
                  <a:lnTo>
                    <a:pt x="125" y="67"/>
                  </a:lnTo>
                  <a:lnTo>
                    <a:pt x="123" y="63"/>
                  </a:lnTo>
                  <a:lnTo>
                    <a:pt x="122" y="62"/>
                  </a:lnTo>
                  <a:lnTo>
                    <a:pt x="122" y="59"/>
                  </a:lnTo>
                  <a:lnTo>
                    <a:pt x="123" y="57"/>
                  </a:lnTo>
                  <a:lnTo>
                    <a:pt x="123" y="52"/>
                  </a:lnTo>
                  <a:lnTo>
                    <a:pt x="124" y="50"/>
                  </a:lnTo>
                  <a:lnTo>
                    <a:pt x="124" y="49"/>
                  </a:lnTo>
                  <a:lnTo>
                    <a:pt x="124" y="48"/>
                  </a:lnTo>
                  <a:lnTo>
                    <a:pt x="126" y="47"/>
                  </a:lnTo>
                  <a:lnTo>
                    <a:pt x="126" y="46"/>
                  </a:lnTo>
                  <a:lnTo>
                    <a:pt x="126" y="45"/>
                  </a:lnTo>
                  <a:lnTo>
                    <a:pt x="122" y="43"/>
                  </a:lnTo>
                  <a:lnTo>
                    <a:pt x="122" y="44"/>
                  </a:lnTo>
                  <a:lnTo>
                    <a:pt x="121" y="44"/>
                  </a:lnTo>
                  <a:lnTo>
                    <a:pt x="119" y="43"/>
                  </a:lnTo>
                  <a:lnTo>
                    <a:pt x="118" y="43"/>
                  </a:lnTo>
                  <a:lnTo>
                    <a:pt x="117" y="43"/>
                  </a:lnTo>
                  <a:lnTo>
                    <a:pt x="117" y="42"/>
                  </a:lnTo>
                  <a:lnTo>
                    <a:pt x="116" y="42"/>
                  </a:lnTo>
                  <a:lnTo>
                    <a:pt x="115" y="42"/>
                  </a:lnTo>
                  <a:lnTo>
                    <a:pt x="108" y="39"/>
                  </a:lnTo>
                  <a:lnTo>
                    <a:pt x="107" y="38"/>
                  </a:lnTo>
                  <a:lnTo>
                    <a:pt x="106" y="33"/>
                  </a:lnTo>
                  <a:lnTo>
                    <a:pt x="107" y="31"/>
                  </a:lnTo>
                  <a:lnTo>
                    <a:pt x="106" y="28"/>
                  </a:lnTo>
                  <a:lnTo>
                    <a:pt x="105" y="25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2"/>
                  </a:lnTo>
                  <a:lnTo>
                    <a:pt x="107" y="22"/>
                  </a:lnTo>
                  <a:lnTo>
                    <a:pt x="106" y="20"/>
                  </a:lnTo>
                  <a:lnTo>
                    <a:pt x="101" y="17"/>
                  </a:lnTo>
                  <a:lnTo>
                    <a:pt x="98" y="15"/>
                  </a:lnTo>
                  <a:lnTo>
                    <a:pt x="96" y="14"/>
                  </a:lnTo>
                  <a:lnTo>
                    <a:pt x="89" y="15"/>
                  </a:lnTo>
                  <a:lnTo>
                    <a:pt x="88" y="13"/>
                  </a:lnTo>
                  <a:lnTo>
                    <a:pt x="89" y="12"/>
                  </a:lnTo>
                  <a:lnTo>
                    <a:pt x="86" y="12"/>
                  </a:lnTo>
                  <a:lnTo>
                    <a:pt x="86" y="1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2" name="Freeform 56"/>
            <p:cNvSpPr>
              <a:spLocks/>
            </p:cNvSpPr>
            <p:nvPr/>
          </p:nvSpPr>
          <p:spPr bwMode="auto">
            <a:xfrm>
              <a:off x="721" y="2155"/>
              <a:ext cx="373" cy="244"/>
            </a:xfrm>
            <a:custGeom>
              <a:avLst/>
              <a:gdLst>
                <a:gd name="T0" fmla="*/ 121064544 w 191"/>
                <a:gd name="T1" fmla="*/ 27830038 h 131"/>
                <a:gd name="T2" fmla="*/ 117283169 w 191"/>
                <a:gd name="T3" fmla="*/ 24232616 h 131"/>
                <a:gd name="T4" fmla="*/ 114645751 w 191"/>
                <a:gd name="T5" fmla="*/ 19656625 h 131"/>
                <a:gd name="T6" fmla="*/ 111965707 w 191"/>
                <a:gd name="T7" fmla="*/ 17901896 h 131"/>
                <a:gd name="T8" fmla="*/ 111252382 w 191"/>
                <a:gd name="T9" fmla="*/ 19343879 h 131"/>
                <a:gd name="T10" fmla="*/ 109424151 w 191"/>
                <a:gd name="T11" fmla="*/ 20439038 h 131"/>
                <a:gd name="T12" fmla="*/ 100326966 w 191"/>
                <a:gd name="T13" fmla="*/ 20244045 h 131"/>
                <a:gd name="T14" fmla="*/ 103554266 w 191"/>
                <a:gd name="T15" fmla="*/ 17901896 h 131"/>
                <a:gd name="T16" fmla="*/ 106702274 w 191"/>
                <a:gd name="T17" fmla="*/ 16955735 h 131"/>
                <a:gd name="T18" fmla="*/ 106702274 w 191"/>
                <a:gd name="T19" fmla="*/ 15593742 h 131"/>
                <a:gd name="T20" fmla="*/ 105290163 w 191"/>
                <a:gd name="T21" fmla="*/ 14106184 h 131"/>
                <a:gd name="T22" fmla="*/ 99612130 w 191"/>
                <a:gd name="T23" fmla="*/ 12593639 h 131"/>
                <a:gd name="T24" fmla="*/ 96221214 w 191"/>
                <a:gd name="T25" fmla="*/ 10553352 h 131"/>
                <a:gd name="T26" fmla="*/ 90979604 w 191"/>
                <a:gd name="T27" fmla="*/ 4384127 h 131"/>
                <a:gd name="T28" fmla="*/ 87398155 w 191"/>
                <a:gd name="T29" fmla="*/ 2706280 h 131"/>
                <a:gd name="T30" fmla="*/ 80059790 w 191"/>
                <a:gd name="T31" fmla="*/ 2532735 h 131"/>
                <a:gd name="T32" fmla="*/ 61253609 w 191"/>
                <a:gd name="T33" fmla="*/ 11380052 h 131"/>
                <a:gd name="T34" fmla="*/ 54638430 w 191"/>
                <a:gd name="T35" fmla="*/ 9103284 h 131"/>
                <a:gd name="T36" fmla="*/ 43675695 w 191"/>
                <a:gd name="T37" fmla="*/ 7852455 h 131"/>
                <a:gd name="T38" fmla="*/ 39603269 w 191"/>
                <a:gd name="T39" fmla="*/ 5540620 h 131"/>
                <a:gd name="T40" fmla="*/ 38360242 w 191"/>
                <a:gd name="T41" fmla="*/ 4384127 h 131"/>
                <a:gd name="T42" fmla="*/ 37759811 w 191"/>
                <a:gd name="T43" fmla="*/ 2532735 h 131"/>
                <a:gd name="T44" fmla="*/ 40995764 w 191"/>
                <a:gd name="T45" fmla="*/ 2039749 h 131"/>
                <a:gd name="T46" fmla="*/ 41706370 w 191"/>
                <a:gd name="T47" fmla="*/ 1263706 h 131"/>
                <a:gd name="T48" fmla="*/ 37055326 w 191"/>
                <a:gd name="T49" fmla="*/ 1761119 h 131"/>
                <a:gd name="T50" fmla="*/ 34605247 w 191"/>
                <a:gd name="T51" fmla="*/ 945519 h 131"/>
                <a:gd name="T52" fmla="*/ 23399663 w 191"/>
                <a:gd name="T53" fmla="*/ 2039749 h 131"/>
                <a:gd name="T54" fmla="*/ 22027419 w 191"/>
                <a:gd name="T55" fmla="*/ 4066048 h 131"/>
                <a:gd name="T56" fmla="*/ 15033449 w 191"/>
                <a:gd name="T57" fmla="*/ 4573705 h 131"/>
                <a:gd name="T58" fmla="*/ 9073838 w 191"/>
                <a:gd name="T59" fmla="*/ 6490482 h 131"/>
                <a:gd name="T60" fmla="*/ 2722884 w 191"/>
                <a:gd name="T61" fmla="*/ 9388794 h 131"/>
                <a:gd name="T62" fmla="*/ 12919462 w 191"/>
                <a:gd name="T63" fmla="*/ 11380052 h 131"/>
                <a:gd name="T64" fmla="*/ 15747416 w 191"/>
                <a:gd name="T65" fmla="*/ 15209684 h 131"/>
                <a:gd name="T66" fmla="*/ 11640072 w 191"/>
                <a:gd name="T67" fmla="*/ 14625947 h 131"/>
                <a:gd name="T68" fmla="*/ 6994137 w 191"/>
                <a:gd name="T69" fmla="*/ 14625947 h 131"/>
                <a:gd name="T70" fmla="*/ 4646389 w 191"/>
                <a:gd name="T71" fmla="*/ 16133021 h 131"/>
                <a:gd name="T72" fmla="*/ 9716273 w 191"/>
                <a:gd name="T73" fmla="*/ 21429002 h 131"/>
                <a:gd name="T74" fmla="*/ 7698093 w 191"/>
                <a:gd name="T75" fmla="*/ 24030813 h 131"/>
                <a:gd name="T76" fmla="*/ 5317465 w 191"/>
                <a:gd name="T77" fmla="*/ 25469001 h 131"/>
                <a:gd name="T78" fmla="*/ 12309814 w 191"/>
                <a:gd name="T79" fmla="*/ 25742609 h 131"/>
                <a:gd name="T80" fmla="*/ 11640072 w 191"/>
                <a:gd name="T81" fmla="*/ 29857496 h 131"/>
                <a:gd name="T82" fmla="*/ 18260440 w 191"/>
                <a:gd name="T83" fmla="*/ 33069370 h 131"/>
                <a:gd name="T84" fmla="*/ 26673810 w 191"/>
                <a:gd name="T85" fmla="*/ 30799096 h 131"/>
                <a:gd name="T86" fmla="*/ 32584114 w 191"/>
                <a:gd name="T87" fmla="*/ 29857496 h 131"/>
                <a:gd name="T88" fmla="*/ 39603269 w 191"/>
                <a:gd name="T89" fmla="*/ 30362954 h 131"/>
                <a:gd name="T90" fmla="*/ 46220205 w 191"/>
                <a:gd name="T91" fmla="*/ 27509080 h 131"/>
                <a:gd name="T92" fmla="*/ 55316005 w 191"/>
                <a:gd name="T93" fmla="*/ 29269217 h 131"/>
                <a:gd name="T94" fmla="*/ 63013702 w 191"/>
                <a:gd name="T95" fmla="*/ 31308294 h 131"/>
                <a:gd name="T96" fmla="*/ 73084314 w 191"/>
                <a:gd name="T97" fmla="*/ 30362954 h 131"/>
                <a:gd name="T98" fmla="*/ 84006820 w 191"/>
                <a:gd name="T99" fmla="*/ 30799096 h 131"/>
                <a:gd name="T100" fmla="*/ 95576005 w 191"/>
                <a:gd name="T101" fmla="*/ 29269217 h 131"/>
                <a:gd name="T102" fmla="*/ 111965707 w 191"/>
                <a:gd name="T103" fmla="*/ 30483434 h 131"/>
                <a:gd name="T104" fmla="*/ 123750862 w 191"/>
                <a:gd name="T105" fmla="*/ 31581674 h 131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91" h="131">
                  <a:moveTo>
                    <a:pt x="191" y="118"/>
                  </a:moveTo>
                  <a:lnTo>
                    <a:pt x="188" y="115"/>
                  </a:lnTo>
                  <a:lnTo>
                    <a:pt x="187" y="111"/>
                  </a:lnTo>
                  <a:lnTo>
                    <a:pt x="186" y="110"/>
                  </a:lnTo>
                  <a:lnTo>
                    <a:pt x="183" y="108"/>
                  </a:lnTo>
                  <a:lnTo>
                    <a:pt x="182" y="106"/>
                  </a:lnTo>
                  <a:lnTo>
                    <a:pt x="180" y="103"/>
                  </a:lnTo>
                  <a:lnTo>
                    <a:pt x="180" y="96"/>
                  </a:lnTo>
                  <a:lnTo>
                    <a:pt x="176" y="94"/>
                  </a:lnTo>
                  <a:lnTo>
                    <a:pt x="175" y="91"/>
                  </a:lnTo>
                  <a:lnTo>
                    <a:pt x="176" y="86"/>
                  </a:lnTo>
                  <a:lnTo>
                    <a:pt x="176" y="78"/>
                  </a:lnTo>
                  <a:lnTo>
                    <a:pt x="175" y="79"/>
                  </a:lnTo>
                  <a:lnTo>
                    <a:pt x="174" y="72"/>
                  </a:lnTo>
                  <a:lnTo>
                    <a:pt x="173" y="71"/>
                  </a:lnTo>
                  <a:lnTo>
                    <a:pt x="172" y="71"/>
                  </a:lnTo>
                  <a:lnTo>
                    <a:pt x="170" y="72"/>
                  </a:lnTo>
                  <a:lnTo>
                    <a:pt x="170" y="74"/>
                  </a:lnTo>
                  <a:lnTo>
                    <a:pt x="171" y="74"/>
                  </a:lnTo>
                  <a:lnTo>
                    <a:pt x="171" y="77"/>
                  </a:lnTo>
                  <a:lnTo>
                    <a:pt x="169" y="77"/>
                  </a:lnTo>
                  <a:lnTo>
                    <a:pt x="169" y="78"/>
                  </a:lnTo>
                  <a:lnTo>
                    <a:pt x="170" y="79"/>
                  </a:lnTo>
                  <a:lnTo>
                    <a:pt x="168" y="81"/>
                  </a:lnTo>
                  <a:lnTo>
                    <a:pt x="165" y="81"/>
                  </a:lnTo>
                  <a:lnTo>
                    <a:pt x="164" y="83"/>
                  </a:lnTo>
                  <a:lnTo>
                    <a:pt x="157" y="84"/>
                  </a:lnTo>
                  <a:lnTo>
                    <a:pt x="154" y="80"/>
                  </a:lnTo>
                  <a:lnTo>
                    <a:pt x="156" y="77"/>
                  </a:lnTo>
                  <a:lnTo>
                    <a:pt x="157" y="77"/>
                  </a:lnTo>
                  <a:lnTo>
                    <a:pt x="159" y="75"/>
                  </a:lnTo>
                  <a:lnTo>
                    <a:pt x="159" y="71"/>
                  </a:lnTo>
                  <a:lnTo>
                    <a:pt x="161" y="70"/>
                  </a:lnTo>
                  <a:lnTo>
                    <a:pt x="160" y="69"/>
                  </a:lnTo>
                  <a:lnTo>
                    <a:pt x="160" y="68"/>
                  </a:lnTo>
                  <a:lnTo>
                    <a:pt x="164" y="67"/>
                  </a:lnTo>
                  <a:lnTo>
                    <a:pt x="163" y="66"/>
                  </a:lnTo>
                  <a:lnTo>
                    <a:pt x="161" y="66"/>
                  </a:lnTo>
                  <a:lnTo>
                    <a:pt x="162" y="63"/>
                  </a:lnTo>
                  <a:lnTo>
                    <a:pt x="164" y="62"/>
                  </a:lnTo>
                  <a:lnTo>
                    <a:pt x="165" y="61"/>
                  </a:lnTo>
                  <a:lnTo>
                    <a:pt x="163" y="59"/>
                  </a:lnTo>
                  <a:lnTo>
                    <a:pt x="162" y="58"/>
                  </a:lnTo>
                  <a:lnTo>
                    <a:pt x="162" y="56"/>
                  </a:lnTo>
                  <a:lnTo>
                    <a:pt x="158" y="55"/>
                  </a:lnTo>
                  <a:lnTo>
                    <a:pt x="158" y="52"/>
                  </a:lnTo>
                  <a:lnTo>
                    <a:pt x="156" y="51"/>
                  </a:lnTo>
                  <a:lnTo>
                    <a:pt x="153" y="50"/>
                  </a:lnTo>
                  <a:lnTo>
                    <a:pt x="150" y="49"/>
                  </a:lnTo>
                  <a:lnTo>
                    <a:pt x="145" y="48"/>
                  </a:lnTo>
                  <a:lnTo>
                    <a:pt x="147" y="45"/>
                  </a:lnTo>
                  <a:lnTo>
                    <a:pt x="148" y="42"/>
                  </a:lnTo>
                  <a:lnTo>
                    <a:pt x="149" y="39"/>
                  </a:lnTo>
                  <a:lnTo>
                    <a:pt x="138" y="30"/>
                  </a:lnTo>
                  <a:lnTo>
                    <a:pt x="141" y="18"/>
                  </a:lnTo>
                  <a:lnTo>
                    <a:pt x="140" y="17"/>
                  </a:lnTo>
                  <a:lnTo>
                    <a:pt x="138" y="15"/>
                  </a:lnTo>
                  <a:lnTo>
                    <a:pt x="136" y="15"/>
                  </a:lnTo>
                  <a:lnTo>
                    <a:pt x="136" y="13"/>
                  </a:lnTo>
                  <a:lnTo>
                    <a:pt x="134" y="11"/>
                  </a:lnTo>
                  <a:lnTo>
                    <a:pt x="132" y="11"/>
                  </a:lnTo>
                  <a:lnTo>
                    <a:pt x="127" y="10"/>
                  </a:lnTo>
                  <a:lnTo>
                    <a:pt x="123" y="10"/>
                  </a:lnTo>
                  <a:lnTo>
                    <a:pt x="111" y="8"/>
                  </a:lnTo>
                  <a:lnTo>
                    <a:pt x="101" y="28"/>
                  </a:lnTo>
                  <a:lnTo>
                    <a:pt x="99" y="34"/>
                  </a:lnTo>
                  <a:lnTo>
                    <a:pt x="94" y="45"/>
                  </a:lnTo>
                  <a:lnTo>
                    <a:pt x="79" y="44"/>
                  </a:lnTo>
                  <a:lnTo>
                    <a:pt x="80" y="42"/>
                  </a:lnTo>
                  <a:lnTo>
                    <a:pt x="84" y="38"/>
                  </a:lnTo>
                  <a:lnTo>
                    <a:pt x="84" y="36"/>
                  </a:lnTo>
                  <a:lnTo>
                    <a:pt x="82" y="34"/>
                  </a:lnTo>
                  <a:lnTo>
                    <a:pt x="80" y="30"/>
                  </a:lnTo>
                  <a:lnTo>
                    <a:pt x="69" y="32"/>
                  </a:lnTo>
                  <a:lnTo>
                    <a:pt x="67" y="31"/>
                  </a:lnTo>
                  <a:lnTo>
                    <a:pt x="61" y="29"/>
                  </a:lnTo>
                  <a:lnTo>
                    <a:pt x="61" y="26"/>
                  </a:lnTo>
                  <a:lnTo>
                    <a:pt x="65" y="24"/>
                  </a:lnTo>
                  <a:lnTo>
                    <a:pt x="61" y="22"/>
                  </a:lnTo>
                  <a:lnTo>
                    <a:pt x="61" y="19"/>
                  </a:lnTo>
                  <a:lnTo>
                    <a:pt x="62" y="18"/>
                  </a:lnTo>
                  <a:lnTo>
                    <a:pt x="61" y="16"/>
                  </a:lnTo>
                  <a:lnTo>
                    <a:pt x="59" y="17"/>
                  </a:lnTo>
                  <a:lnTo>
                    <a:pt x="59" y="16"/>
                  </a:lnTo>
                  <a:lnTo>
                    <a:pt x="58" y="14"/>
                  </a:lnTo>
                  <a:lnTo>
                    <a:pt x="58" y="11"/>
                  </a:lnTo>
                  <a:lnTo>
                    <a:pt x="58" y="10"/>
                  </a:lnTo>
                  <a:lnTo>
                    <a:pt x="60" y="10"/>
                  </a:lnTo>
                  <a:lnTo>
                    <a:pt x="61" y="9"/>
                  </a:lnTo>
                  <a:lnTo>
                    <a:pt x="63" y="9"/>
                  </a:lnTo>
                  <a:lnTo>
                    <a:pt x="63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5" y="5"/>
                  </a:lnTo>
                  <a:lnTo>
                    <a:pt x="64" y="5"/>
                  </a:lnTo>
                  <a:lnTo>
                    <a:pt x="62" y="7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7" y="7"/>
                  </a:lnTo>
                  <a:lnTo>
                    <a:pt x="57" y="0"/>
                  </a:lnTo>
                  <a:lnTo>
                    <a:pt x="55" y="0"/>
                  </a:lnTo>
                  <a:lnTo>
                    <a:pt x="54" y="3"/>
                  </a:lnTo>
                  <a:lnTo>
                    <a:pt x="53" y="4"/>
                  </a:lnTo>
                  <a:lnTo>
                    <a:pt x="48" y="4"/>
                  </a:lnTo>
                  <a:lnTo>
                    <a:pt x="46" y="6"/>
                  </a:lnTo>
                  <a:lnTo>
                    <a:pt x="44" y="8"/>
                  </a:lnTo>
                  <a:lnTo>
                    <a:pt x="36" y="8"/>
                  </a:lnTo>
                  <a:lnTo>
                    <a:pt x="36" y="10"/>
                  </a:lnTo>
                  <a:lnTo>
                    <a:pt x="35" y="12"/>
                  </a:lnTo>
                  <a:lnTo>
                    <a:pt x="34" y="14"/>
                  </a:lnTo>
                  <a:lnTo>
                    <a:pt x="34" y="16"/>
                  </a:lnTo>
                  <a:lnTo>
                    <a:pt x="31" y="18"/>
                  </a:lnTo>
                  <a:lnTo>
                    <a:pt x="28" y="18"/>
                  </a:lnTo>
                  <a:lnTo>
                    <a:pt x="25" y="18"/>
                  </a:lnTo>
                  <a:lnTo>
                    <a:pt x="23" y="18"/>
                  </a:lnTo>
                  <a:lnTo>
                    <a:pt x="20" y="20"/>
                  </a:lnTo>
                  <a:lnTo>
                    <a:pt x="18" y="22"/>
                  </a:lnTo>
                  <a:lnTo>
                    <a:pt x="16" y="25"/>
                  </a:lnTo>
                  <a:lnTo>
                    <a:pt x="14" y="26"/>
                  </a:lnTo>
                  <a:lnTo>
                    <a:pt x="12" y="27"/>
                  </a:lnTo>
                  <a:lnTo>
                    <a:pt x="3" y="26"/>
                  </a:lnTo>
                  <a:lnTo>
                    <a:pt x="0" y="29"/>
                  </a:lnTo>
                  <a:lnTo>
                    <a:pt x="4" y="37"/>
                  </a:lnTo>
                  <a:lnTo>
                    <a:pt x="7" y="36"/>
                  </a:lnTo>
                  <a:lnTo>
                    <a:pt x="11" y="36"/>
                  </a:lnTo>
                  <a:lnTo>
                    <a:pt x="16" y="43"/>
                  </a:lnTo>
                  <a:lnTo>
                    <a:pt x="20" y="45"/>
                  </a:lnTo>
                  <a:lnTo>
                    <a:pt x="29" y="51"/>
                  </a:lnTo>
                  <a:lnTo>
                    <a:pt x="23" y="53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1" y="62"/>
                  </a:lnTo>
                  <a:lnTo>
                    <a:pt x="20" y="61"/>
                  </a:lnTo>
                  <a:lnTo>
                    <a:pt x="21" y="60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6" y="57"/>
                  </a:lnTo>
                  <a:lnTo>
                    <a:pt x="12" y="59"/>
                  </a:lnTo>
                  <a:lnTo>
                    <a:pt x="11" y="58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9" y="63"/>
                  </a:lnTo>
                  <a:lnTo>
                    <a:pt x="7" y="64"/>
                  </a:lnTo>
                  <a:lnTo>
                    <a:pt x="12" y="69"/>
                  </a:lnTo>
                  <a:lnTo>
                    <a:pt x="13" y="70"/>
                  </a:lnTo>
                  <a:lnTo>
                    <a:pt x="14" y="82"/>
                  </a:lnTo>
                  <a:lnTo>
                    <a:pt x="15" y="85"/>
                  </a:lnTo>
                  <a:lnTo>
                    <a:pt x="24" y="84"/>
                  </a:lnTo>
                  <a:lnTo>
                    <a:pt x="20" y="88"/>
                  </a:lnTo>
                  <a:lnTo>
                    <a:pt x="15" y="90"/>
                  </a:lnTo>
                  <a:lnTo>
                    <a:pt x="12" y="95"/>
                  </a:lnTo>
                  <a:lnTo>
                    <a:pt x="11" y="97"/>
                  </a:lnTo>
                  <a:lnTo>
                    <a:pt x="10" y="97"/>
                  </a:lnTo>
                  <a:lnTo>
                    <a:pt x="9" y="100"/>
                  </a:lnTo>
                  <a:lnTo>
                    <a:pt x="8" y="101"/>
                  </a:lnTo>
                  <a:lnTo>
                    <a:pt x="9" y="104"/>
                  </a:lnTo>
                  <a:lnTo>
                    <a:pt x="11" y="103"/>
                  </a:lnTo>
                  <a:lnTo>
                    <a:pt x="16" y="103"/>
                  </a:lnTo>
                  <a:lnTo>
                    <a:pt x="19" y="102"/>
                  </a:lnTo>
                  <a:lnTo>
                    <a:pt x="20" y="106"/>
                  </a:lnTo>
                  <a:lnTo>
                    <a:pt x="16" y="108"/>
                  </a:lnTo>
                  <a:lnTo>
                    <a:pt x="12" y="10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22" y="122"/>
                  </a:lnTo>
                  <a:lnTo>
                    <a:pt x="25" y="130"/>
                  </a:lnTo>
                  <a:lnTo>
                    <a:pt x="28" y="131"/>
                  </a:lnTo>
                  <a:lnTo>
                    <a:pt x="32" y="130"/>
                  </a:lnTo>
                  <a:lnTo>
                    <a:pt x="35" y="129"/>
                  </a:lnTo>
                  <a:lnTo>
                    <a:pt x="38" y="123"/>
                  </a:lnTo>
                  <a:lnTo>
                    <a:pt x="41" y="122"/>
                  </a:lnTo>
                  <a:lnTo>
                    <a:pt x="42" y="123"/>
                  </a:lnTo>
                  <a:lnTo>
                    <a:pt x="46" y="123"/>
                  </a:lnTo>
                  <a:lnTo>
                    <a:pt x="48" y="121"/>
                  </a:lnTo>
                  <a:lnTo>
                    <a:pt x="50" y="118"/>
                  </a:lnTo>
                  <a:lnTo>
                    <a:pt x="52" y="117"/>
                  </a:lnTo>
                  <a:lnTo>
                    <a:pt x="55" y="118"/>
                  </a:lnTo>
                  <a:lnTo>
                    <a:pt x="59" y="120"/>
                  </a:lnTo>
                  <a:lnTo>
                    <a:pt x="61" y="120"/>
                  </a:lnTo>
                  <a:lnTo>
                    <a:pt x="61" y="117"/>
                  </a:lnTo>
                  <a:lnTo>
                    <a:pt x="66" y="113"/>
                  </a:lnTo>
                  <a:lnTo>
                    <a:pt x="67" y="112"/>
                  </a:lnTo>
                  <a:lnTo>
                    <a:pt x="71" y="109"/>
                  </a:lnTo>
                  <a:lnTo>
                    <a:pt x="75" y="108"/>
                  </a:lnTo>
                  <a:lnTo>
                    <a:pt x="79" y="109"/>
                  </a:lnTo>
                  <a:lnTo>
                    <a:pt x="82" y="112"/>
                  </a:lnTo>
                  <a:lnTo>
                    <a:pt x="85" y="116"/>
                  </a:lnTo>
                  <a:lnTo>
                    <a:pt x="88" y="119"/>
                  </a:lnTo>
                  <a:lnTo>
                    <a:pt x="92" y="121"/>
                  </a:lnTo>
                  <a:lnTo>
                    <a:pt x="97" y="124"/>
                  </a:lnTo>
                  <a:lnTo>
                    <a:pt x="100" y="123"/>
                  </a:lnTo>
                  <a:lnTo>
                    <a:pt x="104" y="118"/>
                  </a:lnTo>
                  <a:lnTo>
                    <a:pt x="107" y="117"/>
                  </a:lnTo>
                  <a:lnTo>
                    <a:pt x="112" y="120"/>
                  </a:lnTo>
                  <a:lnTo>
                    <a:pt x="121" y="125"/>
                  </a:lnTo>
                  <a:lnTo>
                    <a:pt x="125" y="125"/>
                  </a:lnTo>
                  <a:lnTo>
                    <a:pt x="128" y="124"/>
                  </a:lnTo>
                  <a:lnTo>
                    <a:pt x="129" y="122"/>
                  </a:lnTo>
                  <a:lnTo>
                    <a:pt x="133" y="120"/>
                  </a:lnTo>
                  <a:lnTo>
                    <a:pt x="139" y="120"/>
                  </a:lnTo>
                  <a:lnTo>
                    <a:pt x="144" y="118"/>
                  </a:lnTo>
                  <a:lnTo>
                    <a:pt x="147" y="116"/>
                  </a:lnTo>
                  <a:lnTo>
                    <a:pt x="151" y="114"/>
                  </a:lnTo>
                  <a:lnTo>
                    <a:pt x="159" y="115"/>
                  </a:lnTo>
                  <a:lnTo>
                    <a:pt x="164" y="117"/>
                  </a:lnTo>
                  <a:lnTo>
                    <a:pt x="172" y="121"/>
                  </a:lnTo>
                  <a:lnTo>
                    <a:pt x="181" y="126"/>
                  </a:lnTo>
                  <a:lnTo>
                    <a:pt x="186" y="128"/>
                  </a:lnTo>
                  <a:lnTo>
                    <a:pt x="190" y="125"/>
                  </a:lnTo>
                  <a:lnTo>
                    <a:pt x="189" y="122"/>
                  </a:lnTo>
                  <a:lnTo>
                    <a:pt x="191" y="118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3" name="Freeform 57"/>
            <p:cNvSpPr>
              <a:spLocks/>
            </p:cNvSpPr>
            <p:nvPr/>
          </p:nvSpPr>
          <p:spPr bwMode="auto">
            <a:xfrm>
              <a:off x="1090" y="1364"/>
              <a:ext cx="149" cy="29"/>
            </a:xfrm>
            <a:custGeom>
              <a:avLst/>
              <a:gdLst>
                <a:gd name="T0" fmla="*/ 575620 w 77"/>
                <a:gd name="T1" fmla="*/ 1483406 h 16"/>
                <a:gd name="T2" fmla="*/ 2155395 w 77"/>
                <a:gd name="T3" fmla="*/ 2018833 h 16"/>
                <a:gd name="T4" fmla="*/ 4170829 w 77"/>
                <a:gd name="T5" fmla="*/ 2358128 h 16"/>
                <a:gd name="T6" fmla="*/ 7534942 w 77"/>
                <a:gd name="T7" fmla="*/ 2358128 h 16"/>
                <a:gd name="T8" fmla="*/ 8652594 w 77"/>
                <a:gd name="T9" fmla="*/ 2358128 h 16"/>
                <a:gd name="T10" fmla="*/ 9270080 w 77"/>
                <a:gd name="T11" fmla="*/ 2184546 h 16"/>
                <a:gd name="T12" fmla="*/ 10871090 w 77"/>
                <a:gd name="T13" fmla="*/ 2018833 h 16"/>
                <a:gd name="T14" fmla="*/ 10405997 w 77"/>
                <a:gd name="T15" fmla="*/ 2018833 h 16"/>
                <a:gd name="T16" fmla="*/ 12065410 w 77"/>
                <a:gd name="T17" fmla="*/ 1788553 h 16"/>
                <a:gd name="T18" fmla="*/ 12560609 w 77"/>
                <a:gd name="T19" fmla="*/ 1483406 h 16"/>
                <a:gd name="T20" fmla="*/ 13436019 w 77"/>
                <a:gd name="T21" fmla="*/ 1483406 h 16"/>
                <a:gd name="T22" fmla="*/ 17938207 w 77"/>
                <a:gd name="T23" fmla="*/ 1483406 h 16"/>
                <a:gd name="T24" fmla="*/ 19051662 w 77"/>
                <a:gd name="T25" fmla="*/ 1601255 h 16"/>
                <a:gd name="T26" fmla="*/ 22727336 w 77"/>
                <a:gd name="T27" fmla="*/ 1601255 h 16"/>
                <a:gd name="T28" fmla="*/ 30221012 w 77"/>
                <a:gd name="T29" fmla="*/ 1087420 h 16"/>
                <a:gd name="T30" fmla="*/ 32399433 w 77"/>
                <a:gd name="T31" fmla="*/ 883451 h 16"/>
                <a:gd name="T32" fmla="*/ 32980939 w 77"/>
                <a:gd name="T33" fmla="*/ 717813 h 16"/>
                <a:gd name="T34" fmla="*/ 33598407 w 77"/>
                <a:gd name="T35" fmla="*/ 717813 h 16"/>
                <a:gd name="T36" fmla="*/ 35287904 w 77"/>
                <a:gd name="T37" fmla="*/ 599956 h 16"/>
                <a:gd name="T38" fmla="*/ 40089865 w 77"/>
                <a:gd name="T39" fmla="*/ 599956 h 16"/>
                <a:gd name="T40" fmla="*/ 41668558 w 77"/>
                <a:gd name="T41" fmla="*/ 331010 h 16"/>
                <a:gd name="T42" fmla="*/ 40089865 w 77"/>
                <a:gd name="T43" fmla="*/ 0 h 16"/>
                <a:gd name="T44" fmla="*/ 35907947 w 77"/>
                <a:gd name="T45" fmla="*/ 0 h 16"/>
                <a:gd name="T46" fmla="*/ 19051662 w 77"/>
                <a:gd name="T47" fmla="*/ 396035 h 16"/>
                <a:gd name="T48" fmla="*/ 12858876 w 77"/>
                <a:gd name="T49" fmla="*/ 396035 h 16"/>
                <a:gd name="T50" fmla="*/ 9845490 w 77"/>
                <a:gd name="T51" fmla="*/ 396035 h 16"/>
                <a:gd name="T52" fmla="*/ 2155395 w 77"/>
                <a:gd name="T53" fmla="*/ 0 h 16"/>
                <a:gd name="T54" fmla="*/ 575620 w 77"/>
                <a:gd name="T55" fmla="*/ 331010 h 16"/>
                <a:gd name="T56" fmla="*/ 575620 w 77"/>
                <a:gd name="T57" fmla="*/ 599956 h 16"/>
                <a:gd name="T58" fmla="*/ 575620 w 77"/>
                <a:gd name="T59" fmla="*/ 883451 h 16"/>
                <a:gd name="T60" fmla="*/ 0 w 77"/>
                <a:gd name="T61" fmla="*/ 1205267 h 16"/>
                <a:gd name="T62" fmla="*/ 575620 w 77"/>
                <a:gd name="T63" fmla="*/ 1483406 h 1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0" t="0" r="r" b="b"/>
              <a:pathLst>
                <a:path w="77" h="16">
                  <a:moveTo>
                    <a:pt x="1" y="10"/>
                  </a:moveTo>
                  <a:lnTo>
                    <a:pt x="4" y="14"/>
                  </a:lnTo>
                  <a:lnTo>
                    <a:pt x="8" y="16"/>
                  </a:lnTo>
                  <a:lnTo>
                    <a:pt x="14" y="16"/>
                  </a:lnTo>
                  <a:lnTo>
                    <a:pt x="16" y="16"/>
                  </a:lnTo>
                  <a:lnTo>
                    <a:pt x="17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22" y="12"/>
                  </a:lnTo>
                  <a:lnTo>
                    <a:pt x="23" y="10"/>
                  </a:lnTo>
                  <a:lnTo>
                    <a:pt x="25" y="10"/>
                  </a:lnTo>
                  <a:lnTo>
                    <a:pt x="33" y="10"/>
                  </a:lnTo>
                  <a:lnTo>
                    <a:pt x="35" y="11"/>
                  </a:lnTo>
                  <a:lnTo>
                    <a:pt x="42" y="11"/>
                  </a:lnTo>
                  <a:lnTo>
                    <a:pt x="56" y="7"/>
                  </a:lnTo>
                  <a:lnTo>
                    <a:pt x="60" y="6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5" y="4"/>
                  </a:lnTo>
                  <a:lnTo>
                    <a:pt x="74" y="4"/>
                  </a:lnTo>
                  <a:lnTo>
                    <a:pt x="77" y="2"/>
                  </a:lnTo>
                  <a:lnTo>
                    <a:pt x="74" y="0"/>
                  </a:lnTo>
                  <a:lnTo>
                    <a:pt x="66" y="0"/>
                  </a:lnTo>
                  <a:lnTo>
                    <a:pt x="35" y="3"/>
                  </a:lnTo>
                  <a:lnTo>
                    <a:pt x="24" y="3"/>
                  </a:lnTo>
                  <a:lnTo>
                    <a:pt x="18" y="3"/>
                  </a:lnTo>
                  <a:lnTo>
                    <a:pt x="4" y="0"/>
                  </a:lnTo>
                  <a:lnTo>
                    <a:pt x="1" y="2"/>
                  </a:lnTo>
                  <a:lnTo>
                    <a:pt x="1" y="4"/>
                  </a:lnTo>
                  <a:lnTo>
                    <a:pt x="1" y="6"/>
                  </a:lnTo>
                  <a:lnTo>
                    <a:pt x="0" y="8"/>
                  </a:lnTo>
                  <a:lnTo>
                    <a:pt x="1" y="10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4" name="Freeform 58"/>
            <p:cNvSpPr>
              <a:spLocks/>
            </p:cNvSpPr>
            <p:nvPr/>
          </p:nvSpPr>
          <p:spPr bwMode="auto">
            <a:xfrm>
              <a:off x="897" y="1375"/>
              <a:ext cx="177" cy="75"/>
            </a:xfrm>
            <a:custGeom>
              <a:avLst/>
              <a:gdLst>
                <a:gd name="T0" fmla="*/ 668257 w 91"/>
                <a:gd name="T1" fmla="*/ 10596684 h 40"/>
                <a:gd name="T2" fmla="*/ 2528177 w 91"/>
                <a:gd name="T3" fmla="*/ 11550966 h 40"/>
                <a:gd name="T4" fmla="*/ 3694647 w 91"/>
                <a:gd name="T5" fmla="*/ 11550966 h 40"/>
                <a:gd name="T6" fmla="*/ 5866898 w 91"/>
                <a:gd name="T7" fmla="*/ 10596684 h 40"/>
                <a:gd name="T8" fmla="*/ 5866898 w 91"/>
                <a:gd name="T9" fmla="*/ 10506986 h 40"/>
                <a:gd name="T10" fmla="*/ 7186291 w 91"/>
                <a:gd name="T11" fmla="*/ 10195361 h 40"/>
                <a:gd name="T12" fmla="*/ 7766377 w 91"/>
                <a:gd name="T13" fmla="*/ 10506986 h 40"/>
                <a:gd name="T14" fmla="*/ 8395075 w 91"/>
                <a:gd name="T15" fmla="*/ 10195361 h 40"/>
                <a:gd name="T16" fmla="*/ 13312510 w 91"/>
                <a:gd name="T17" fmla="*/ 8261933 h 40"/>
                <a:gd name="T18" fmla="*/ 15106030 w 91"/>
                <a:gd name="T19" fmla="*/ 8617408 h 40"/>
                <a:gd name="T20" fmla="*/ 15727654 w 91"/>
                <a:gd name="T21" fmla="*/ 8261933 h 40"/>
                <a:gd name="T22" fmla="*/ 17281675 w 91"/>
                <a:gd name="T23" fmla="*/ 8617408 h 40"/>
                <a:gd name="T24" fmla="*/ 19680434 w 91"/>
                <a:gd name="T25" fmla="*/ 8261933 h 40"/>
                <a:gd name="T26" fmla="*/ 19680434 w 91"/>
                <a:gd name="T27" fmla="*/ 7890677 h 40"/>
                <a:gd name="T28" fmla="*/ 19680434 w 91"/>
                <a:gd name="T29" fmla="*/ 8139737 h 40"/>
                <a:gd name="T30" fmla="*/ 20296372 w 91"/>
                <a:gd name="T31" fmla="*/ 7569092 h 40"/>
                <a:gd name="T32" fmla="*/ 22195876 w 91"/>
                <a:gd name="T33" fmla="*/ 7890677 h 40"/>
                <a:gd name="T34" fmla="*/ 22195876 w 91"/>
                <a:gd name="T35" fmla="*/ 7890677 h 40"/>
                <a:gd name="T36" fmla="*/ 22195876 w 91"/>
                <a:gd name="T37" fmla="*/ 7890677 h 40"/>
                <a:gd name="T38" fmla="*/ 22875826 w 91"/>
                <a:gd name="T39" fmla="*/ 7569092 h 40"/>
                <a:gd name="T40" fmla="*/ 24157580 w 91"/>
                <a:gd name="T41" fmla="*/ 7569092 h 40"/>
                <a:gd name="T42" fmla="*/ 29382058 w 91"/>
                <a:gd name="T43" fmla="*/ 5603726 h 40"/>
                <a:gd name="T44" fmla="*/ 31760573 w 91"/>
                <a:gd name="T45" fmla="*/ 5250227 h 40"/>
                <a:gd name="T46" fmla="*/ 37926798 w 91"/>
                <a:gd name="T47" fmla="*/ 5250227 h 40"/>
                <a:gd name="T48" fmla="*/ 38946959 w 91"/>
                <a:gd name="T49" fmla="*/ 5250227 h 40"/>
                <a:gd name="T50" fmla="*/ 39477559 w 91"/>
                <a:gd name="T51" fmla="*/ 4952014 h 40"/>
                <a:gd name="T52" fmla="*/ 40155844 w 91"/>
                <a:gd name="T53" fmla="*/ 4952014 h 40"/>
                <a:gd name="T54" fmla="*/ 40155844 w 91"/>
                <a:gd name="T55" fmla="*/ 4341193 h 40"/>
                <a:gd name="T56" fmla="*/ 38946959 w 91"/>
                <a:gd name="T57" fmla="*/ 4036849 h 40"/>
                <a:gd name="T58" fmla="*/ 37926798 w 91"/>
                <a:gd name="T59" fmla="*/ 3543441 h 40"/>
                <a:gd name="T60" fmla="*/ 38279525 w 91"/>
                <a:gd name="T61" fmla="*/ 3543441 h 40"/>
                <a:gd name="T62" fmla="*/ 39477559 w 91"/>
                <a:gd name="T63" fmla="*/ 4036849 h 40"/>
                <a:gd name="T64" fmla="*/ 41466290 w 91"/>
                <a:gd name="T65" fmla="*/ 4036849 h 40"/>
                <a:gd name="T66" fmla="*/ 40155844 w 91"/>
                <a:gd name="T67" fmla="*/ 3200139 h 40"/>
                <a:gd name="T68" fmla="*/ 40155844 w 91"/>
                <a:gd name="T69" fmla="*/ 3200139 h 40"/>
                <a:gd name="T70" fmla="*/ 40844781 w 91"/>
                <a:gd name="T71" fmla="*/ 3543441 h 40"/>
                <a:gd name="T72" fmla="*/ 42505206 w 91"/>
                <a:gd name="T73" fmla="*/ 3543441 h 40"/>
                <a:gd name="T74" fmla="*/ 43172198 w 91"/>
                <a:gd name="T75" fmla="*/ 3543441 h 40"/>
                <a:gd name="T76" fmla="*/ 45706700 w 91"/>
                <a:gd name="T77" fmla="*/ 2641074 h 40"/>
                <a:gd name="T78" fmla="*/ 47690781 w 91"/>
                <a:gd name="T79" fmla="*/ 2641074 h 40"/>
                <a:gd name="T80" fmla="*/ 49064192 w 91"/>
                <a:gd name="T81" fmla="*/ 2315303 h 40"/>
                <a:gd name="T82" fmla="*/ 50364403 w 91"/>
                <a:gd name="T83" fmla="*/ 1706741 h 40"/>
                <a:gd name="T84" fmla="*/ 50364403 w 91"/>
                <a:gd name="T85" fmla="*/ 1408573 h 40"/>
                <a:gd name="T86" fmla="*/ 50939025 w 91"/>
                <a:gd name="T87" fmla="*/ 1234828 h 40"/>
                <a:gd name="T88" fmla="*/ 52259557 w 91"/>
                <a:gd name="T89" fmla="*/ 1234828 h 40"/>
                <a:gd name="T90" fmla="*/ 52259557 w 91"/>
                <a:gd name="T91" fmla="*/ 910262 h 40"/>
                <a:gd name="T92" fmla="*/ 54613957 w 91"/>
                <a:gd name="T93" fmla="*/ 658575 h 40"/>
                <a:gd name="T94" fmla="*/ 54613957 w 91"/>
                <a:gd name="T95" fmla="*/ 351240 h 40"/>
                <a:gd name="T96" fmla="*/ 50939025 w 91"/>
                <a:gd name="T97" fmla="*/ 0 h 40"/>
                <a:gd name="T98" fmla="*/ 48102389 w 91"/>
                <a:gd name="T99" fmla="*/ 0 h 40"/>
                <a:gd name="T100" fmla="*/ 39477559 w 91"/>
                <a:gd name="T101" fmla="*/ 1408573 h 40"/>
                <a:gd name="T102" fmla="*/ 21621834 w 91"/>
                <a:gd name="T103" fmla="*/ 4036849 h 40"/>
                <a:gd name="T104" fmla="*/ 16660911 w 91"/>
                <a:gd name="T105" fmla="*/ 4595951 h 40"/>
                <a:gd name="T106" fmla="*/ 12714606 w 91"/>
                <a:gd name="T107" fmla="*/ 5250227 h 40"/>
                <a:gd name="T108" fmla="*/ 8395075 w 91"/>
                <a:gd name="T109" fmla="*/ 5603726 h 40"/>
                <a:gd name="T110" fmla="*/ 5866898 w 91"/>
                <a:gd name="T111" fmla="*/ 5603726 h 40"/>
                <a:gd name="T112" fmla="*/ 3016315 w 91"/>
                <a:gd name="T113" fmla="*/ 7569092 h 40"/>
                <a:gd name="T114" fmla="*/ 668257 w 91"/>
                <a:gd name="T115" fmla="*/ 8617408 h 40"/>
                <a:gd name="T116" fmla="*/ 0 w 91"/>
                <a:gd name="T117" fmla="*/ 9285026 h 40"/>
                <a:gd name="T118" fmla="*/ 0 w 91"/>
                <a:gd name="T119" fmla="*/ 10596684 h 40"/>
                <a:gd name="T120" fmla="*/ 668257 w 91"/>
                <a:gd name="T121" fmla="*/ 10596684 h 4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91" h="40">
                  <a:moveTo>
                    <a:pt x="1" y="37"/>
                  </a:moveTo>
                  <a:lnTo>
                    <a:pt x="4" y="40"/>
                  </a:lnTo>
                  <a:lnTo>
                    <a:pt x="6" y="40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2" y="35"/>
                  </a:lnTo>
                  <a:lnTo>
                    <a:pt x="13" y="36"/>
                  </a:lnTo>
                  <a:lnTo>
                    <a:pt x="14" y="35"/>
                  </a:lnTo>
                  <a:lnTo>
                    <a:pt x="22" y="29"/>
                  </a:lnTo>
                  <a:lnTo>
                    <a:pt x="25" y="30"/>
                  </a:lnTo>
                  <a:lnTo>
                    <a:pt x="26" y="29"/>
                  </a:lnTo>
                  <a:lnTo>
                    <a:pt x="29" y="30"/>
                  </a:lnTo>
                  <a:lnTo>
                    <a:pt x="33" y="29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4" y="26"/>
                  </a:lnTo>
                  <a:lnTo>
                    <a:pt x="37" y="27"/>
                  </a:lnTo>
                  <a:lnTo>
                    <a:pt x="38" y="26"/>
                  </a:lnTo>
                  <a:lnTo>
                    <a:pt x="40" y="26"/>
                  </a:lnTo>
                  <a:lnTo>
                    <a:pt x="49" y="19"/>
                  </a:lnTo>
                  <a:lnTo>
                    <a:pt x="53" y="18"/>
                  </a:lnTo>
                  <a:lnTo>
                    <a:pt x="63" y="18"/>
                  </a:lnTo>
                  <a:lnTo>
                    <a:pt x="65" y="18"/>
                  </a:lnTo>
                  <a:lnTo>
                    <a:pt x="66" y="17"/>
                  </a:lnTo>
                  <a:lnTo>
                    <a:pt x="67" y="17"/>
                  </a:lnTo>
                  <a:lnTo>
                    <a:pt x="67" y="15"/>
                  </a:lnTo>
                  <a:lnTo>
                    <a:pt x="65" y="14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6" y="14"/>
                  </a:lnTo>
                  <a:lnTo>
                    <a:pt x="69" y="14"/>
                  </a:lnTo>
                  <a:lnTo>
                    <a:pt x="67" y="11"/>
                  </a:lnTo>
                  <a:lnTo>
                    <a:pt x="68" y="12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6" y="9"/>
                  </a:lnTo>
                  <a:lnTo>
                    <a:pt x="79" y="9"/>
                  </a:lnTo>
                  <a:lnTo>
                    <a:pt x="82" y="8"/>
                  </a:lnTo>
                  <a:lnTo>
                    <a:pt x="84" y="6"/>
                  </a:lnTo>
                  <a:lnTo>
                    <a:pt x="84" y="5"/>
                  </a:lnTo>
                  <a:lnTo>
                    <a:pt x="85" y="4"/>
                  </a:lnTo>
                  <a:lnTo>
                    <a:pt x="87" y="4"/>
                  </a:lnTo>
                  <a:lnTo>
                    <a:pt x="87" y="3"/>
                  </a:lnTo>
                  <a:lnTo>
                    <a:pt x="91" y="2"/>
                  </a:lnTo>
                  <a:lnTo>
                    <a:pt x="91" y="1"/>
                  </a:lnTo>
                  <a:lnTo>
                    <a:pt x="85" y="0"/>
                  </a:lnTo>
                  <a:lnTo>
                    <a:pt x="80" y="0"/>
                  </a:lnTo>
                  <a:lnTo>
                    <a:pt x="66" y="5"/>
                  </a:lnTo>
                  <a:lnTo>
                    <a:pt x="36" y="14"/>
                  </a:lnTo>
                  <a:lnTo>
                    <a:pt x="28" y="16"/>
                  </a:lnTo>
                  <a:lnTo>
                    <a:pt x="21" y="18"/>
                  </a:lnTo>
                  <a:lnTo>
                    <a:pt x="14" y="19"/>
                  </a:lnTo>
                  <a:lnTo>
                    <a:pt x="10" y="19"/>
                  </a:lnTo>
                  <a:lnTo>
                    <a:pt x="5" y="26"/>
                  </a:lnTo>
                  <a:lnTo>
                    <a:pt x="1" y="30"/>
                  </a:lnTo>
                  <a:lnTo>
                    <a:pt x="0" y="32"/>
                  </a:lnTo>
                  <a:lnTo>
                    <a:pt x="0" y="37"/>
                  </a:lnTo>
                  <a:lnTo>
                    <a:pt x="1" y="37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5" name="Freeform 59"/>
            <p:cNvSpPr>
              <a:spLocks/>
            </p:cNvSpPr>
            <p:nvPr/>
          </p:nvSpPr>
          <p:spPr bwMode="auto">
            <a:xfrm>
              <a:off x="981" y="1401"/>
              <a:ext cx="456" cy="422"/>
            </a:xfrm>
            <a:custGeom>
              <a:avLst/>
              <a:gdLst>
                <a:gd name="T0" fmla="*/ 5056902 w 234"/>
                <a:gd name="T1" fmla="*/ 33718735 h 226"/>
                <a:gd name="T2" fmla="*/ 3794084 w 234"/>
                <a:gd name="T3" fmla="*/ 34798073 h 226"/>
                <a:gd name="T4" fmla="*/ 5752383 w 234"/>
                <a:gd name="T5" fmla="*/ 37397773 h 226"/>
                <a:gd name="T6" fmla="*/ 5752383 w 234"/>
                <a:gd name="T7" fmla="*/ 39513565 h 226"/>
                <a:gd name="T8" fmla="*/ 7393600 w 234"/>
                <a:gd name="T9" fmla="*/ 43791394 h 226"/>
                <a:gd name="T10" fmla="*/ 5752383 w 234"/>
                <a:gd name="T11" fmla="*/ 45056873 h 226"/>
                <a:gd name="T12" fmla="*/ 6745218 w 234"/>
                <a:gd name="T13" fmla="*/ 48378209 h 226"/>
                <a:gd name="T14" fmla="*/ 0 w 234"/>
                <a:gd name="T15" fmla="*/ 50776885 h 226"/>
                <a:gd name="T16" fmla="*/ 683341 w 234"/>
                <a:gd name="T17" fmla="*/ 51779013 h 226"/>
                <a:gd name="T18" fmla="*/ 11809995 w 234"/>
                <a:gd name="T19" fmla="*/ 54165360 h 226"/>
                <a:gd name="T20" fmla="*/ 29408623 w 234"/>
                <a:gd name="T21" fmla="*/ 55755086 h 226"/>
                <a:gd name="T22" fmla="*/ 33647182 w 234"/>
                <a:gd name="T23" fmla="*/ 54165360 h 226"/>
                <a:gd name="T24" fmla="*/ 41897672 w 234"/>
                <a:gd name="T25" fmla="*/ 53919140 h 226"/>
                <a:gd name="T26" fmla="*/ 42903916 w 234"/>
                <a:gd name="T27" fmla="*/ 55147966 h 226"/>
                <a:gd name="T28" fmla="*/ 44164313 w 234"/>
                <a:gd name="T29" fmla="*/ 54447359 h 226"/>
                <a:gd name="T30" fmla="*/ 48605913 w 234"/>
                <a:gd name="T31" fmla="*/ 55147966 h 226"/>
                <a:gd name="T32" fmla="*/ 52595200 w 234"/>
                <a:gd name="T33" fmla="*/ 55755086 h 226"/>
                <a:gd name="T34" fmla="*/ 65568867 w 234"/>
                <a:gd name="T35" fmla="*/ 59452521 h 226"/>
                <a:gd name="T36" fmla="*/ 73573359 w 234"/>
                <a:gd name="T37" fmla="*/ 58726995 h 226"/>
                <a:gd name="T38" fmla="*/ 78062891 w 234"/>
                <a:gd name="T39" fmla="*/ 56563855 h 226"/>
                <a:gd name="T40" fmla="*/ 84754543 w 234"/>
                <a:gd name="T41" fmla="*/ 56888916 h 226"/>
                <a:gd name="T42" fmla="*/ 91213824 w 234"/>
                <a:gd name="T43" fmla="*/ 58200429 h 226"/>
                <a:gd name="T44" fmla="*/ 98512605 w 234"/>
                <a:gd name="T45" fmla="*/ 55755086 h 226"/>
                <a:gd name="T46" fmla="*/ 115824055 w 234"/>
                <a:gd name="T47" fmla="*/ 51021066 h 226"/>
                <a:gd name="T48" fmla="*/ 133512548 w 234"/>
                <a:gd name="T49" fmla="*/ 49052147 h 226"/>
                <a:gd name="T50" fmla="*/ 137271095 w 234"/>
                <a:gd name="T51" fmla="*/ 37672939 h 226"/>
                <a:gd name="T52" fmla="*/ 130234446 w 234"/>
                <a:gd name="T53" fmla="*/ 31601877 h 226"/>
                <a:gd name="T54" fmla="*/ 122866456 w 234"/>
                <a:gd name="T55" fmla="*/ 29685054 h 226"/>
                <a:gd name="T56" fmla="*/ 111679293 w 234"/>
                <a:gd name="T57" fmla="*/ 24129984 h 226"/>
                <a:gd name="T58" fmla="*/ 117716197 w 234"/>
                <a:gd name="T59" fmla="*/ 20470819 h 226"/>
                <a:gd name="T60" fmla="*/ 118424683 w 234"/>
                <a:gd name="T61" fmla="*/ 17051487 h 226"/>
                <a:gd name="T62" fmla="*/ 121018999 w 234"/>
                <a:gd name="T63" fmla="*/ 13782188 h 226"/>
                <a:gd name="T64" fmla="*/ 126770791 w 234"/>
                <a:gd name="T65" fmla="*/ 11136698 h 226"/>
                <a:gd name="T66" fmla="*/ 119756205 w 234"/>
                <a:gd name="T67" fmla="*/ 7098919 h 226"/>
                <a:gd name="T68" fmla="*/ 109241264 w 234"/>
                <a:gd name="T69" fmla="*/ 3952848 h 226"/>
                <a:gd name="T70" fmla="*/ 99868657 w 234"/>
                <a:gd name="T71" fmla="*/ 281707 h 226"/>
                <a:gd name="T72" fmla="*/ 96735875 w 234"/>
                <a:gd name="T73" fmla="*/ 526019 h 226"/>
                <a:gd name="T74" fmla="*/ 82955224 w 234"/>
                <a:gd name="T75" fmla="*/ 1590598 h 226"/>
                <a:gd name="T76" fmla="*/ 72218224 w 234"/>
                <a:gd name="T77" fmla="*/ 2441866 h 226"/>
                <a:gd name="T78" fmla="*/ 63049892 w 234"/>
                <a:gd name="T79" fmla="*/ 4803760 h 226"/>
                <a:gd name="T80" fmla="*/ 56058017 w 234"/>
                <a:gd name="T81" fmla="*/ 6069238 h 226"/>
                <a:gd name="T82" fmla="*/ 49314576 w 234"/>
                <a:gd name="T83" fmla="*/ 7712582 h 226"/>
                <a:gd name="T84" fmla="*/ 44848475 w 234"/>
                <a:gd name="T85" fmla="*/ 8513925 h 226"/>
                <a:gd name="T86" fmla="*/ 40523771 w 234"/>
                <a:gd name="T87" fmla="*/ 9496710 h 226"/>
                <a:gd name="T88" fmla="*/ 35464396 w 234"/>
                <a:gd name="T89" fmla="*/ 10117822 h 226"/>
                <a:gd name="T90" fmla="*/ 24942508 w 234"/>
                <a:gd name="T91" fmla="*/ 14401370 h 226"/>
                <a:gd name="T92" fmla="*/ 12449020 w 234"/>
                <a:gd name="T93" fmla="*/ 18892570 h 226"/>
                <a:gd name="T94" fmla="*/ 8703171 w 234"/>
                <a:gd name="T95" fmla="*/ 22620978 h 226"/>
                <a:gd name="T96" fmla="*/ 7393600 w 234"/>
                <a:gd name="T97" fmla="*/ 23277974 h 226"/>
                <a:gd name="T98" fmla="*/ 6060392 w 234"/>
                <a:gd name="T99" fmla="*/ 28716250 h 226"/>
                <a:gd name="T100" fmla="*/ 2594989 w 234"/>
                <a:gd name="T101" fmla="*/ 30994796 h 22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34" h="226">
                  <a:moveTo>
                    <a:pt x="4" y="119"/>
                  </a:moveTo>
                  <a:lnTo>
                    <a:pt x="5" y="120"/>
                  </a:lnTo>
                  <a:lnTo>
                    <a:pt x="8" y="123"/>
                  </a:lnTo>
                  <a:lnTo>
                    <a:pt x="8" y="127"/>
                  </a:lnTo>
                  <a:lnTo>
                    <a:pt x="10" y="129"/>
                  </a:lnTo>
                  <a:lnTo>
                    <a:pt x="10" y="131"/>
                  </a:lnTo>
                  <a:lnTo>
                    <a:pt x="9" y="130"/>
                  </a:lnTo>
                  <a:lnTo>
                    <a:pt x="6" y="131"/>
                  </a:lnTo>
                  <a:lnTo>
                    <a:pt x="5" y="131"/>
                  </a:lnTo>
                  <a:lnTo>
                    <a:pt x="9" y="138"/>
                  </a:lnTo>
                  <a:lnTo>
                    <a:pt x="9" y="139"/>
                  </a:lnTo>
                  <a:lnTo>
                    <a:pt x="9" y="141"/>
                  </a:lnTo>
                  <a:lnTo>
                    <a:pt x="9" y="143"/>
                  </a:lnTo>
                  <a:lnTo>
                    <a:pt x="11" y="143"/>
                  </a:lnTo>
                  <a:lnTo>
                    <a:pt x="11" y="146"/>
                  </a:lnTo>
                  <a:lnTo>
                    <a:pt x="9" y="149"/>
                  </a:lnTo>
                  <a:lnTo>
                    <a:pt x="9" y="152"/>
                  </a:lnTo>
                  <a:lnTo>
                    <a:pt x="12" y="161"/>
                  </a:lnTo>
                  <a:lnTo>
                    <a:pt x="12" y="165"/>
                  </a:lnTo>
                  <a:lnTo>
                    <a:pt x="12" y="166"/>
                  </a:lnTo>
                  <a:lnTo>
                    <a:pt x="12" y="167"/>
                  </a:lnTo>
                  <a:lnTo>
                    <a:pt x="12" y="170"/>
                  </a:lnTo>
                  <a:lnTo>
                    <a:pt x="9" y="170"/>
                  </a:lnTo>
                  <a:lnTo>
                    <a:pt x="9" y="171"/>
                  </a:lnTo>
                  <a:lnTo>
                    <a:pt x="10" y="173"/>
                  </a:lnTo>
                  <a:lnTo>
                    <a:pt x="11" y="177"/>
                  </a:lnTo>
                  <a:lnTo>
                    <a:pt x="11" y="182"/>
                  </a:lnTo>
                  <a:lnTo>
                    <a:pt x="11" y="183"/>
                  </a:lnTo>
                  <a:lnTo>
                    <a:pt x="9" y="184"/>
                  </a:lnTo>
                  <a:lnTo>
                    <a:pt x="3" y="187"/>
                  </a:lnTo>
                  <a:lnTo>
                    <a:pt x="0" y="191"/>
                  </a:lnTo>
                  <a:lnTo>
                    <a:pt x="2" y="191"/>
                  </a:lnTo>
                  <a:lnTo>
                    <a:pt x="1" y="192"/>
                  </a:lnTo>
                  <a:lnTo>
                    <a:pt x="1" y="195"/>
                  </a:lnTo>
                  <a:lnTo>
                    <a:pt x="9" y="202"/>
                  </a:lnTo>
                  <a:lnTo>
                    <a:pt x="13" y="204"/>
                  </a:lnTo>
                  <a:lnTo>
                    <a:pt x="15" y="205"/>
                  </a:lnTo>
                  <a:lnTo>
                    <a:pt x="19" y="204"/>
                  </a:lnTo>
                  <a:lnTo>
                    <a:pt x="24" y="203"/>
                  </a:lnTo>
                  <a:lnTo>
                    <a:pt x="41" y="210"/>
                  </a:lnTo>
                  <a:lnTo>
                    <a:pt x="45" y="211"/>
                  </a:lnTo>
                  <a:lnTo>
                    <a:pt x="47" y="210"/>
                  </a:lnTo>
                  <a:lnTo>
                    <a:pt x="49" y="209"/>
                  </a:lnTo>
                  <a:lnTo>
                    <a:pt x="50" y="208"/>
                  </a:lnTo>
                  <a:lnTo>
                    <a:pt x="51" y="206"/>
                  </a:lnTo>
                  <a:lnTo>
                    <a:pt x="54" y="204"/>
                  </a:lnTo>
                  <a:lnTo>
                    <a:pt x="57" y="205"/>
                  </a:lnTo>
                  <a:lnTo>
                    <a:pt x="61" y="202"/>
                  </a:lnTo>
                  <a:lnTo>
                    <a:pt x="64" y="201"/>
                  </a:lnTo>
                  <a:lnTo>
                    <a:pt x="67" y="203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8"/>
                  </a:lnTo>
                  <a:lnTo>
                    <a:pt x="69" y="208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6"/>
                  </a:lnTo>
                  <a:lnTo>
                    <a:pt x="73" y="206"/>
                  </a:lnTo>
                  <a:lnTo>
                    <a:pt x="77" y="207"/>
                  </a:lnTo>
                  <a:lnTo>
                    <a:pt x="78" y="208"/>
                  </a:lnTo>
                  <a:lnTo>
                    <a:pt x="79" y="207"/>
                  </a:lnTo>
                  <a:lnTo>
                    <a:pt x="79" y="209"/>
                  </a:lnTo>
                  <a:lnTo>
                    <a:pt x="84" y="210"/>
                  </a:lnTo>
                  <a:lnTo>
                    <a:pt x="93" y="218"/>
                  </a:lnTo>
                  <a:lnTo>
                    <a:pt x="94" y="223"/>
                  </a:lnTo>
                  <a:lnTo>
                    <a:pt x="99" y="220"/>
                  </a:lnTo>
                  <a:lnTo>
                    <a:pt x="105" y="224"/>
                  </a:lnTo>
                  <a:lnTo>
                    <a:pt x="108" y="224"/>
                  </a:lnTo>
                  <a:lnTo>
                    <a:pt x="113" y="226"/>
                  </a:lnTo>
                  <a:lnTo>
                    <a:pt x="117" y="224"/>
                  </a:lnTo>
                  <a:lnTo>
                    <a:pt x="118" y="221"/>
                  </a:lnTo>
                  <a:lnTo>
                    <a:pt x="120" y="220"/>
                  </a:lnTo>
                  <a:lnTo>
                    <a:pt x="123" y="217"/>
                  </a:lnTo>
                  <a:lnTo>
                    <a:pt x="123" y="215"/>
                  </a:lnTo>
                  <a:lnTo>
                    <a:pt x="125" y="213"/>
                  </a:lnTo>
                  <a:lnTo>
                    <a:pt x="131" y="214"/>
                  </a:lnTo>
                  <a:lnTo>
                    <a:pt x="132" y="211"/>
                  </a:lnTo>
                  <a:lnTo>
                    <a:pt x="134" y="210"/>
                  </a:lnTo>
                  <a:lnTo>
                    <a:pt x="136" y="214"/>
                  </a:lnTo>
                  <a:lnTo>
                    <a:pt x="139" y="218"/>
                  </a:lnTo>
                  <a:lnTo>
                    <a:pt x="141" y="218"/>
                  </a:lnTo>
                  <a:lnTo>
                    <a:pt x="145" y="217"/>
                  </a:lnTo>
                  <a:lnTo>
                    <a:pt x="146" y="219"/>
                  </a:lnTo>
                  <a:lnTo>
                    <a:pt x="149" y="217"/>
                  </a:lnTo>
                  <a:lnTo>
                    <a:pt x="152" y="214"/>
                  </a:lnTo>
                  <a:lnTo>
                    <a:pt x="151" y="210"/>
                  </a:lnTo>
                  <a:lnTo>
                    <a:pt x="158" y="210"/>
                  </a:lnTo>
                  <a:lnTo>
                    <a:pt x="168" y="206"/>
                  </a:lnTo>
                  <a:lnTo>
                    <a:pt x="168" y="204"/>
                  </a:lnTo>
                  <a:lnTo>
                    <a:pt x="177" y="197"/>
                  </a:lnTo>
                  <a:lnTo>
                    <a:pt x="186" y="192"/>
                  </a:lnTo>
                  <a:lnTo>
                    <a:pt x="191" y="184"/>
                  </a:lnTo>
                  <a:lnTo>
                    <a:pt x="198" y="178"/>
                  </a:lnTo>
                  <a:lnTo>
                    <a:pt x="208" y="179"/>
                  </a:lnTo>
                  <a:lnTo>
                    <a:pt x="214" y="185"/>
                  </a:lnTo>
                  <a:lnTo>
                    <a:pt x="227" y="176"/>
                  </a:lnTo>
                  <a:lnTo>
                    <a:pt x="234" y="161"/>
                  </a:lnTo>
                  <a:lnTo>
                    <a:pt x="220" y="142"/>
                  </a:lnTo>
                  <a:lnTo>
                    <a:pt x="220" y="129"/>
                  </a:lnTo>
                  <a:lnTo>
                    <a:pt x="207" y="124"/>
                  </a:lnTo>
                  <a:lnTo>
                    <a:pt x="209" y="119"/>
                  </a:lnTo>
                  <a:lnTo>
                    <a:pt x="205" y="118"/>
                  </a:lnTo>
                  <a:lnTo>
                    <a:pt x="201" y="114"/>
                  </a:lnTo>
                  <a:lnTo>
                    <a:pt x="197" y="112"/>
                  </a:lnTo>
                  <a:lnTo>
                    <a:pt x="183" y="111"/>
                  </a:lnTo>
                  <a:lnTo>
                    <a:pt x="178" y="104"/>
                  </a:lnTo>
                  <a:lnTo>
                    <a:pt x="178" y="96"/>
                  </a:lnTo>
                  <a:lnTo>
                    <a:pt x="179" y="91"/>
                  </a:lnTo>
                  <a:lnTo>
                    <a:pt x="181" y="87"/>
                  </a:lnTo>
                  <a:lnTo>
                    <a:pt x="182" y="83"/>
                  </a:lnTo>
                  <a:lnTo>
                    <a:pt x="186" y="80"/>
                  </a:lnTo>
                  <a:lnTo>
                    <a:pt x="189" y="77"/>
                  </a:lnTo>
                  <a:lnTo>
                    <a:pt x="189" y="73"/>
                  </a:lnTo>
                  <a:lnTo>
                    <a:pt x="187" y="70"/>
                  </a:lnTo>
                  <a:lnTo>
                    <a:pt x="186" y="67"/>
                  </a:lnTo>
                  <a:lnTo>
                    <a:pt x="190" y="64"/>
                  </a:lnTo>
                  <a:lnTo>
                    <a:pt x="191" y="60"/>
                  </a:lnTo>
                  <a:lnTo>
                    <a:pt x="192" y="58"/>
                  </a:lnTo>
                  <a:lnTo>
                    <a:pt x="194" y="55"/>
                  </a:lnTo>
                  <a:lnTo>
                    <a:pt x="194" y="52"/>
                  </a:lnTo>
                  <a:lnTo>
                    <a:pt x="195" y="48"/>
                  </a:lnTo>
                  <a:lnTo>
                    <a:pt x="198" y="48"/>
                  </a:lnTo>
                  <a:lnTo>
                    <a:pt x="199" y="45"/>
                  </a:lnTo>
                  <a:lnTo>
                    <a:pt x="203" y="42"/>
                  </a:lnTo>
                  <a:lnTo>
                    <a:pt x="201" y="40"/>
                  </a:lnTo>
                  <a:lnTo>
                    <a:pt x="201" y="30"/>
                  </a:lnTo>
                  <a:lnTo>
                    <a:pt x="198" y="28"/>
                  </a:lnTo>
                  <a:lnTo>
                    <a:pt x="192" y="27"/>
                  </a:lnTo>
                  <a:lnTo>
                    <a:pt x="187" y="25"/>
                  </a:lnTo>
                  <a:lnTo>
                    <a:pt x="182" y="23"/>
                  </a:lnTo>
                  <a:lnTo>
                    <a:pt x="177" y="21"/>
                  </a:lnTo>
                  <a:lnTo>
                    <a:pt x="175" y="15"/>
                  </a:lnTo>
                  <a:lnTo>
                    <a:pt x="176" y="10"/>
                  </a:lnTo>
                  <a:lnTo>
                    <a:pt x="180" y="0"/>
                  </a:lnTo>
                  <a:lnTo>
                    <a:pt x="171" y="4"/>
                  </a:lnTo>
                  <a:lnTo>
                    <a:pt x="160" y="1"/>
                  </a:lnTo>
                  <a:lnTo>
                    <a:pt x="159" y="3"/>
                  </a:lnTo>
                  <a:lnTo>
                    <a:pt x="157" y="1"/>
                  </a:lnTo>
                  <a:lnTo>
                    <a:pt x="157" y="2"/>
                  </a:lnTo>
                  <a:lnTo>
                    <a:pt x="155" y="2"/>
                  </a:lnTo>
                  <a:lnTo>
                    <a:pt x="144" y="3"/>
                  </a:lnTo>
                  <a:lnTo>
                    <a:pt x="135" y="6"/>
                  </a:lnTo>
                  <a:lnTo>
                    <a:pt x="134" y="5"/>
                  </a:lnTo>
                  <a:lnTo>
                    <a:pt x="133" y="6"/>
                  </a:lnTo>
                  <a:lnTo>
                    <a:pt x="123" y="10"/>
                  </a:lnTo>
                  <a:lnTo>
                    <a:pt x="121" y="8"/>
                  </a:lnTo>
                  <a:lnTo>
                    <a:pt x="117" y="10"/>
                  </a:lnTo>
                  <a:lnTo>
                    <a:pt x="116" y="9"/>
                  </a:lnTo>
                  <a:lnTo>
                    <a:pt x="108" y="14"/>
                  </a:lnTo>
                  <a:lnTo>
                    <a:pt x="105" y="16"/>
                  </a:lnTo>
                  <a:lnTo>
                    <a:pt x="103" y="16"/>
                  </a:lnTo>
                  <a:lnTo>
                    <a:pt x="101" y="18"/>
                  </a:lnTo>
                  <a:lnTo>
                    <a:pt x="96" y="20"/>
                  </a:lnTo>
                  <a:lnTo>
                    <a:pt x="95" y="20"/>
                  </a:lnTo>
                  <a:lnTo>
                    <a:pt x="94" y="20"/>
                  </a:lnTo>
                  <a:lnTo>
                    <a:pt x="90" y="23"/>
                  </a:lnTo>
                  <a:lnTo>
                    <a:pt x="83" y="27"/>
                  </a:lnTo>
                  <a:lnTo>
                    <a:pt x="79" y="29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3" y="33"/>
                  </a:lnTo>
                  <a:lnTo>
                    <a:pt x="72" y="32"/>
                  </a:lnTo>
                  <a:lnTo>
                    <a:pt x="70" y="34"/>
                  </a:lnTo>
                  <a:lnTo>
                    <a:pt x="69" y="34"/>
                  </a:lnTo>
                  <a:lnTo>
                    <a:pt x="66" y="35"/>
                  </a:lnTo>
                  <a:lnTo>
                    <a:pt x="65" y="36"/>
                  </a:lnTo>
                  <a:lnTo>
                    <a:pt x="64" y="37"/>
                  </a:lnTo>
                  <a:lnTo>
                    <a:pt x="60" y="37"/>
                  </a:lnTo>
                  <a:lnTo>
                    <a:pt x="60" y="38"/>
                  </a:lnTo>
                  <a:lnTo>
                    <a:pt x="57" y="38"/>
                  </a:lnTo>
                  <a:lnTo>
                    <a:pt x="51" y="41"/>
                  </a:lnTo>
                  <a:lnTo>
                    <a:pt x="46" y="47"/>
                  </a:lnTo>
                  <a:lnTo>
                    <a:pt x="44" y="51"/>
                  </a:lnTo>
                  <a:lnTo>
                    <a:pt x="40" y="54"/>
                  </a:lnTo>
                  <a:lnTo>
                    <a:pt x="37" y="57"/>
                  </a:lnTo>
                  <a:lnTo>
                    <a:pt x="26" y="65"/>
                  </a:lnTo>
                  <a:lnTo>
                    <a:pt x="25" y="66"/>
                  </a:lnTo>
                  <a:lnTo>
                    <a:pt x="20" y="71"/>
                  </a:lnTo>
                  <a:lnTo>
                    <a:pt x="18" y="75"/>
                  </a:lnTo>
                  <a:lnTo>
                    <a:pt x="15" y="83"/>
                  </a:lnTo>
                  <a:lnTo>
                    <a:pt x="14" y="84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6"/>
                  </a:lnTo>
                  <a:lnTo>
                    <a:pt x="13" y="86"/>
                  </a:lnTo>
                  <a:lnTo>
                    <a:pt x="12" y="88"/>
                  </a:lnTo>
                  <a:lnTo>
                    <a:pt x="14" y="89"/>
                  </a:lnTo>
                  <a:lnTo>
                    <a:pt x="12" y="95"/>
                  </a:lnTo>
                  <a:lnTo>
                    <a:pt x="11" y="106"/>
                  </a:lnTo>
                  <a:lnTo>
                    <a:pt x="10" y="108"/>
                  </a:lnTo>
                  <a:lnTo>
                    <a:pt x="5" y="111"/>
                  </a:lnTo>
                  <a:lnTo>
                    <a:pt x="6" y="113"/>
                  </a:lnTo>
                  <a:lnTo>
                    <a:pt x="5" y="116"/>
                  </a:lnTo>
                  <a:lnTo>
                    <a:pt x="4" y="117"/>
                  </a:lnTo>
                  <a:lnTo>
                    <a:pt x="4" y="120"/>
                  </a:lnTo>
                  <a:lnTo>
                    <a:pt x="4" y="119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6" name="Freeform 60"/>
            <p:cNvSpPr>
              <a:spLocks/>
            </p:cNvSpPr>
            <p:nvPr/>
          </p:nvSpPr>
          <p:spPr bwMode="auto">
            <a:xfrm>
              <a:off x="501" y="2523"/>
              <a:ext cx="40" cy="18"/>
            </a:xfrm>
            <a:custGeom>
              <a:avLst/>
              <a:gdLst>
                <a:gd name="T0" fmla="*/ 7340032 w 20"/>
                <a:gd name="T1" fmla="*/ 276275 h 10"/>
                <a:gd name="T2" fmla="*/ 2097152 w 20"/>
                <a:gd name="T3" fmla="*/ 0 h 10"/>
                <a:gd name="T4" fmla="*/ 0 w 20"/>
                <a:gd name="T5" fmla="*/ 0 h 10"/>
                <a:gd name="T6" fmla="*/ 0 w 20"/>
                <a:gd name="T7" fmla="*/ 276275 h 10"/>
                <a:gd name="T8" fmla="*/ 3145728 w 20"/>
                <a:gd name="T9" fmla="*/ 497295 h 10"/>
                <a:gd name="T10" fmla="*/ 4194304 w 20"/>
                <a:gd name="T11" fmla="*/ 791215 h 10"/>
                <a:gd name="T12" fmla="*/ 12582912 w 20"/>
                <a:gd name="T13" fmla="*/ 1264306 h 10"/>
                <a:gd name="T14" fmla="*/ 14680064 w 20"/>
                <a:gd name="T15" fmla="*/ 1264306 h 10"/>
                <a:gd name="T16" fmla="*/ 18874368 w 20"/>
                <a:gd name="T17" fmla="*/ 1139333 h 10"/>
                <a:gd name="T18" fmla="*/ 20971520 w 20"/>
                <a:gd name="T19" fmla="*/ 1139333 h 10"/>
                <a:gd name="T20" fmla="*/ 20971520 w 20"/>
                <a:gd name="T21" fmla="*/ 984611 h 10"/>
                <a:gd name="T22" fmla="*/ 10485760 w 20"/>
                <a:gd name="T23" fmla="*/ 276275 h 10"/>
                <a:gd name="T24" fmla="*/ 7340032 w 20"/>
                <a:gd name="T25" fmla="*/ 276275 h 10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10">
                  <a:moveTo>
                    <a:pt x="7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3" y="4"/>
                  </a:lnTo>
                  <a:lnTo>
                    <a:pt x="4" y="6"/>
                  </a:lnTo>
                  <a:lnTo>
                    <a:pt x="12" y="10"/>
                  </a:lnTo>
                  <a:lnTo>
                    <a:pt x="14" y="10"/>
                  </a:lnTo>
                  <a:lnTo>
                    <a:pt x="18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10" y="2"/>
                  </a:lnTo>
                  <a:lnTo>
                    <a:pt x="7" y="2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7" name="Freeform 61"/>
            <p:cNvSpPr>
              <a:spLocks/>
            </p:cNvSpPr>
            <p:nvPr/>
          </p:nvSpPr>
          <p:spPr bwMode="auto">
            <a:xfrm>
              <a:off x="556" y="2560"/>
              <a:ext cx="15" cy="13"/>
            </a:xfrm>
            <a:custGeom>
              <a:avLst/>
              <a:gdLst>
                <a:gd name="T0" fmla="*/ 1234828 w 8"/>
                <a:gd name="T1" fmla="*/ 744207 h 7"/>
                <a:gd name="T2" fmla="*/ 2315303 w 8"/>
                <a:gd name="T3" fmla="*/ 0 h 7"/>
                <a:gd name="T4" fmla="*/ 2315303 w 8"/>
                <a:gd name="T5" fmla="*/ 0 h 7"/>
                <a:gd name="T6" fmla="*/ 910262 w 8"/>
                <a:gd name="T7" fmla="*/ 744207 h 7"/>
                <a:gd name="T8" fmla="*/ 910262 w 8"/>
                <a:gd name="T9" fmla="*/ 744207 h 7"/>
                <a:gd name="T10" fmla="*/ 0 w 8"/>
                <a:gd name="T11" fmla="*/ 1382099 h 7"/>
                <a:gd name="T12" fmla="*/ 0 w 8"/>
                <a:gd name="T13" fmla="*/ 1684709 h 7"/>
                <a:gd name="T14" fmla="*/ 910262 w 8"/>
                <a:gd name="T15" fmla="*/ 907151 h 7"/>
                <a:gd name="T16" fmla="*/ 1234828 w 8"/>
                <a:gd name="T17" fmla="*/ 744207 h 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" h="7">
                  <a:moveTo>
                    <a:pt x="4" y="3"/>
                  </a:moveTo>
                  <a:lnTo>
                    <a:pt x="8" y="0"/>
                  </a:lnTo>
                  <a:lnTo>
                    <a:pt x="3" y="3"/>
                  </a:lnTo>
                  <a:lnTo>
                    <a:pt x="0" y="6"/>
                  </a:lnTo>
                  <a:lnTo>
                    <a:pt x="0" y="7"/>
                  </a:lnTo>
                  <a:lnTo>
                    <a:pt x="3" y="4"/>
                  </a:lnTo>
                  <a:lnTo>
                    <a:pt x="4" y="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8" name="Freeform 62"/>
            <p:cNvSpPr>
              <a:spLocks/>
            </p:cNvSpPr>
            <p:nvPr/>
          </p:nvSpPr>
          <p:spPr bwMode="auto">
            <a:xfrm>
              <a:off x="390" y="2136"/>
              <a:ext cx="591" cy="424"/>
            </a:xfrm>
            <a:custGeom>
              <a:avLst/>
              <a:gdLst>
                <a:gd name="T0" fmla="*/ 173918302 w 303"/>
                <a:gd name="T1" fmla="*/ 50224929 h 227"/>
                <a:gd name="T2" fmla="*/ 176508431 w 303"/>
                <a:gd name="T3" fmla="*/ 50465132 h 227"/>
                <a:gd name="T4" fmla="*/ 185683044 w 303"/>
                <a:gd name="T5" fmla="*/ 48333505 h 227"/>
                <a:gd name="T6" fmla="*/ 188473503 w 303"/>
                <a:gd name="T7" fmla="*/ 45632294 h 227"/>
                <a:gd name="T8" fmla="*/ 187781800 w 303"/>
                <a:gd name="T9" fmla="*/ 40869519 h 227"/>
                <a:gd name="T10" fmla="*/ 187308948 w 303"/>
                <a:gd name="T11" fmla="*/ 38214225 h 227"/>
                <a:gd name="T12" fmla="*/ 191832624 w 303"/>
                <a:gd name="T13" fmla="*/ 35289817 h 227"/>
                <a:gd name="T14" fmla="*/ 187308948 w 303"/>
                <a:gd name="T15" fmla="*/ 36088295 h 227"/>
                <a:gd name="T16" fmla="*/ 173918302 w 303"/>
                <a:gd name="T17" fmla="*/ 34151487 h 227"/>
                <a:gd name="T18" fmla="*/ 166497542 w 303"/>
                <a:gd name="T19" fmla="*/ 35057317 h 227"/>
                <a:gd name="T20" fmla="*/ 158240006 w 303"/>
                <a:gd name="T21" fmla="*/ 31791102 h 227"/>
                <a:gd name="T22" fmla="*/ 149772125 w 303"/>
                <a:gd name="T23" fmla="*/ 32929194 h 227"/>
                <a:gd name="T24" fmla="*/ 142936894 w 303"/>
                <a:gd name="T25" fmla="*/ 34151487 h 227"/>
                <a:gd name="T26" fmla="*/ 137041283 w 303"/>
                <a:gd name="T27" fmla="*/ 35466517 h 227"/>
                <a:gd name="T28" fmla="*/ 130208426 w 303"/>
                <a:gd name="T29" fmla="*/ 37226632 h 227"/>
                <a:gd name="T30" fmla="*/ 121746398 w 303"/>
                <a:gd name="T31" fmla="*/ 35289817 h 227"/>
                <a:gd name="T32" fmla="*/ 118239302 w 303"/>
                <a:gd name="T33" fmla="*/ 31493865 h 227"/>
                <a:gd name="T34" fmla="*/ 115014851 w 303"/>
                <a:gd name="T35" fmla="*/ 30180737 h 227"/>
                <a:gd name="T36" fmla="*/ 114360452 w 303"/>
                <a:gd name="T37" fmla="*/ 28663620 h 227"/>
                <a:gd name="T38" fmla="*/ 120864659 w 303"/>
                <a:gd name="T39" fmla="*/ 26206078 h 227"/>
                <a:gd name="T40" fmla="*/ 116252575 w 303"/>
                <a:gd name="T41" fmla="*/ 21270233 h 227"/>
                <a:gd name="T42" fmla="*/ 114360452 w 303"/>
                <a:gd name="T43" fmla="*/ 18768894 h 227"/>
                <a:gd name="T44" fmla="*/ 118239302 w 303"/>
                <a:gd name="T45" fmla="*/ 17849888 h 227"/>
                <a:gd name="T46" fmla="*/ 120864659 w 303"/>
                <a:gd name="T47" fmla="*/ 18987970 h 227"/>
                <a:gd name="T48" fmla="*/ 122402080 w 303"/>
                <a:gd name="T49" fmla="*/ 16861102 h 227"/>
                <a:gd name="T50" fmla="*/ 115014851 w 303"/>
                <a:gd name="T51" fmla="*/ 12338630 h 227"/>
                <a:gd name="T52" fmla="*/ 107522372 w 303"/>
                <a:gd name="T53" fmla="*/ 10715670 h 227"/>
                <a:gd name="T54" fmla="*/ 101674072 w 303"/>
                <a:gd name="T55" fmla="*/ 9259785 h 227"/>
                <a:gd name="T56" fmla="*/ 93481842 w 303"/>
                <a:gd name="T57" fmla="*/ 9556426 h 227"/>
                <a:gd name="T58" fmla="*/ 80792569 w 303"/>
                <a:gd name="T59" fmla="*/ 10715670 h 227"/>
                <a:gd name="T60" fmla="*/ 78821440 w 303"/>
                <a:gd name="T61" fmla="*/ 9178860 h 227"/>
                <a:gd name="T62" fmla="*/ 83654525 w 303"/>
                <a:gd name="T63" fmla="*/ 3159108 h 227"/>
                <a:gd name="T64" fmla="*/ 80146234 w 303"/>
                <a:gd name="T65" fmla="*/ 986909 h 227"/>
                <a:gd name="T66" fmla="*/ 57621062 w 303"/>
                <a:gd name="T67" fmla="*/ 10165729 h 227"/>
                <a:gd name="T68" fmla="*/ 36199563 w 303"/>
                <a:gd name="T69" fmla="*/ 21880615 h 227"/>
                <a:gd name="T70" fmla="*/ 21590236 w 303"/>
                <a:gd name="T71" fmla="*/ 29194165 h 227"/>
                <a:gd name="T72" fmla="*/ 2631791 w 303"/>
                <a:gd name="T73" fmla="*/ 32632947 h 227"/>
                <a:gd name="T74" fmla="*/ 2631791 w 303"/>
                <a:gd name="T75" fmla="*/ 35762061 h 227"/>
                <a:gd name="T76" fmla="*/ 3336333 w 303"/>
                <a:gd name="T77" fmla="*/ 38743620 h 227"/>
                <a:gd name="T78" fmla="*/ 5133295 w 303"/>
                <a:gd name="T79" fmla="*/ 38743620 h 227"/>
                <a:gd name="T80" fmla="*/ 8213792 w 303"/>
                <a:gd name="T81" fmla="*/ 45632294 h 227"/>
                <a:gd name="T82" fmla="*/ 8213792 w 303"/>
                <a:gd name="T83" fmla="*/ 47099913 h 227"/>
                <a:gd name="T84" fmla="*/ 15318135 w 303"/>
                <a:gd name="T85" fmla="*/ 48616299 h 227"/>
                <a:gd name="T86" fmla="*/ 16495073 w 303"/>
                <a:gd name="T87" fmla="*/ 48948798 h 227"/>
                <a:gd name="T88" fmla="*/ 24757337 w 303"/>
                <a:gd name="T89" fmla="*/ 50224929 h 227"/>
                <a:gd name="T90" fmla="*/ 32876409 w 303"/>
                <a:gd name="T91" fmla="*/ 52401943 h 227"/>
                <a:gd name="T92" fmla="*/ 31954245 w 303"/>
                <a:gd name="T93" fmla="*/ 52591303 h 227"/>
                <a:gd name="T94" fmla="*/ 44599390 w 303"/>
                <a:gd name="T95" fmla="*/ 55693003 h 227"/>
                <a:gd name="T96" fmla="*/ 61598801 w 303"/>
                <a:gd name="T97" fmla="*/ 59041483 h 227"/>
                <a:gd name="T98" fmla="*/ 85000516 w 303"/>
                <a:gd name="T99" fmla="*/ 59041483 h 227"/>
                <a:gd name="T100" fmla="*/ 87632319 w 303"/>
                <a:gd name="T101" fmla="*/ 58498770 h 227"/>
                <a:gd name="T102" fmla="*/ 90803575 w 303"/>
                <a:gd name="T103" fmla="*/ 57535130 h 227"/>
                <a:gd name="T104" fmla="*/ 96273918 w 303"/>
                <a:gd name="T105" fmla="*/ 55693003 h 227"/>
                <a:gd name="T106" fmla="*/ 96031491 w 303"/>
                <a:gd name="T107" fmla="*/ 56656004 h 227"/>
                <a:gd name="T108" fmla="*/ 101022989 w 303"/>
                <a:gd name="T109" fmla="*/ 56656004 h 227"/>
                <a:gd name="T110" fmla="*/ 106240107 w 303"/>
                <a:gd name="T111" fmla="*/ 52591303 h 227"/>
                <a:gd name="T112" fmla="*/ 113668583 w 303"/>
                <a:gd name="T113" fmla="*/ 51074455 h 227"/>
                <a:gd name="T114" fmla="*/ 123656461 w 303"/>
                <a:gd name="T115" fmla="*/ 49603136 h 227"/>
                <a:gd name="T116" fmla="*/ 131570287 w 303"/>
                <a:gd name="T117" fmla="*/ 48333505 h 227"/>
                <a:gd name="T118" fmla="*/ 147891306 w 303"/>
                <a:gd name="T119" fmla="*/ 51446232 h 227"/>
                <a:gd name="T120" fmla="*/ 154905444 w 303"/>
                <a:gd name="T121" fmla="*/ 52591303 h 227"/>
                <a:gd name="T122" fmla="*/ 165151599 w 303"/>
                <a:gd name="T123" fmla="*/ 50224929 h 227"/>
                <a:gd name="T124" fmla="*/ 171618058 w 303"/>
                <a:gd name="T125" fmla="*/ 49603136 h 22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03" h="227">
                  <a:moveTo>
                    <a:pt x="270" y="186"/>
                  </a:moveTo>
                  <a:lnTo>
                    <a:pt x="270" y="186"/>
                  </a:lnTo>
                  <a:lnTo>
                    <a:pt x="273" y="187"/>
                  </a:lnTo>
                  <a:lnTo>
                    <a:pt x="274" y="188"/>
                  </a:lnTo>
                  <a:lnTo>
                    <a:pt x="275" y="189"/>
                  </a:lnTo>
                  <a:lnTo>
                    <a:pt x="277" y="189"/>
                  </a:lnTo>
                  <a:lnTo>
                    <a:pt x="278" y="189"/>
                  </a:lnTo>
                  <a:lnTo>
                    <a:pt x="287" y="185"/>
                  </a:lnTo>
                  <a:lnTo>
                    <a:pt x="289" y="183"/>
                  </a:lnTo>
                  <a:lnTo>
                    <a:pt x="292" y="181"/>
                  </a:lnTo>
                  <a:lnTo>
                    <a:pt x="294" y="179"/>
                  </a:lnTo>
                  <a:lnTo>
                    <a:pt x="295" y="176"/>
                  </a:lnTo>
                  <a:lnTo>
                    <a:pt x="296" y="173"/>
                  </a:lnTo>
                  <a:lnTo>
                    <a:pt x="297" y="171"/>
                  </a:lnTo>
                  <a:lnTo>
                    <a:pt x="297" y="167"/>
                  </a:lnTo>
                  <a:lnTo>
                    <a:pt x="297" y="164"/>
                  </a:lnTo>
                  <a:lnTo>
                    <a:pt x="297" y="158"/>
                  </a:lnTo>
                  <a:lnTo>
                    <a:pt x="296" y="153"/>
                  </a:lnTo>
                  <a:lnTo>
                    <a:pt x="295" y="148"/>
                  </a:lnTo>
                  <a:lnTo>
                    <a:pt x="295" y="145"/>
                  </a:lnTo>
                  <a:lnTo>
                    <a:pt x="295" y="143"/>
                  </a:lnTo>
                  <a:lnTo>
                    <a:pt x="296" y="140"/>
                  </a:lnTo>
                  <a:lnTo>
                    <a:pt x="297" y="137"/>
                  </a:lnTo>
                  <a:lnTo>
                    <a:pt x="299" y="135"/>
                  </a:lnTo>
                  <a:lnTo>
                    <a:pt x="302" y="132"/>
                  </a:lnTo>
                  <a:lnTo>
                    <a:pt x="303" y="130"/>
                  </a:lnTo>
                  <a:lnTo>
                    <a:pt x="299" y="132"/>
                  </a:lnTo>
                  <a:lnTo>
                    <a:pt x="298" y="134"/>
                  </a:lnTo>
                  <a:lnTo>
                    <a:pt x="295" y="135"/>
                  </a:lnTo>
                  <a:lnTo>
                    <a:pt x="291" y="135"/>
                  </a:lnTo>
                  <a:lnTo>
                    <a:pt x="282" y="130"/>
                  </a:lnTo>
                  <a:lnTo>
                    <a:pt x="277" y="127"/>
                  </a:lnTo>
                  <a:lnTo>
                    <a:pt x="274" y="128"/>
                  </a:lnTo>
                  <a:lnTo>
                    <a:pt x="270" y="133"/>
                  </a:lnTo>
                  <a:lnTo>
                    <a:pt x="267" y="134"/>
                  </a:lnTo>
                  <a:lnTo>
                    <a:pt x="262" y="131"/>
                  </a:lnTo>
                  <a:lnTo>
                    <a:pt x="258" y="129"/>
                  </a:lnTo>
                  <a:lnTo>
                    <a:pt x="255" y="126"/>
                  </a:lnTo>
                  <a:lnTo>
                    <a:pt x="252" y="122"/>
                  </a:lnTo>
                  <a:lnTo>
                    <a:pt x="249" y="119"/>
                  </a:lnTo>
                  <a:lnTo>
                    <a:pt x="245" y="118"/>
                  </a:lnTo>
                  <a:lnTo>
                    <a:pt x="241" y="119"/>
                  </a:lnTo>
                  <a:lnTo>
                    <a:pt x="237" y="122"/>
                  </a:lnTo>
                  <a:lnTo>
                    <a:pt x="236" y="123"/>
                  </a:lnTo>
                  <a:lnTo>
                    <a:pt x="231" y="127"/>
                  </a:lnTo>
                  <a:lnTo>
                    <a:pt x="231" y="130"/>
                  </a:lnTo>
                  <a:lnTo>
                    <a:pt x="229" y="130"/>
                  </a:lnTo>
                  <a:lnTo>
                    <a:pt x="225" y="128"/>
                  </a:lnTo>
                  <a:lnTo>
                    <a:pt x="222" y="127"/>
                  </a:lnTo>
                  <a:lnTo>
                    <a:pt x="220" y="128"/>
                  </a:lnTo>
                  <a:lnTo>
                    <a:pt x="218" y="131"/>
                  </a:lnTo>
                  <a:lnTo>
                    <a:pt x="216" y="133"/>
                  </a:lnTo>
                  <a:lnTo>
                    <a:pt x="212" y="133"/>
                  </a:lnTo>
                  <a:lnTo>
                    <a:pt x="211" y="132"/>
                  </a:lnTo>
                  <a:lnTo>
                    <a:pt x="208" y="133"/>
                  </a:lnTo>
                  <a:lnTo>
                    <a:pt x="205" y="139"/>
                  </a:lnTo>
                  <a:lnTo>
                    <a:pt x="202" y="140"/>
                  </a:lnTo>
                  <a:lnTo>
                    <a:pt x="198" y="141"/>
                  </a:lnTo>
                  <a:lnTo>
                    <a:pt x="195" y="140"/>
                  </a:lnTo>
                  <a:lnTo>
                    <a:pt x="192" y="132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2" y="119"/>
                  </a:lnTo>
                  <a:lnTo>
                    <a:pt x="186" y="118"/>
                  </a:lnTo>
                  <a:lnTo>
                    <a:pt x="190" y="116"/>
                  </a:lnTo>
                  <a:lnTo>
                    <a:pt x="189" y="112"/>
                  </a:lnTo>
                  <a:lnTo>
                    <a:pt x="186" y="113"/>
                  </a:lnTo>
                  <a:lnTo>
                    <a:pt x="181" y="113"/>
                  </a:lnTo>
                  <a:lnTo>
                    <a:pt x="179" y="114"/>
                  </a:lnTo>
                  <a:lnTo>
                    <a:pt x="178" y="111"/>
                  </a:lnTo>
                  <a:lnTo>
                    <a:pt x="179" y="110"/>
                  </a:lnTo>
                  <a:lnTo>
                    <a:pt x="180" y="107"/>
                  </a:lnTo>
                  <a:lnTo>
                    <a:pt x="181" y="107"/>
                  </a:lnTo>
                  <a:lnTo>
                    <a:pt x="182" y="105"/>
                  </a:lnTo>
                  <a:lnTo>
                    <a:pt x="185" y="100"/>
                  </a:lnTo>
                  <a:lnTo>
                    <a:pt x="190" y="98"/>
                  </a:lnTo>
                  <a:lnTo>
                    <a:pt x="194" y="94"/>
                  </a:lnTo>
                  <a:lnTo>
                    <a:pt x="185" y="95"/>
                  </a:lnTo>
                  <a:lnTo>
                    <a:pt x="184" y="92"/>
                  </a:lnTo>
                  <a:lnTo>
                    <a:pt x="183" y="80"/>
                  </a:lnTo>
                  <a:lnTo>
                    <a:pt x="182" y="79"/>
                  </a:lnTo>
                  <a:lnTo>
                    <a:pt x="177" y="74"/>
                  </a:lnTo>
                  <a:lnTo>
                    <a:pt x="179" y="73"/>
                  </a:lnTo>
                  <a:lnTo>
                    <a:pt x="180" y="70"/>
                  </a:lnTo>
                  <a:lnTo>
                    <a:pt x="180" y="69"/>
                  </a:lnTo>
                  <a:lnTo>
                    <a:pt x="181" y="68"/>
                  </a:lnTo>
                  <a:lnTo>
                    <a:pt x="182" y="69"/>
                  </a:lnTo>
                  <a:lnTo>
                    <a:pt x="186" y="67"/>
                  </a:lnTo>
                  <a:lnTo>
                    <a:pt x="187" y="68"/>
                  </a:lnTo>
                  <a:lnTo>
                    <a:pt x="188" y="68"/>
                  </a:lnTo>
                  <a:lnTo>
                    <a:pt x="191" y="70"/>
                  </a:lnTo>
                  <a:lnTo>
                    <a:pt x="190" y="71"/>
                  </a:lnTo>
                  <a:lnTo>
                    <a:pt x="191" y="72"/>
                  </a:lnTo>
                  <a:lnTo>
                    <a:pt x="194" y="70"/>
                  </a:lnTo>
                  <a:lnTo>
                    <a:pt x="194" y="69"/>
                  </a:lnTo>
                  <a:lnTo>
                    <a:pt x="193" y="63"/>
                  </a:lnTo>
                  <a:lnTo>
                    <a:pt x="199" y="61"/>
                  </a:lnTo>
                  <a:lnTo>
                    <a:pt x="190" y="55"/>
                  </a:lnTo>
                  <a:lnTo>
                    <a:pt x="186" y="53"/>
                  </a:lnTo>
                  <a:lnTo>
                    <a:pt x="181" y="46"/>
                  </a:lnTo>
                  <a:lnTo>
                    <a:pt x="177" y="46"/>
                  </a:lnTo>
                  <a:lnTo>
                    <a:pt x="174" y="47"/>
                  </a:lnTo>
                  <a:lnTo>
                    <a:pt x="170" y="39"/>
                  </a:lnTo>
                  <a:lnTo>
                    <a:pt x="169" y="40"/>
                  </a:lnTo>
                  <a:lnTo>
                    <a:pt x="164" y="41"/>
                  </a:lnTo>
                  <a:lnTo>
                    <a:pt x="163" y="44"/>
                  </a:lnTo>
                  <a:lnTo>
                    <a:pt x="160" y="43"/>
                  </a:lnTo>
                  <a:lnTo>
                    <a:pt x="160" y="35"/>
                  </a:lnTo>
                  <a:lnTo>
                    <a:pt x="155" y="35"/>
                  </a:lnTo>
                  <a:lnTo>
                    <a:pt x="153" y="36"/>
                  </a:lnTo>
                  <a:lnTo>
                    <a:pt x="150" y="37"/>
                  </a:lnTo>
                  <a:lnTo>
                    <a:pt x="147" y="36"/>
                  </a:lnTo>
                  <a:lnTo>
                    <a:pt x="143" y="39"/>
                  </a:lnTo>
                  <a:lnTo>
                    <a:pt x="138" y="41"/>
                  </a:lnTo>
                  <a:lnTo>
                    <a:pt x="132" y="41"/>
                  </a:lnTo>
                  <a:lnTo>
                    <a:pt x="127" y="40"/>
                  </a:lnTo>
                  <a:lnTo>
                    <a:pt x="123" y="40"/>
                  </a:lnTo>
                  <a:lnTo>
                    <a:pt x="122" y="38"/>
                  </a:lnTo>
                  <a:lnTo>
                    <a:pt x="123" y="36"/>
                  </a:lnTo>
                  <a:lnTo>
                    <a:pt x="124" y="34"/>
                  </a:lnTo>
                  <a:lnTo>
                    <a:pt x="125" y="29"/>
                  </a:lnTo>
                  <a:lnTo>
                    <a:pt x="126" y="22"/>
                  </a:lnTo>
                  <a:lnTo>
                    <a:pt x="130" y="18"/>
                  </a:lnTo>
                  <a:lnTo>
                    <a:pt x="132" y="12"/>
                  </a:lnTo>
                  <a:lnTo>
                    <a:pt x="134" y="5"/>
                  </a:lnTo>
                  <a:lnTo>
                    <a:pt x="132" y="4"/>
                  </a:lnTo>
                  <a:lnTo>
                    <a:pt x="130" y="5"/>
                  </a:lnTo>
                  <a:lnTo>
                    <a:pt x="126" y="4"/>
                  </a:lnTo>
                  <a:lnTo>
                    <a:pt x="125" y="6"/>
                  </a:lnTo>
                  <a:lnTo>
                    <a:pt x="111" y="0"/>
                  </a:lnTo>
                  <a:lnTo>
                    <a:pt x="104" y="14"/>
                  </a:lnTo>
                  <a:lnTo>
                    <a:pt x="91" y="38"/>
                  </a:lnTo>
                  <a:lnTo>
                    <a:pt x="84" y="50"/>
                  </a:lnTo>
                  <a:lnTo>
                    <a:pt x="71" y="68"/>
                  </a:lnTo>
                  <a:lnTo>
                    <a:pt x="68" y="71"/>
                  </a:lnTo>
                  <a:lnTo>
                    <a:pt x="57" y="82"/>
                  </a:lnTo>
                  <a:lnTo>
                    <a:pt x="54" y="86"/>
                  </a:lnTo>
                  <a:lnTo>
                    <a:pt x="44" y="98"/>
                  </a:lnTo>
                  <a:lnTo>
                    <a:pt x="43" y="99"/>
                  </a:lnTo>
                  <a:lnTo>
                    <a:pt x="34" y="109"/>
                  </a:lnTo>
                  <a:lnTo>
                    <a:pt x="28" y="117"/>
                  </a:lnTo>
                  <a:lnTo>
                    <a:pt x="20" y="123"/>
                  </a:lnTo>
                  <a:lnTo>
                    <a:pt x="6" y="122"/>
                  </a:lnTo>
                  <a:lnTo>
                    <a:pt x="4" y="122"/>
                  </a:lnTo>
                  <a:lnTo>
                    <a:pt x="3" y="124"/>
                  </a:lnTo>
                  <a:lnTo>
                    <a:pt x="0" y="129"/>
                  </a:lnTo>
                  <a:lnTo>
                    <a:pt x="1" y="131"/>
                  </a:lnTo>
                  <a:lnTo>
                    <a:pt x="4" y="134"/>
                  </a:lnTo>
                  <a:lnTo>
                    <a:pt x="4" y="137"/>
                  </a:lnTo>
                  <a:lnTo>
                    <a:pt x="5" y="143"/>
                  </a:lnTo>
                  <a:lnTo>
                    <a:pt x="5" y="144"/>
                  </a:lnTo>
                  <a:lnTo>
                    <a:pt x="5" y="145"/>
                  </a:lnTo>
                  <a:lnTo>
                    <a:pt x="7" y="148"/>
                  </a:lnTo>
                  <a:lnTo>
                    <a:pt x="8" y="145"/>
                  </a:lnTo>
                  <a:lnTo>
                    <a:pt x="11" y="148"/>
                  </a:lnTo>
                  <a:lnTo>
                    <a:pt x="5" y="158"/>
                  </a:lnTo>
                  <a:lnTo>
                    <a:pt x="12" y="169"/>
                  </a:lnTo>
                  <a:lnTo>
                    <a:pt x="13" y="171"/>
                  </a:lnTo>
                  <a:lnTo>
                    <a:pt x="12" y="174"/>
                  </a:lnTo>
                  <a:lnTo>
                    <a:pt x="10" y="177"/>
                  </a:lnTo>
                  <a:lnTo>
                    <a:pt x="11" y="178"/>
                  </a:lnTo>
                  <a:lnTo>
                    <a:pt x="13" y="176"/>
                  </a:lnTo>
                  <a:lnTo>
                    <a:pt x="15" y="175"/>
                  </a:lnTo>
                  <a:lnTo>
                    <a:pt x="18" y="179"/>
                  </a:lnTo>
                  <a:lnTo>
                    <a:pt x="22" y="180"/>
                  </a:lnTo>
                  <a:lnTo>
                    <a:pt x="24" y="182"/>
                  </a:lnTo>
                  <a:lnTo>
                    <a:pt x="25" y="181"/>
                  </a:lnTo>
                  <a:lnTo>
                    <a:pt x="26" y="181"/>
                  </a:lnTo>
                  <a:lnTo>
                    <a:pt x="26" y="182"/>
                  </a:lnTo>
                  <a:lnTo>
                    <a:pt x="26" y="183"/>
                  </a:lnTo>
                  <a:lnTo>
                    <a:pt x="28" y="182"/>
                  </a:lnTo>
                  <a:lnTo>
                    <a:pt x="32" y="182"/>
                  </a:lnTo>
                  <a:lnTo>
                    <a:pt x="33" y="183"/>
                  </a:lnTo>
                  <a:lnTo>
                    <a:pt x="39" y="188"/>
                  </a:lnTo>
                  <a:lnTo>
                    <a:pt x="44" y="190"/>
                  </a:lnTo>
                  <a:lnTo>
                    <a:pt x="47" y="193"/>
                  </a:lnTo>
                  <a:lnTo>
                    <a:pt x="48" y="194"/>
                  </a:lnTo>
                  <a:lnTo>
                    <a:pt x="52" y="196"/>
                  </a:lnTo>
                  <a:lnTo>
                    <a:pt x="52" y="197"/>
                  </a:lnTo>
                  <a:lnTo>
                    <a:pt x="51" y="197"/>
                  </a:lnTo>
                  <a:lnTo>
                    <a:pt x="50" y="197"/>
                  </a:lnTo>
                  <a:lnTo>
                    <a:pt x="53" y="202"/>
                  </a:lnTo>
                  <a:lnTo>
                    <a:pt x="54" y="203"/>
                  </a:lnTo>
                  <a:lnTo>
                    <a:pt x="63" y="205"/>
                  </a:lnTo>
                  <a:lnTo>
                    <a:pt x="70" y="208"/>
                  </a:lnTo>
                  <a:lnTo>
                    <a:pt x="71" y="209"/>
                  </a:lnTo>
                  <a:lnTo>
                    <a:pt x="89" y="219"/>
                  </a:lnTo>
                  <a:lnTo>
                    <a:pt x="93" y="220"/>
                  </a:lnTo>
                  <a:lnTo>
                    <a:pt x="97" y="221"/>
                  </a:lnTo>
                  <a:lnTo>
                    <a:pt x="104" y="223"/>
                  </a:lnTo>
                  <a:lnTo>
                    <a:pt x="114" y="227"/>
                  </a:lnTo>
                  <a:lnTo>
                    <a:pt x="118" y="227"/>
                  </a:lnTo>
                  <a:lnTo>
                    <a:pt x="134" y="221"/>
                  </a:lnTo>
                  <a:lnTo>
                    <a:pt x="136" y="219"/>
                  </a:lnTo>
                  <a:lnTo>
                    <a:pt x="138" y="216"/>
                  </a:lnTo>
                  <a:lnTo>
                    <a:pt x="139" y="217"/>
                  </a:lnTo>
                  <a:lnTo>
                    <a:pt x="138" y="219"/>
                  </a:lnTo>
                  <a:lnTo>
                    <a:pt x="139" y="220"/>
                  </a:lnTo>
                  <a:lnTo>
                    <a:pt x="141" y="219"/>
                  </a:lnTo>
                  <a:lnTo>
                    <a:pt x="143" y="217"/>
                  </a:lnTo>
                  <a:lnTo>
                    <a:pt x="143" y="215"/>
                  </a:lnTo>
                  <a:lnTo>
                    <a:pt x="146" y="210"/>
                  </a:lnTo>
                  <a:lnTo>
                    <a:pt x="148" y="208"/>
                  </a:lnTo>
                  <a:lnTo>
                    <a:pt x="151" y="206"/>
                  </a:lnTo>
                  <a:lnTo>
                    <a:pt x="152" y="208"/>
                  </a:lnTo>
                  <a:lnTo>
                    <a:pt x="150" y="209"/>
                  </a:lnTo>
                  <a:lnTo>
                    <a:pt x="149" y="211"/>
                  </a:lnTo>
                  <a:lnTo>
                    <a:pt x="149" y="212"/>
                  </a:lnTo>
                  <a:lnTo>
                    <a:pt x="151" y="212"/>
                  </a:lnTo>
                  <a:lnTo>
                    <a:pt x="152" y="214"/>
                  </a:lnTo>
                  <a:lnTo>
                    <a:pt x="154" y="214"/>
                  </a:lnTo>
                  <a:lnTo>
                    <a:pt x="158" y="212"/>
                  </a:lnTo>
                  <a:lnTo>
                    <a:pt x="159" y="212"/>
                  </a:lnTo>
                  <a:lnTo>
                    <a:pt x="162" y="210"/>
                  </a:lnTo>
                  <a:lnTo>
                    <a:pt x="164" y="208"/>
                  </a:lnTo>
                  <a:lnTo>
                    <a:pt x="166" y="204"/>
                  </a:lnTo>
                  <a:lnTo>
                    <a:pt x="167" y="197"/>
                  </a:lnTo>
                  <a:lnTo>
                    <a:pt x="170" y="195"/>
                  </a:lnTo>
                  <a:lnTo>
                    <a:pt x="172" y="193"/>
                  </a:lnTo>
                  <a:lnTo>
                    <a:pt x="174" y="193"/>
                  </a:lnTo>
                  <a:lnTo>
                    <a:pt x="179" y="191"/>
                  </a:lnTo>
                  <a:lnTo>
                    <a:pt x="185" y="192"/>
                  </a:lnTo>
                  <a:lnTo>
                    <a:pt x="189" y="191"/>
                  </a:lnTo>
                  <a:lnTo>
                    <a:pt x="192" y="189"/>
                  </a:lnTo>
                  <a:lnTo>
                    <a:pt x="195" y="186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202" y="182"/>
                  </a:lnTo>
                  <a:lnTo>
                    <a:pt x="207" y="181"/>
                  </a:lnTo>
                  <a:lnTo>
                    <a:pt x="211" y="182"/>
                  </a:lnTo>
                  <a:lnTo>
                    <a:pt x="221" y="184"/>
                  </a:lnTo>
                  <a:lnTo>
                    <a:pt x="224" y="187"/>
                  </a:lnTo>
                  <a:lnTo>
                    <a:pt x="233" y="193"/>
                  </a:lnTo>
                  <a:lnTo>
                    <a:pt x="236" y="198"/>
                  </a:lnTo>
                  <a:lnTo>
                    <a:pt x="237" y="199"/>
                  </a:lnTo>
                  <a:lnTo>
                    <a:pt x="243" y="196"/>
                  </a:lnTo>
                  <a:lnTo>
                    <a:pt x="244" y="197"/>
                  </a:lnTo>
                  <a:lnTo>
                    <a:pt x="249" y="193"/>
                  </a:lnTo>
                  <a:lnTo>
                    <a:pt x="256" y="189"/>
                  </a:lnTo>
                  <a:lnTo>
                    <a:pt x="260" y="188"/>
                  </a:lnTo>
                  <a:lnTo>
                    <a:pt x="263" y="186"/>
                  </a:lnTo>
                  <a:lnTo>
                    <a:pt x="267" y="186"/>
                  </a:lnTo>
                  <a:lnTo>
                    <a:pt x="269" y="186"/>
                  </a:lnTo>
                  <a:lnTo>
                    <a:pt x="270" y="186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89" name="Freeform 63"/>
            <p:cNvSpPr>
              <a:spLocks/>
            </p:cNvSpPr>
            <p:nvPr/>
          </p:nvSpPr>
          <p:spPr bwMode="auto">
            <a:xfrm>
              <a:off x="704" y="1556"/>
              <a:ext cx="86" cy="132"/>
            </a:xfrm>
            <a:custGeom>
              <a:avLst/>
              <a:gdLst>
                <a:gd name="T0" fmla="*/ 1414245 w 44"/>
                <a:gd name="T1" fmla="*/ 16479287 h 71"/>
                <a:gd name="T2" fmla="*/ 2764206 w 44"/>
                <a:gd name="T3" fmla="*/ 17233723 h 71"/>
                <a:gd name="T4" fmla="*/ 3991934 w 44"/>
                <a:gd name="T5" fmla="*/ 17233723 h 71"/>
                <a:gd name="T6" fmla="*/ 4715499 w 44"/>
                <a:gd name="T7" fmla="*/ 17052773 h 71"/>
                <a:gd name="T8" fmla="*/ 5402766 w 44"/>
                <a:gd name="T9" fmla="*/ 16745764 h 71"/>
                <a:gd name="T10" fmla="*/ 6754733 w 44"/>
                <a:gd name="T11" fmla="*/ 17052773 h 71"/>
                <a:gd name="T12" fmla="*/ 6754733 w 44"/>
                <a:gd name="T13" fmla="*/ 16745764 h 71"/>
                <a:gd name="T14" fmla="*/ 7802416 w 44"/>
                <a:gd name="T15" fmla="*/ 16479287 h 71"/>
                <a:gd name="T16" fmla="*/ 8512208 w 44"/>
                <a:gd name="T17" fmla="*/ 16314497 h 71"/>
                <a:gd name="T18" fmla="*/ 9841402 w 44"/>
                <a:gd name="T19" fmla="*/ 16314497 h 71"/>
                <a:gd name="T20" fmla="*/ 9216657 w 44"/>
                <a:gd name="T21" fmla="*/ 16314497 h 71"/>
                <a:gd name="T22" fmla="*/ 7447764 w 44"/>
                <a:gd name="T23" fmla="*/ 15833069 h 71"/>
                <a:gd name="T24" fmla="*/ 6754733 w 44"/>
                <a:gd name="T25" fmla="*/ 15340417 h 71"/>
                <a:gd name="T26" fmla="*/ 6754733 w 44"/>
                <a:gd name="T27" fmla="*/ 15340417 h 71"/>
                <a:gd name="T28" fmla="*/ 7447764 w 44"/>
                <a:gd name="T29" fmla="*/ 15340417 h 71"/>
                <a:gd name="T30" fmla="*/ 8512208 w 44"/>
                <a:gd name="T31" fmla="*/ 15340417 h 71"/>
                <a:gd name="T32" fmla="*/ 9841402 w 44"/>
                <a:gd name="T33" fmla="*/ 15560935 h 71"/>
                <a:gd name="T34" fmla="*/ 11258156 w 44"/>
                <a:gd name="T35" fmla="*/ 16132954 h 71"/>
                <a:gd name="T36" fmla="*/ 11794259 w 44"/>
                <a:gd name="T37" fmla="*/ 16132954 h 71"/>
                <a:gd name="T38" fmla="*/ 12514609 w 44"/>
                <a:gd name="T39" fmla="*/ 15833069 h 71"/>
                <a:gd name="T40" fmla="*/ 13202433 w 44"/>
                <a:gd name="T41" fmla="*/ 15560935 h 71"/>
                <a:gd name="T42" fmla="*/ 12514609 w 44"/>
                <a:gd name="T43" fmla="*/ 15560935 h 71"/>
                <a:gd name="T44" fmla="*/ 12514609 w 44"/>
                <a:gd name="T45" fmla="*/ 15340417 h 71"/>
                <a:gd name="T46" fmla="*/ 16637497 w 44"/>
                <a:gd name="T47" fmla="*/ 13583904 h 71"/>
                <a:gd name="T48" fmla="*/ 19965559 w 44"/>
                <a:gd name="T49" fmla="*/ 13369254 h 71"/>
                <a:gd name="T50" fmla="*/ 21284470 w 44"/>
                <a:gd name="T51" fmla="*/ 12690361 h 71"/>
                <a:gd name="T52" fmla="*/ 23762384 w 44"/>
                <a:gd name="T53" fmla="*/ 11402965 h 71"/>
                <a:gd name="T54" fmla="*/ 23762384 w 44"/>
                <a:gd name="T55" fmla="*/ 11239478 h 71"/>
                <a:gd name="T56" fmla="*/ 24460372 w 44"/>
                <a:gd name="T57" fmla="*/ 10483765 h 71"/>
                <a:gd name="T58" fmla="*/ 25804755 w 44"/>
                <a:gd name="T59" fmla="*/ 9741648 h 71"/>
                <a:gd name="T60" fmla="*/ 26364142 w 44"/>
                <a:gd name="T61" fmla="*/ 9741648 h 71"/>
                <a:gd name="T62" fmla="*/ 27764783 w 44"/>
                <a:gd name="T63" fmla="*/ 9269654 h 71"/>
                <a:gd name="T64" fmla="*/ 27764783 w 44"/>
                <a:gd name="T65" fmla="*/ 9007191 h 71"/>
                <a:gd name="T66" fmla="*/ 27764783 w 44"/>
                <a:gd name="T67" fmla="*/ 8516272 h 71"/>
                <a:gd name="T68" fmla="*/ 28452305 w 44"/>
                <a:gd name="T69" fmla="*/ 7306494 h 71"/>
                <a:gd name="T70" fmla="*/ 27764783 w 44"/>
                <a:gd name="T71" fmla="*/ 5151912 h 71"/>
                <a:gd name="T72" fmla="*/ 28452305 w 44"/>
                <a:gd name="T73" fmla="*/ 4844777 h 71"/>
                <a:gd name="T74" fmla="*/ 29083597 w 44"/>
                <a:gd name="T75" fmla="*/ 4580722 h 71"/>
                <a:gd name="T76" fmla="*/ 29083597 w 44"/>
                <a:gd name="T77" fmla="*/ 4273426 h 71"/>
                <a:gd name="T78" fmla="*/ 26364142 w 44"/>
                <a:gd name="T79" fmla="*/ 2244164 h 71"/>
                <a:gd name="T80" fmla="*/ 25091462 w 44"/>
                <a:gd name="T81" fmla="*/ 2244164 h 71"/>
                <a:gd name="T82" fmla="*/ 25091462 w 44"/>
                <a:gd name="T83" fmla="*/ 1708972 h 71"/>
                <a:gd name="T84" fmla="*/ 24460372 w 44"/>
                <a:gd name="T85" fmla="*/ 919220 h 71"/>
                <a:gd name="T86" fmla="*/ 23052415 w 44"/>
                <a:gd name="T87" fmla="*/ 265943 h 71"/>
                <a:gd name="T88" fmla="*/ 22004578 w 44"/>
                <a:gd name="T89" fmla="*/ 0 h 71"/>
                <a:gd name="T90" fmla="*/ 19965559 w 44"/>
                <a:gd name="T91" fmla="*/ 494429 h 71"/>
                <a:gd name="T92" fmla="*/ 18014375 w 44"/>
                <a:gd name="T93" fmla="*/ 1207088 h 71"/>
                <a:gd name="T94" fmla="*/ 6034272 w 44"/>
                <a:gd name="T95" fmla="*/ 7944961 h 71"/>
                <a:gd name="T96" fmla="*/ 1414245 w 44"/>
                <a:gd name="T97" fmla="*/ 11402965 h 71"/>
                <a:gd name="T98" fmla="*/ 723567 w 44"/>
                <a:gd name="T99" fmla="*/ 12472338 h 71"/>
                <a:gd name="T100" fmla="*/ 0 w 44"/>
                <a:gd name="T101" fmla="*/ 13583904 h 71"/>
                <a:gd name="T102" fmla="*/ 0 w 44"/>
                <a:gd name="T103" fmla="*/ 15078144 h 71"/>
                <a:gd name="T104" fmla="*/ 723567 w 44"/>
                <a:gd name="T105" fmla="*/ 15833069 h 71"/>
                <a:gd name="T106" fmla="*/ 1414245 w 44"/>
                <a:gd name="T107" fmla="*/ 16479287 h 7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44" h="71">
                  <a:moveTo>
                    <a:pt x="2" y="68"/>
                  </a:moveTo>
                  <a:lnTo>
                    <a:pt x="4" y="71"/>
                  </a:lnTo>
                  <a:lnTo>
                    <a:pt x="6" y="71"/>
                  </a:lnTo>
                  <a:lnTo>
                    <a:pt x="7" y="70"/>
                  </a:lnTo>
                  <a:lnTo>
                    <a:pt x="8" y="69"/>
                  </a:lnTo>
                  <a:lnTo>
                    <a:pt x="10" y="70"/>
                  </a:lnTo>
                  <a:lnTo>
                    <a:pt x="10" y="69"/>
                  </a:lnTo>
                  <a:lnTo>
                    <a:pt x="12" y="68"/>
                  </a:lnTo>
                  <a:lnTo>
                    <a:pt x="13" y="67"/>
                  </a:lnTo>
                  <a:lnTo>
                    <a:pt x="15" y="67"/>
                  </a:lnTo>
                  <a:lnTo>
                    <a:pt x="14" y="67"/>
                  </a:lnTo>
                  <a:lnTo>
                    <a:pt x="11" y="65"/>
                  </a:lnTo>
                  <a:lnTo>
                    <a:pt x="10" y="63"/>
                  </a:lnTo>
                  <a:lnTo>
                    <a:pt x="11" y="63"/>
                  </a:lnTo>
                  <a:lnTo>
                    <a:pt x="13" y="63"/>
                  </a:lnTo>
                  <a:lnTo>
                    <a:pt x="15" y="64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9" y="65"/>
                  </a:lnTo>
                  <a:lnTo>
                    <a:pt x="20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25" y="56"/>
                  </a:lnTo>
                  <a:lnTo>
                    <a:pt x="30" y="55"/>
                  </a:lnTo>
                  <a:lnTo>
                    <a:pt x="32" y="52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7" y="43"/>
                  </a:lnTo>
                  <a:lnTo>
                    <a:pt x="39" y="40"/>
                  </a:lnTo>
                  <a:lnTo>
                    <a:pt x="40" y="40"/>
                  </a:lnTo>
                  <a:lnTo>
                    <a:pt x="42" y="38"/>
                  </a:lnTo>
                  <a:lnTo>
                    <a:pt x="42" y="37"/>
                  </a:lnTo>
                  <a:lnTo>
                    <a:pt x="42" y="35"/>
                  </a:lnTo>
                  <a:lnTo>
                    <a:pt x="43" y="30"/>
                  </a:lnTo>
                  <a:lnTo>
                    <a:pt x="42" y="21"/>
                  </a:lnTo>
                  <a:lnTo>
                    <a:pt x="43" y="20"/>
                  </a:lnTo>
                  <a:lnTo>
                    <a:pt x="44" y="19"/>
                  </a:lnTo>
                  <a:lnTo>
                    <a:pt x="44" y="18"/>
                  </a:lnTo>
                  <a:lnTo>
                    <a:pt x="40" y="9"/>
                  </a:lnTo>
                  <a:lnTo>
                    <a:pt x="38" y="9"/>
                  </a:lnTo>
                  <a:lnTo>
                    <a:pt x="38" y="7"/>
                  </a:lnTo>
                  <a:lnTo>
                    <a:pt x="37" y="4"/>
                  </a:lnTo>
                  <a:lnTo>
                    <a:pt x="35" y="1"/>
                  </a:lnTo>
                  <a:lnTo>
                    <a:pt x="33" y="0"/>
                  </a:lnTo>
                  <a:lnTo>
                    <a:pt x="30" y="2"/>
                  </a:lnTo>
                  <a:lnTo>
                    <a:pt x="27" y="5"/>
                  </a:lnTo>
                  <a:lnTo>
                    <a:pt x="9" y="33"/>
                  </a:lnTo>
                  <a:lnTo>
                    <a:pt x="2" y="47"/>
                  </a:lnTo>
                  <a:lnTo>
                    <a:pt x="1" y="51"/>
                  </a:lnTo>
                  <a:lnTo>
                    <a:pt x="0" y="56"/>
                  </a:lnTo>
                  <a:lnTo>
                    <a:pt x="0" y="62"/>
                  </a:lnTo>
                  <a:lnTo>
                    <a:pt x="1" y="65"/>
                  </a:lnTo>
                  <a:lnTo>
                    <a:pt x="2" y="68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0" name="Freeform 64"/>
            <p:cNvSpPr>
              <a:spLocks/>
            </p:cNvSpPr>
            <p:nvPr/>
          </p:nvSpPr>
          <p:spPr bwMode="auto">
            <a:xfrm>
              <a:off x="770" y="1472"/>
              <a:ext cx="106" cy="63"/>
            </a:xfrm>
            <a:custGeom>
              <a:avLst/>
              <a:gdLst>
                <a:gd name="T0" fmla="*/ 2974391 w 54"/>
                <a:gd name="T1" fmla="*/ 7761133 h 34"/>
                <a:gd name="T2" fmla="*/ 3731404 w 54"/>
                <a:gd name="T3" fmla="*/ 7476377 h 34"/>
                <a:gd name="T4" fmla="*/ 8789014 w 54"/>
                <a:gd name="T5" fmla="*/ 7761133 h 34"/>
                <a:gd name="T6" fmla="*/ 9533726 w 54"/>
                <a:gd name="T7" fmla="*/ 7761133 h 34"/>
                <a:gd name="T8" fmla="*/ 10696091 w 54"/>
                <a:gd name="T9" fmla="*/ 7220940 h 34"/>
                <a:gd name="T10" fmla="*/ 11460993 w 54"/>
                <a:gd name="T11" fmla="*/ 6367197 h 34"/>
                <a:gd name="T12" fmla="*/ 13670535 w 54"/>
                <a:gd name="T13" fmla="*/ 5909893 h 34"/>
                <a:gd name="T14" fmla="*/ 15739920 w 54"/>
                <a:gd name="T15" fmla="*/ 5658063 h 34"/>
                <a:gd name="T16" fmla="*/ 19434951 w 54"/>
                <a:gd name="T17" fmla="*/ 5045424 h 34"/>
                <a:gd name="T18" fmla="*/ 19434951 w 54"/>
                <a:gd name="T19" fmla="*/ 4753474 h 34"/>
                <a:gd name="T20" fmla="*/ 18714351 w 54"/>
                <a:gd name="T21" fmla="*/ 4572195 h 34"/>
                <a:gd name="T22" fmla="*/ 17919335 w 54"/>
                <a:gd name="T23" fmla="*/ 3436265 h 34"/>
                <a:gd name="T24" fmla="*/ 24685869 w 54"/>
                <a:gd name="T25" fmla="*/ 2467534 h 34"/>
                <a:gd name="T26" fmla="*/ 28223352 w 54"/>
                <a:gd name="T27" fmla="*/ 2467534 h 34"/>
                <a:gd name="T28" fmla="*/ 33866036 w 54"/>
                <a:gd name="T29" fmla="*/ 856974 h 34"/>
                <a:gd name="T30" fmla="*/ 37455974 w 54"/>
                <a:gd name="T31" fmla="*/ 1135034 h 34"/>
                <a:gd name="T32" fmla="*/ 38150089 w 54"/>
                <a:gd name="T33" fmla="*/ 856974 h 34"/>
                <a:gd name="T34" fmla="*/ 38922953 w 54"/>
                <a:gd name="T35" fmla="*/ 718687 h 34"/>
                <a:gd name="T36" fmla="*/ 38922953 w 54"/>
                <a:gd name="T37" fmla="*/ 462494 h 34"/>
                <a:gd name="T38" fmla="*/ 37455974 w 54"/>
                <a:gd name="T39" fmla="*/ 0 h 34"/>
                <a:gd name="T40" fmla="*/ 35967052 w 54"/>
                <a:gd name="T41" fmla="*/ 0 h 34"/>
                <a:gd name="T42" fmla="*/ 33866036 w 54"/>
                <a:gd name="T43" fmla="*/ 0 h 34"/>
                <a:gd name="T44" fmla="*/ 32412158 w 54"/>
                <a:gd name="T45" fmla="*/ 0 h 34"/>
                <a:gd name="T46" fmla="*/ 26045564 w 54"/>
                <a:gd name="T47" fmla="*/ 856974 h 34"/>
                <a:gd name="T48" fmla="*/ 18714351 w 54"/>
                <a:gd name="T49" fmla="*/ 2312450 h 34"/>
                <a:gd name="T50" fmla="*/ 14983141 w 54"/>
                <a:gd name="T51" fmla="*/ 3189466 h 34"/>
                <a:gd name="T52" fmla="*/ 14377934 w 54"/>
                <a:gd name="T53" fmla="*/ 3730030 h 34"/>
                <a:gd name="T54" fmla="*/ 11460993 w 54"/>
                <a:gd name="T55" fmla="*/ 4572195 h 34"/>
                <a:gd name="T56" fmla="*/ 4477422 w 54"/>
                <a:gd name="T57" fmla="*/ 6159036 h 34"/>
                <a:gd name="T58" fmla="*/ 2280951 w 54"/>
                <a:gd name="T59" fmla="*/ 6367197 h 34"/>
                <a:gd name="T60" fmla="*/ 0 w 54"/>
                <a:gd name="T61" fmla="*/ 6911526 h 34"/>
                <a:gd name="T62" fmla="*/ 0 w 54"/>
                <a:gd name="T63" fmla="*/ 7220940 h 34"/>
                <a:gd name="T64" fmla="*/ 1515256 w 54"/>
                <a:gd name="T65" fmla="*/ 7761133 h 34"/>
                <a:gd name="T66" fmla="*/ 2974391 w 54"/>
                <a:gd name="T67" fmla="*/ 7761133 h 3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54" h="34">
                  <a:moveTo>
                    <a:pt x="4" y="34"/>
                  </a:moveTo>
                  <a:lnTo>
                    <a:pt x="5" y="33"/>
                  </a:lnTo>
                  <a:lnTo>
                    <a:pt x="12" y="34"/>
                  </a:lnTo>
                  <a:lnTo>
                    <a:pt x="13" y="34"/>
                  </a:lnTo>
                  <a:lnTo>
                    <a:pt x="15" y="32"/>
                  </a:lnTo>
                  <a:lnTo>
                    <a:pt x="16" y="28"/>
                  </a:lnTo>
                  <a:lnTo>
                    <a:pt x="19" y="26"/>
                  </a:lnTo>
                  <a:lnTo>
                    <a:pt x="22" y="25"/>
                  </a:lnTo>
                  <a:lnTo>
                    <a:pt x="27" y="22"/>
                  </a:lnTo>
                  <a:lnTo>
                    <a:pt x="27" y="21"/>
                  </a:lnTo>
                  <a:lnTo>
                    <a:pt x="26" y="20"/>
                  </a:lnTo>
                  <a:lnTo>
                    <a:pt x="25" y="15"/>
                  </a:lnTo>
                  <a:lnTo>
                    <a:pt x="34" y="11"/>
                  </a:lnTo>
                  <a:lnTo>
                    <a:pt x="39" y="11"/>
                  </a:lnTo>
                  <a:lnTo>
                    <a:pt x="47" y="4"/>
                  </a:lnTo>
                  <a:lnTo>
                    <a:pt x="52" y="5"/>
                  </a:lnTo>
                  <a:lnTo>
                    <a:pt x="53" y="4"/>
                  </a:lnTo>
                  <a:lnTo>
                    <a:pt x="54" y="3"/>
                  </a:lnTo>
                  <a:lnTo>
                    <a:pt x="54" y="2"/>
                  </a:lnTo>
                  <a:lnTo>
                    <a:pt x="52" y="0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5" y="0"/>
                  </a:lnTo>
                  <a:lnTo>
                    <a:pt x="36" y="4"/>
                  </a:lnTo>
                  <a:lnTo>
                    <a:pt x="26" y="10"/>
                  </a:lnTo>
                  <a:lnTo>
                    <a:pt x="21" y="14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6" y="27"/>
                  </a:lnTo>
                  <a:lnTo>
                    <a:pt x="3" y="28"/>
                  </a:lnTo>
                  <a:lnTo>
                    <a:pt x="0" y="30"/>
                  </a:lnTo>
                  <a:lnTo>
                    <a:pt x="0" y="32"/>
                  </a:lnTo>
                  <a:lnTo>
                    <a:pt x="2" y="34"/>
                  </a:lnTo>
                  <a:lnTo>
                    <a:pt x="4" y="34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1" name="Freeform 65"/>
            <p:cNvSpPr>
              <a:spLocks/>
            </p:cNvSpPr>
            <p:nvPr/>
          </p:nvSpPr>
          <p:spPr bwMode="auto">
            <a:xfrm>
              <a:off x="607" y="1619"/>
              <a:ext cx="397" cy="620"/>
            </a:xfrm>
            <a:custGeom>
              <a:avLst/>
              <a:gdLst>
                <a:gd name="T0" fmla="*/ 73218648 w 204"/>
                <a:gd name="T1" fmla="*/ 78192314 h 332"/>
                <a:gd name="T2" fmla="*/ 73897946 w 204"/>
                <a:gd name="T3" fmla="*/ 78814342 h 332"/>
                <a:gd name="T4" fmla="*/ 71814634 w 204"/>
                <a:gd name="T5" fmla="*/ 80646072 h 332"/>
                <a:gd name="T6" fmla="*/ 75207614 w 204"/>
                <a:gd name="T7" fmla="*/ 82779806 h 332"/>
                <a:gd name="T8" fmla="*/ 85398431 w 204"/>
                <a:gd name="T9" fmla="*/ 85402905 h 332"/>
                <a:gd name="T10" fmla="*/ 95687517 w 204"/>
                <a:gd name="T11" fmla="*/ 85402905 h 332"/>
                <a:gd name="T12" fmla="*/ 107880739 w 204"/>
                <a:gd name="T13" fmla="*/ 77234840 h 332"/>
                <a:gd name="T14" fmla="*/ 99583101 w 204"/>
                <a:gd name="T15" fmla="*/ 75220318 h 332"/>
                <a:gd name="T16" fmla="*/ 84773494 w 204"/>
                <a:gd name="T17" fmla="*/ 73627788 h 332"/>
                <a:gd name="T18" fmla="*/ 73897946 w 204"/>
                <a:gd name="T19" fmla="*/ 72924760 h 332"/>
                <a:gd name="T20" fmla="*/ 72336467 w 204"/>
                <a:gd name="T21" fmla="*/ 72397383 h 332"/>
                <a:gd name="T22" fmla="*/ 63652508 w 204"/>
                <a:gd name="T23" fmla="*/ 69948863 h 332"/>
                <a:gd name="T24" fmla="*/ 67954031 w 204"/>
                <a:gd name="T25" fmla="*/ 68964925 h 332"/>
                <a:gd name="T26" fmla="*/ 72870125 w 204"/>
                <a:gd name="T27" fmla="*/ 67545347 h 332"/>
                <a:gd name="T28" fmla="*/ 78819491 w 204"/>
                <a:gd name="T29" fmla="*/ 63869642 h 332"/>
                <a:gd name="T30" fmla="*/ 76434513 w 204"/>
                <a:gd name="T31" fmla="*/ 63082055 h 332"/>
                <a:gd name="T32" fmla="*/ 75207614 w 204"/>
                <a:gd name="T33" fmla="*/ 60956803 h 332"/>
                <a:gd name="T34" fmla="*/ 76434513 w 204"/>
                <a:gd name="T35" fmla="*/ 59295147 h 332"/>
                <a:gd name="T36" fmla="*/ 79484927 w 204"/>
                <a:gd name="T37" fmla="*/ 55864611 h 332"/>
                <a:gd name="T38" fmla="*/ 75747614 w 204"/>
                <a:gd name="T39" fmla="*/ 53404987 h 332"/>
                <a:gd name="T40" fmla="*/ 71814634 w 204"/>
                <a:gd name="T41" fmla="*/ 47851202 h 332"/>
                <a:gd name="T42" fmla="*/ 72336467 w 204"/>
                <a:gd name="T43" fmla="*/ 44169842 h 332"/>
                <a:gd name="T44" fmla="*/ 77744154 w 204"/>
                <a:gd name="T45" fmla="*/ 44169842 h 332"/>
                <a:gd name="T46" fmla="*/ 83832332 w 204"/>
                <a:gd name="T47" fmla="*/ 44503727 h 332"/>
                <a:gd name="T48" fmla="*/ 88616149 w 204"/>
                <a:gd name="T49" fmla="*/ 45030331 h 332"/>
                <a:gd name="T50" fmla="*/ 100822568 w 204"/>
                <a:gd name="T51" fmla="*/ 42048499 h 332"/>
                <a:gd name="T52" fmla="*/ 116037861 w 204"/>
                <a:gd name="T53" fmla="*/ 40735914 h 332"/>
                <a:gd name="T54" fmla="*/ 109142611 w 204"/>
                <a:gd name="T55" fmla="*/ 38616590 h 332"/>
                <a:gd name="T56" fmla="*/ 107077129 w 204"/>
                <a:gd name="T57" fmla="*/ 37761909 h 332"/>
                <a:gd name="T58" fmla="*/ 107236239 w 204"/>
                <a:gd name="T59" fmla="*/ 34940978 h 332"/>
                <a:gd name="T60" fmla="*/ 100822568 w 204"/>
                <a:gd name="T61" fmla="*/ 33066484 h 332"/>
                <a:gd name="T62" fmla="*/ 92336708 w 204"/>
                <a:gd name="T63" fmla="*/ 34051227 h 332"/>
                <a:gd name="T64" fmla="*/ 83832332 w 204"/>
                <a:gd name="T65" fmla="*/ 30673400 h 332"/>
                <a:gd name="T66" fmla="*/ 79484927 w 204"/>
                <a:gd name="T67" fmla="*/ 18922574 h 332"/>
                <a:gd name="T68" fmla="*/ 75747614 w 204"/>
                <a:gd name="T69" fmla="*/ 15643065 h 332"/>
                <a:gd name="T70" fmla="*/ 114743242 w 204"/>
                <a:gd name="T71" fmla="*/ 1839251 h 332"/>
                <a:gd name="T72" fmla="*/ 116037861 w 204"/>
                <a:gd name="T73" fmla="*/ 852747 h 332"/>
                <a:gd name="T74" fmla="*/ 91669540 w 204"/>
                <a:gd name="T75" fmla="*/ 8860028 h 332"/>
                <a:gd name="T76" fmla="*/ 71140985 w 204"/>
                <a:gd name="T77" fmla="*/ 14937753 h 332"/>
                <a:gd name="T78" fmla="*/ 60780447 w 204"/>
                <a:gd name="T79" fmla="*/ 17762343 h 332"/>
                <a:gd name="T80" fmla="*/ 41861342 w 204"/>
                <a:gd name="T81" fmla="*/ 13801869 h 332"/>
                <a:gd name="T82" fmla="*/ 40501703 w 204"/>
                <a:gd name="T83" fmla="*/ 12816597 h 332"/>
                <a:gd name="T84" fmla="*/ 31536952 w 204"/>
                <a:gd name="T85" fmla="*/ 13801869 h 332"/>
                <a:gd name="T86" fmla="*/ 19333079 w 204"/>
                <a:gd name="T87" fmla="*/ 39929561 h 332"/>
                <a:gd name="T88" fmla="*/ 12180071 w 204"/>
                <a:gd name="T89" fmla="*/ 57702668 h 332"/>
                <a:gd name="T90" fmla="*/ 12874177 w 204"/>
                <a:gd name="T91" fmla="*/ 59295147 h 332"/>
                <a:gd name="T92" fmla="*/ 13420083 w 204"/>
                <a:gd name="T93" fmla="*/ 59821654 h 332"/>
                <a:gd name="T94" fmla="*/ 13420083 w 204"/>
                <a:gd name="T95" fmla="*/ 60956803 h 332"/>
                <a:gd name="T96" fmla="*/ 0 w 204"/>
                <a:gd name="T97" fmla="*/ 73426632 h 332"/>
                <a:gd name="T98" fmla="*/ 14091966 w 204"/>
                <a:gd name="T99" fmla="*/ 75095959 h 332"/>
                <a:gd name="T100" fmla="*/ 6615446 w 204"/>
                <a:gd name="T101" fmla="*/ 83767066 h 332"/>
                <a:gd name="T102" fmla="*/ 21838102 w 204"/>
                <a:gd name="T103" fmla="*/ 83319509 h 332"/>
                <a:gd name="T104" fmla="*/ 31536952 w 204"/>
                <a:gd name="T105" fmla="*/ 85402905 h 332"/>
                <a:gd name="T106" fmla="*/ 45535754 w 204"/>
                <a:gd name="T107" fmla="*/ 83109370 h 332"/>
                <a:gd name="T108" fmla="*/ 54667758 w 204"/>
                <a:gd name="T109" fmla="*/ 81199716 h 332"/>
                <a:gd name="T110" fmla="*/ 62345849 w 204"/>
                <a:gd name="T111" fmla="*/ 78524305 h 33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204" h="332">
                  <a:moveTo>
                    <a:pt x="114" y="287"/>
                  </a:moveTo>
                  <a:lnTo>
                    <a:pt x="116" y="287"/>
                  </a:lnTo>
                  <a:lnTo>
                    <a:pt x="116" y="294"/>
                  </a:lnTo>
                  <a:lnTo>
                    <a:pt x="117" y="292"/>
                  </a:lnTo>
                  <a:lnTo>
                    <a:pt x="118" y="292"/>
                  </a:lnTo>
                  <a:lnTo>
                    <a:pt x="121" y="294"/>
                  </a:lnTo>
                  <a:lnTo>
                    <a:pt x="123" y="292"/>
                  </a:lnTo>
                  <a:lnTo>
                    <a:pt x="124" y="292"/>
                  </a:lnTo>
                  <a:lnTo>
                    <a:pt x="125" y="294"/>
                  </a:lnTo>
                  <a:lnTo>
                    <a:pt x="124" y="294"/>
                  </a:lnTo>
                  <a:lnTo>
                    <a:pt x="122" y="295"/>
                  </a:lnTo>
                  <a:lnTo>
                    <a:pt x="122" y="296"/>
                  </a:lnTo>
                  <a:lnTo>
                    <a:pt x="120" y="296"/>
                  </a:lnTo>
                  <a:lnTo>
                    <a:pt x="119" y="297"/>
                  </a:lnTo>
                  <a:lnTo>
                    <a:pt x="117" y="297"/>
                  </a:lnTo>
                  <a:lnTo>
                    <a:pt x="117" y="298"/>
                  </a:lnTo>
                  <a:lnTo>
                    <a:pt x="117" y="301"/>
                  </a:lnTo>
                  <a:lnTo>
                    <a:pt x="118" y="303"/>
                  </a:lnTo>
                  <a:lnTo>
                    <a:pt x="118" y="304"/>
                  </a:lnTo>
                  <a:lnTo>
                    <a:pt x="120" y="303"/>
                  </a:lnTo>
                  <a:lnTo>
                    <a:pt x="121" y="305"/>
                  </a:lnTo>
                  <a:lnTo>
                    <a:pt x="120" y="306"/>
                  </a:lnTo>
                  <a:lnTo>
                    <a:pt x="120" y="309"/>
                  </a:lnTo>
                  <a:lnTo>
                    <a:pt x="124" y="311"/>
                  </a:lnTo>
                  <a:lnTo>
                    <a:pt x="120" y="313"/>
                  </a:lnTo>
                  <a:lnTo>
                    <a:pt x="120" y="316"/>
                  </a:lnTo>
                  <a:lnTo>
                    <a:pt x="126" y="318"/>
                  </a:lnTo>
                  <a:lnTo>
                    <a:pt x="128" y="319"/>
                  </a:lnTo>
                  <a:lnTo>
                    <a:pt x="139" y="317"/>
                  </a:lnTo>
                  <a:lnTo>
                    <a:pt x="141" y="321"/>
                  </a:lnTo>
                  <a:lnTo>
                    <a:pt x="143" y="323"/>
                  </a:lnTo>
                  <a:lnTo>
                    <a:pt x="143" y="325"/>
                  </a:lnTo>
                  <a:lnTo>
                    <a:pt x="139" y="329"/>
                  </a:lnTo>
                  <a:lnTo>
                    <a:pt x="138" y="331"/>
                  </a:lnTo>
                  <a:lnTo>
                    <a:pt x="153" y="332"/>
                  </a:lnTo>
                  <a:lnTo>
                    <a:pt x="158" y="321"/>
                  </a:lnTo>
                  <a:lnTo>
                    <a:pt x="160" y="315"/>
                  </a:lnTo>
                  <a:lnTo>
                    <a:pt x="170" y="295"/>
                  </a:lnTo>
                  <a:lnTo>
                    <a:pt x="182" y="297"/>
                  </a:lnTo>
                  <a:lnTo>
                    <a:pt x="181" y="296"/>
                  </a:lnTo>
                  <a:lnTo>
                    <a:pt x="179" y="293"/>
                  </a:lnTo>
                  <a:lnTo>
                    <a:pt x="178" y="290"/>
                  </a:lnTo>
                  <a:lnTo>
                    <a:pt x="177" y="288"/>
                  </a:lnTo>
                  <a:lnTo>
                    <a:pt x="174" y="286"/>
                  </a:lnTo>
                  <a:lnTo>
                    <a:pt x="170" y="285"/>
                  </a:lnTo>
                  <a:lnTo>
                    <a:pt x="168" y="283"/>
                  </a:lnTo>
                  <a:lnTo>
                    <a:pt x="167" y="283"/>
                  </a:lnTo>
                  <a:lnTo>
                    <a:pt x="164" y="283"/>
                  </a:lnTo>
                  <a:lnTo>
                    <a:pt x="156" y="284"/>
                  </a:lnTo>
                  <a:lnTo>
                    <a:pt x="152" y="286"/>
                  </a:lnTo>
                  <a:lnTo>
                    <a:pt x="150" y="287"/>
                  </a:lnTo>
                  <a:lnTo>
                    <a:pt x="145" y="283"/>
                  </a:lnTo>
                  <a:lnTo>
                    <a:pt x="141" y="278"/>
                  </a:lnTo>
                  <a:lnTo>
                    <a:pt x="140" y="277"/>
                  </a:lnTo>
                  <a:lnTo>
                    <a:pt x="137" y="276"/>
                  </a:lnTo>
                  <a:lnTo>
                    <a:pt x="136" y="274"/>
                  </a:lnTo>
                  <a:lnTo>
                    <a:pt x="132" y="272"/>
                  </a:lnTo>
                  <a:lnTo>
                    <a:pt x="129" y="273"/>
                  </a:lnTo>
                  <a:lnTo>
                    <a:pt x="125" y="273"/>
                  </a:lnTo>
                  <a:lnTo>
                    <a:pt x="122" y="274"/>
                  </a:lnTo>
                  <a:lnTo>
                    <a:pt x="120" y="275"/>
                  </a:lnTo>
                  <a:lnTo>
                    <a:pt x="119" y="274"/>
                  </a:lnTo>
                  <a:lnTo>
                    <a:pt x="119" y="272"/>
                  </a:lnTo>
                  <a:lnTo>
                    <a:pt x="116" y="271"/>
                  </a:lnTo>
                  <a:lnTo>
                    <a:pt x="113" y="269"/>
                  </a:lnTo>
                  <a:lnTo>
                    <a:pt x="110" y="266"/>
                  </a:lnTo>
                  <a:lnTo>
                    <a:pt x="108" y="265"/>
                  </a:lnTo>
                  <a:lnTo>
                    <a:pt x="108" y="264"/>
                  </a:lnTo>
                  <a:lnTo>
                    <a:pt x="105" y="263"/>
                  </a:lnTo>
                  <a:lnTo>
                    <a:pt x="105" y="262"/>
                  </a:lnTo>
                  <a:lnTo>
                    <a:pt x="108" y="261"/>
                  </a:lnTo>
                  <a:lnTo>
                    <a:pt x="109" y="260"/>
                  </a:lnTo>
                  <a:lnTo>
                    <a:pt x="111" y="260"/>
                  </a:lnTo>
                  <a:lnTo>
                    <a:pt x="111" y="259"/>
                  </a:lnTo>
                  <a:lnTo>
                    <a:pt x="112" y="259"/>
                  </a:lnTo>
                  <a:lnTo>
                    <a:pt x="115" y="261"/>
                  </a:lnTo>
                  <a:lnTo>
                    <a:pt x="116" y="260"/>
                  </a:lnTo>
                  <a:lnTo>
                    <a:pt x="116" y="257"/>
                  </a:lnTo>
                  <a:lnTo>
                    <a:pt x="119" y="255"/>
                  </a:lnTo>
                  <a:lnTo>
                    <a:pt x="120" y="254"/>
                  </a:lnTo>
                  <a:lnTo>
                    <a:pt x="121" y="252"/>
                  </a:lnTo>
                  <a:lnTo>
                    <a:pt x="124" y="250"/>
                  </a:lnTo>
                  <a:lnTo>
                    <a:pt x="125" y="247"/>
                  </a:lnTo>
                  <a:lnTo>
                    <a:pt x="128" y="247"/>
                  </a:lnTo>
                  <a:lnTo>
                    <a:pt x="129" y="245"/>
                  </a:lnTo>
                  <a:lnTo>
                    <a:pt x="130" y="240"/>
                  </a:lnTo>
                  <a:lnTo>
                    <a:pt x="132" y="238"/>
                  </a:lnTo>
                  <a:lnTo>
                    <a:pt x="133" y="238"/>
                  </a:lnTo>
                  <a:lnTo>
                    <a:pt x="128" y="237"/>
                  </a:lnTo>
                  <a:lnTo>
                    <a:pt x="127" y="238"/>
                  </a:lnTo>
                  <a:lnTo>
                    <a:pt x="126" y="237"/>
                  </a:lnTo>
                  <a:lnTo>
                    <a:pt x="124" y="236"/>
                  </a:lnTo>
                  <a:lnTo>
                    <a:pt x="124" y="234"/>
                  </a:lnTo>
                  <a:lnTo>
                    <a:pt x="124" y="230"/>
                  </a:lnTo>
                  <a:lnTo>
                    <a:pt x="126" y="228"/>
                  </a:lnTo>
                  <a:lnTo>
                    <a:pt x="125" y="228"/>
                  </a:lnTo>
                  <a:lnTo>
                    <a:pt x="124" y="229"/>
                  </a:lnTo>
                  <a:lnTo>
                    <a:pt x="123" y="229"/>
                  </a:lnTo>
                  <a:lnTo>
                    <a:pt x="122" y="227"/>
                  </a:lnTo>
                  <a:lnTo>
                    <a:pt x="125" y="226"/>
                  </a:lnTo>
                  <a:lnTo>
                    <a:pt x="128" y="226"/>
                  </a:lnTo>
                  <a:lnTo>
                    <a:pt x="128" y="225"/>
                  </a:lnTo>
                  <a:lnTo>
                    <a:pt x="126" y="223"/>
                  </a:lnTo>
                  <a:lnTo>
                    <a:pt x="126" y="222"/>
                  </a:lnTo>
                  <a:lnTo>
                    <a:pt x="126" y="220"/>
                  </a:lnTo>
                  <a:lnTo>
                    <a:pt x="127" y="218"/>
                  </a:lnTo>
                  <a:lnTo>
                    <a:pt x="130" y="217"/>
                  </a:lnTo>
                  <a:lnTo>
                    <a:pt x="132" y="213"/>
                  </a:lnTo>
                  <a:lnTo>
                    <a:pt x="131" y="210"/>
                  </a:lnTo>
                  <a:lnTo>
                    <a:pt x="130" y="209"/>
                  </a:lnTo>
                  <a:lnTo>
                    <a:pt x="130" y="208"/>
                  </a:lnTo>
                  <a:lnTo>
                    <a:pt x="129" y="208"/>
                  </a:lnTo>
                  <a:lnTo>
                    <a:pt x="128" y="206"/>
                  </a:lnTo>
                  <a:lnTo>
                    <a:pt x="127" y="204"/>
                  </a:lnTo>
                  <a:lnTo>
                    <a:pt x="125" y="201"/>
                  </a:lnTo>
                  <a:lnTo>
                    <a:pt x="125" y="198"/>
                  </a:lnTo>
                  <a:lnTo>
                    <a:pt x="124" y="195"/>
                  </a:lnTo>
                  <a:lnTo>
                    <a:pt x="122" y="192"/>
                  </a:lnTo>
                  <a:lnTo>
                    <a:pt x="120" y="190"/>
                  </a:lnTo>
                  <a:lnTo>
                    <a:pt x="120" y="185"/>
                  </a:lnTo>
                  <a:lnTo>
                    <a:pt x="118" y="180"/>
                  </a:lnTo>
                  <a:lnTo>
                    <a:pt x="119" y="178"/>
                  </a:lnTo>
                  <a:lnTo>
                    <a:pt x="118" y="177"/>
                  </a:lnTo>
                  <a:lnTo>
                    <a:pt x="118" y="174"/>
                  </a:lnTo>
                  <a:lnTo>
                    <a:pt x="117" y="171"/>
                  </a:lnTo>
                  <a:lnTo>
                    <a:pt x="117" y="167"/>
                  </a:lnTo>
                  <a:lnTo>
                    <a:pt x="119" y="166"/>
                  </a:lnTo>
                  <a:lnTo>
                    <a:pt x="122" y="164"/>
                  </a:lnTo>
                  <a:lnTo>
                    <a:pt x="123" y="163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6"/>
                  </a:lnTo>
                  <a:lnTo>
                    <a:pt x="128" y="166"/>
                  </a:lnTo>
                  <a:lnTo>
                    <a:pt x="129" y="164"/>
                  </a:lnTo>
                  <a:lnTo>
                    <a:pt x="133" y="162"/>
                  </a:lnTo>
                  <a:lnTo>
                    <a:pt x="134" y="164"/>
                  </a:lnTo>
                  <a:lnTo>
                    <a:pt x="136" y="165"/>
                  </a:lnTo>
                  <a:lnTo>
                    <a:pt x="137" y="166"/>
                  </a:lnTo>
                  <a:lnTo>
                    <a:pt x="138" y="167"/>
                  </a:lnTo>
                  <a:lnTo>
                    <a:pt x="140" y="166"/>
                  </a:lnTo>
                  <a:lnTo>
                    <a:pt x="141" y="169"/>
                  </a:lnTo>
                  <a:lnTo>
                    <a:pt x="141" y="170"/>
                  </a:lnTo>
                  <a:lnTo>
                    <a:pt x="141" y="171"/>
                  </a:lnTo>
                  <a:lnTo>
                    <a:pt x="146" y="170"/>
                  </a:lnTo>
                  <a:lnTo>
                    <a:pt x="146" y="169"/>
                  </a:lnTo>
                  <a:lnTo>
                    <a:pt x="148" y="170"/>
                  </a:lnTo>
                  <a:lnTo>
                    <a:pt x="153" y="165"/>
                  </a:lnTo>
                  <a:lnTo>
                    <a:pt x="157" y="165"/>
                  </a:lnTo>
                  <a:lnTo>
                    <a:pt x="159" y="162"/>
                  </a:lnTo>
                  <a:lnTo>
                    <a:pt x="164" y="160"/>
                  </a:lnTo>
                  <a:lnTo>
                    <a:pt x="166" y="158"/>
                  </a:lnTo>
                  <a:lnTo>
                    <a:pt x="168" y="147"/>
                  </a:lnTo>
                  <a:lnTo>
                    <a:pt x="171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9" y="148"/>
                  </a:lnTo>
                  <a:lnTo>
                    <a:pt x="191" y="153"/>
                  </a:lnTo>
                  <a:lnTo>
                    <a:pt x="200" y="162"/>
                  </a:lnTo>
                  <a:lnTo>
                    <a:pt x="202" y="165"/>
                  </a:lnTo>
                  <a:lnTo>
                    <a:pt x="204" y="164"/>
                  </a:lnTo>
                  <a:lnTo>
                    <a:pt x="202" y="161"/>
                  </a:lnTo>
                  <a:lnTo>
                    <a:pt x="192" y="150"/>
                  </a:lnTo>
                  <a:lnTo>
                    <a:pt x="180" y="145"/>
                  </a:lnTo>
                  <a:lnTo>
                    <a:pt x="175" y="145"/>
                  </a:lnTo>
                  <a:lnTo>
                    <a:pt x="175" y="144"/>
                  </a:lnTo>
                  <a:lnTo>
                    <a:pt x="176" y="143"/>
                  </a:lnTo>
                  <a:lnTo>
                    <a:pt x="177" y="142"/>
                  </a:lnTo>
                  <a:lnTo>
                    <a:pt x="176" y="142"/>
                  </a:lnTo>
                  <a:lnTo>
                    <a:pt x="178" y="142"/>
                  </a:lnTo>
                  <a:lnTo>
                    <a:pt x="179" y="141"/>
                  </a:lnTo>
                  <a:lnTo>
                    <a:pt x="179" y="139"/>
                  </a:lnTo>
                  <a:lnTo>
                    <a:pt x="179" y="138"/>
                  </a:lnTo>
                  <a:lnTo>
                    <a:pt x="178" y="137"/>
                  </a:lnTo>
                  <a:lnTo>
                    <a:pt x="177" y="131"/>
                  </a:lnTo>
                  <a:lnTo>
                    <a:pt x="176" y="127"/>
                  </a:lnTo>
                  <a:lnTo>
                    <a:pt x="175" y="127"/>
                  </a:lnTo>
                  <a:lnTo>
                    <a:pt x="174" y="126"/>
                  </a:lnTo>
                  <a:lnTo>
                    <a:pt x="171" y="126"/>
                  </a:lnTo>
                  <a:lnTo>
                    <a:pt x="169" y="125"/>
                  </a:lnTo>
                  <a:lnTo>
                    <a:pt x="166" y="124"/>
                  </a:lnTo>
                  <a:lnTo>
                    <a:pt x="165" y="123"/>
                  </a:lnTo>
                  <a:lnTo>
                    <a:pt x="163" y="123"/>
                  </a:lnTo>
                  <a:lnTo>
                    <a:pt x="160" y="122"/>
                  </a:lnTo>
                  <a:lnTo>
                    <a:pt x="156" y="122"/>
                  </a:lnTo>
                  <a:lnTo>
                    <a:pt x="153" y="127"/>
                  </a:lnTo>
                  <a:lnTo>
                    <a:pt x="152" y="128"/>
                  </a:lnTo>
                  <a:lnTo>
                    <a:pt x="150" y="128"/>
                  </a:lnTo>
                  <a:lnTo>
                    <a:pt x="147" y="128"/>
                  </a:lnTo>
                  <a:lnTo>
                    <a:pt x="145" y="127"/>
                  </a:lnTo>
                  <a:lnTo>
                    <a:pt x="141" y="122"/>
                  </a:lnTo>
                  <a:lnTo>
                    <a:pt x="140" y="122"/>
                  </a:lnTo>
                  <a:lnTo>
                    <a:pt x="138" y="115"/>
                  </a:lnTo>
                  <a:lnTo>
                    <a:pt x="137" y="115"/>
                  </a:lnTo>
                  <a:lnTo>
                    <a:pt x="137" y="114"/>
                  </a:lnTo>
                  <a:lnTo>
                    <a:pt x="139" y="89"/>
                  </a:lnTo>
                  <a:lnTo>
                    <a:pt x="131" y="73"/>
                  </a:lnTo>
                  <a:lnTo>
                    <a:pt x="132" y="73"/>
                  </a:lnTo>
                  <a:lnTo>
                    <a:pt x="131" y="71"/>
                  </a:lnTo>
                  <a:lnTo>
                    <a:pt x="130" y="71"/>
                  </a:lnTo>
                  <a:lnTo>
                    <a:pt x="125" y="60"/>
                  </a:lnTo>
                  <a:lnTo>
                    <a:pt x="123" y="60"/>
                  </a:lnTo>
                  <a:lnTo>
                    <a:pt x="124" y="58"/>
                  </a:lnTo>
                  <a:lnTo>
                    <a:pt x="125" y="59"/>
                  </a:lnTo>
                  <a:lnTo>
                    <a:pt x="129" y="54"/>
                  </a:lnTo>
                  <a:lnTo>
                    <a:pt x="151" y="35"/>
                  </a:lnTo>
                  <a:lnTo>
                    <a:pt x="179" y="12"/>
                  </a:lnTo>
                  <a:lnTo>
                    <a:pt x="186" y="8"/>
                  </a:lnTo>
                  <a:lnTo>
                    <a:pt x="189" y="7"/>
                  </a:lnTo>
                  <a:lnTo>
                    <a:pt x="191" y="7"/>
                  </a:lnTo>
                  <a:lnTo>
                    <a:pt x="196" y="3"/>
                  </a:lnTo>
                  <a:lnTo>
                    <a:pt x="196" y="0"/>
                  </a:lnTo>
                  <a:lnTo>
                    <a:pt x="191" y="3"/>
                  </a:lnTo>
                  <a:lnTo>
                    <a:pt x="188" y="4"/>
                  </a:lnTo>
                  <a:lnTo>
                    <a:pt x="188" y="5"/>
                  </a:lnTo>
                  <a:lnTo>
                    <a:pt x="186" y="5"/>
                  </a:lnTo>
                  <a:lnTo>
                    <a:pt x="179" y="9"/>
                  </a:lnTo>
                  <a:lnTo>
                    <a:pt x="151" y="33"/>
                  </a:lnTo>
                  <a:lnTo>
                    <a:pt x="124" y="55"/>
                  </a:lnTo>
                  <a:lnTo>
                    <a:pt x="124" y="56"/>
                  </a:lnTo>
                  <a:lnTo>
                    <a:pt x="123" y="56"/>
                  </a:lnTo>
                  <a:lnTo>
                    <a:pt x="121" y="55"/>
                  </a:lnTo>
                  <a:lnTo>
                    <a:pt x="119" y="56"/>
                  </a:lnTo>
                  <a:lnTo>
                    <a:pt x="117" y="56"/>
                  </a:lnTo>
                  <a:lnTo>
                    <a:pt x="115" y="56"/>
                  </a:lnTo>
                  <a:lnTo>
                    <a:pt x="112" y="57"/>
                  </a:lnTo>
                  <a:lnTo>
                    <a:pt x="108" y="58"/>
                  </a:lnTo>
                  <a:lnTo>
                    <a:pt x="105" y="60"/>
                  </a:lnTo>
                  <a:lnTo>
                    <a:pt x="104" y="63"/>
                  </a:lnTo>
                  <a:lnTo>
                    <a:pt x="100" y="67"/>
                  </a:lnTo>
                  <a:lnTo>
                    <a:pt x="95" y="71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72" y="64"/>
                  </a:lnTo>
                  <a:lnTo>
                    <a:pt x="69" y="58"/>
                  </a:lnTo>
                  <a:lnTo>
                    <a:pt x="69" y="52"/>
                  </a:lnTo>
                  <a:lnTo>
                    <a:pt x="71" y="47"/>
                  </a:lnTo>
                  <a:lnTo>
                    <a:pt x="71" y="46"/>
                  </a:lnTo>
                  <a:lnTo>
                    <a:pt x="69" y="46"/>
                  </a:lnTo>
                  <a:lnTo>
                    <a:pt x="69" y="48"/>
                  </a:lnTo>
                  <a:lnTo>
                    <a:pt x="68" y="48"/>
                  </a:lnTo>
                  <a:lnTo>
                    <a:pt x="67" y="48"/>
                  </a:lnTo>
                  <a:lnTo>
                    <a:pt x="66" y="48"/>
                  </a:lnTo>
                  <a:lnTo>
                    <a:pt x="67" y="46"/>
                  </a:lnTo>
                  <a:lnTo>
                    <a:pt x="65" y="45"/>
                  </a:lnTo>
                  <a:lnTo>
                    <a:pt x="56" y="46"/>
                  </a:lnTo>
                  <a:lnTo>
                    <a:pt x="54" y="48"/>
                  </a:lnTo>
                  <a:lnTo>
                    <a:pt x="52" y="52"/>
                  </a:lnTo>
                  <a:lnTo>
                    <a:pt x="51" y="68"/>
                  </a:lnTo>
                  <a:lnTo>
                    <a:pt x="50" y="76"/>
                  </a:lnTo>
                  <a:lnTo>
                    <a:pt x="48" y="85"/>
                  </a:lnTo>
                  <a:lnTo>
                    <a:pt x="42" y="104"/>
                  </a:lnTo>
                  <a:lnTo>
                    <a:pt x="35" y="127"/>
                  </a:lnTo>
                  <a:lnTo>
                    <a:pt x="32" y="150"/>
                  </a:lnTo>
                  <a:lnTo>
                    <a:pt x="30" y="163"/>
                  </a:lnTo>
                  <a:lnTo>
                    <a:pt x="27" y="187"/>
                  </a:lnTo>
                  <a:lnTo>
                    <a:pt x="24" y="202"/>
                  </a:lnTo>
                  <a:lnTo>
                    <a:pt x="23" y="207"/>
                  </a:lnTo>
                  <a:lnTo>
                    <a:pt x="21" y="215"/>
                  </a:lnTo>
                  <a:lnTo>
                    <a:pt x="20" y="217"/>
                  </a:lnTo>
                  <a:lnTo>
                    <a:pt x="18" y="224"/>
                  </a:lnTo>
                  <a:lnTo>
                    <a:pt x="19" y="224"/>
                  </a:lnTo>
                  <a:lnTo>
                    <a:pt x="20" y="224"/>
                  </a:lnTo>
                  <a:lnTo>
                    <a:pt x="21" y="224"/>
                  </a:lnTo>
                  <a:lnTo>
                    <a:pt x="20" y="224"/>
                  </a:lnTo>
                  <a:lnTo>
                    <a:pt x="21" y="223"/>
                  </a:lnTo>
                  <a:lnTo>
                    <a:pt x="25" y="223"/>
                  </a:lnTo>
                  <a:lnTo>
                    <a:pt x="27" y="224"/>
                  </a:lnTo>
                  <a:lnTo>
                    <a:pt x="26" y="224"/>
                  </a:lnTo>
                  <a:lnTo>
                    <a:pt x="26" y="225"/>
                  </a:lnTo>
                  <a:lnTo>
                    <a:pt x="22" y="225"/>
                  </a:lnTo>
                  <a:lnTo>
                    <a:pt x="22" y="226"/>
                  </a:lnTo>
                  <a:lnTo>
                    <a:pt x="22" y="227"/>
                  </a:lnTo>
                  <a:lnTo>
                    <a:pt x="23" y="228"/>
                  </a:lnTo>
                  <a:lnTo>
                    <a:pt x="22" y="229"/>
                  </a:lnTo>
                  <a:lnTo>
                    <a:pt x="19" y="227"/>
                  </a:lnTo>
                  <a:lnTo>
                    <a:pt x="17" y="228"/>
                  </a:lnTo>
                  <a:lnTo>
                    <a:pt x="16" y="237"/>
                  </a:lnTo>
                  <a:lnTo>
                    <a:pt x="11" y="250"/>
                  </a:lnTo>
                  <a:lnTo>
                    <a:pt x="0" y="276"/>
                  </a:lnTo>
                  <a:lnTo>
                    <a:pt x="0" y="277"/>
                  </a:lnTo>
                  <a:lnTo>
                    <a:pt x="14" y="283"/>
                  </a:lnTo>
                  <a:lnTo>
                    <a:pt x="15" y="281"/>
                  </a:lnTo>
                  <a:lnTo>
                    <a:pt x="19" y="282"/>
                  </a:lnTo>
                  <a:lnTo>
                    <a:pt x="21" y="281"/>
                  </a:lnTo>
                  <a:lnTo>
                    <a:pt x="23" y="282"/>
                  </a:lnTo>
                  <a:lnTo>
                    <a:pt x="21" y="289"/>
                  </a:lnTo>
                  <a:lnTo>
                    <a:pt x="19" y="295"/>
                  </a:lnTo>
                  <a:lnTo>
                    <a:pt x="15" y="299"/>
                  </a:lnTo>
                  <a:lnTo>
                    <a:pt x="14" y="306"/>
                  </a:lnTo>
                  <a:lnTo>
                    <a:pt x="13" y="311"/>
                  </a:lnTo>
                  <a:lnTo>
                    <a:pt x="11" y="315"/>
                  </a:lnTo>
                  <a:lnTo>
                    <a:pt x="12" y="317"/>
                  </a:lnTo>
                  <a:lnTo>
                    <a:pt x="16" y="317"/>
                  </a:lnTo>
                  <a:lnTo>
                    <a:pt x="21" y="318"/>
                  </a:lnTo>
                  <a:lnTo>
                    <a:pt x="27" y="318"/>
                  </a:lnTo>
                  <a:lnTo>
                    <a:pt x="32" y="316"/>
                  </a:lnTo>
                  <a:lnTo>
                    <a:pt x="36" y="313"/>
                  </a:lnTo>
                  <a:lnTo>
                    <a:pt x="39" y="314"/>
                  </a:lnTo>
                  <a:lnTo>
                    <a:pt x="42" y="313"/>
                  </a:lnTo>
                  <a:lnTo>
                    <a:pt x="44" y="312"/>
                  </a:lnTo>
                  <a:lnTo>
                    <a:pt x="49" y="312"/>
                  </a:lnTo>
                  <a:lnTo>
                    <a:pt x="49" y="320"/>
                  </a:lnTo>
                  <a:lnTo>
                    <a:pt x="52" y="321"/>
                  </a:lnTo>
                  <a:lnTo>
                    <a:pt x="53" y="318"/>
                  </a:lnTo>
                  <a:lnTo>
                    <a:pt x="58" y="317"/>
                  </a:lnTo>
                  <a:lnTo>
                    <a:pt x="62" y="313"/>
                  </a:lnTo>
                  <a:lnTo>
                    <a:pt x="71" y="314"/>
                  </a:lnTo>
                  <a:lnTo>
                    <a:pt x="73" y="313"/>
                  </a:lnTo>
                  <a:lnTo>
                    <a:pt x="75" y="312"/>
                  </a:lnTo>
                  <a:lnTo>
                    <a:pt x="77" y="309"/>
                  </a:lnTo>
                  <a:lnTo>
                    <a:pt x="79" y="307"/>
                  </a:lnTo>
                  <a:lnTo>
                    <a:pt x="82" y="305"/>
                  </a:lnTo>
                  <a:lnTo>
                    <a:pt x="84" y="305"/>
                  </a:lnTo>
                  <a:lnTo>
                    <a:pt x="87" y="305"/>
                  </a:lnTo>
                  <a:lnTo>
                    <a:pt x="90" y="305"/>
                  </a:lnTo>
                  <a:lnTo>
                    <a:pt x="93" y="303"/>
                  </a:lnTo>
                  <a:lnTo>
                    <a:pt x="93" y="301"/>
                  </a:lnTo>
                  <a:lnTo>
                    <a:pt x="94" y="299"/>
                  </a:lnTo>
                  <a:lnTo>
                    <a:pt x="95" y="297"/>
                  </a:lnTo>
                  <a:lnTo>
                    <a:pt x="95" y="295"/>
                  </a:lnTo>
                  <a:lnTo>
                    <a:pt x="103" y="295"/>
                  </a:lnTo>
                  <a:lnTo>
                    <a:pt x="105" y="293"/>
                  </a:lnTo>
                  <a:lnTo>
                    <a:pt x="107" y="291"/>
                  </a:lnTo>
                  <a:lnTo>
                    <a:pt x="112" y="291"/>
                  </a:lnTo>
                  <a:lnTo>
                    <a:pt x="113" y="290"/>
                  </a:lnTo>
                  <a:lnTo>
                    <a:pt x="114" y="287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2" name="Freeform 66"/>
            <p:cNvSpPr>
              <a:spLocks/>
            </p:cNvSpPr>
            <p:nvPr/>
          </p:nvSpPr>
          <p:spPr bwMode="auto">
            <a:xfrm>
              <a:off x="466" y="2474"/>
              <a:ext cx="815" cy="409"/>
            </a:xfrm>
            <a:custGeom>
              <a:avLst/>
              <a:gdLst>
                <a:gd name="T0" fmla="*/ 220551280 w 418"/>
                <a:gd name="T1" fmla="*/ 6084658 h 219"/>
                <a:gd name="T2" fmla="*/ 209110928 w 418"/>
                <a:gd name="T3" fmla="*/ 3154384 h 219"/>
                <a:gd name="T4" fmla="*/ 196483308 w 418"/>
                <a:gd name="T5" fmla="*/ 282485 h 219"/>
                <a:gd name="T6" fmla="*/ 184556512 w 418"/>
                <a:gd name="T7" fmla="*/ 0 h 219"/>
                <a:gd name="T8" fmla="*/ 170617331 w 418"/>
                <a:gd name="T9" fmla="*/ 1593378 h 219"/>
                <a:gd name="T10" fmla="*/ 153255484 w 418"/>
                <a:gd name="T11" fmla="*/ 8541168 h 219"/>
                <a:gd name="T12" fmla="*/ 132175819 w 418"/>
                <a:gd name="T13" fmla="*/ 8258580 h 219"/>
                <a:gd name="T14" fmla="*/ 128689432 w 418"/>
                <a:gd name="T15" fmla="*/ 3961159 h 219"/>
                <a:gd name="T16" fmla="*/ 114725622 w 418"/>
                <a:gd name="T17" fmla="*/ 853178 h 219"/>
                <a:gd name="T18" fmla="*/ 100207288 w 418"/>
                <a:gd name="T19" fmla="*/ 853178 h 219"/>
                <a:gd name="T20" fmla="*/ 88194543 w 418"/>
                <a:gd name="T21" fmla="*/ 2649943 h 219"/>
                <a:gd name="T22" fmla="*/ 80318958 w 418"/>
                <a:gd name="T23" fmla="*/ 6084658 h 219"/>
                <a:gd name="T24" fmla="*/ 74952171 w 418"/>
                <a:gd name="T25" fmla="*/ 9003425 h 219"/>
                <a:gd name="T26" fmla="*/ 83087597 w 418"/>
                <a:gd name="T27" fmla="*/ 7730102 h 219"/>
                <a:gd name="T28" fmla="*/ 85715430 w 418"/>
                <a:gd name="T29" fmla="*/ 8541168 h 219"/>
                <a:gd name="T30" fmla="*/ 80789815 w 418"/>
                <a:gd name="T31" fmla="*/ 9242616 h 219"/>
                <a:gd name="T32" fmla="*/ 85715430 w 418"/>
                <a:gd name="T33" fmla="*/ 11363585 h 219"/>
                <a:gd name="T34" fmla="*/ 71798570 w 418"/>
                <a:gd name="T35" fmla="*/ 10668647 h 219"/>
                <a:gd name="T36" fmla="*/ 61170925 w 418"/>
                <a:gd name="T37" fmla="*/ 12312026 h 219"/>
                <a:gd name="T38" fmla="*/ 44591374 w 418"/>
                <a:gd name="T39" fmla="*/ 14141479 h 219"/>
                <a:gd name="T40" fmla="*/ 33331539 w 418"/>
                <a:gd name="T41" fmla="*/ 12827848 h 219"/>
                <a:gd name="T42" fmla="*/ 29018699 w 418"/>
                <a:gd name="T43" fmla="*/ 14669093 h 219"/>
                <a:gd name="T44" fmla="*/ 17095194 w 418"/>
                <a:gd name="T45" fmla="*/ 17775848 h 219"/>
                <a:gd name="T46" fmla="*/ 3842183 w 418"/>
                <a:gd name="T47" fmla="*/ 18397743 h 219"/>
                <a:gd name="T48" fmla="*/ 4496881 w 418"/>
                <a:gd name="T49" fmla="*/ 23679195 h 219"/>
                <a:gd name="T50" fmla="*/ 15212587 w 418"/>
                <a:gd name="T51" fmla="*/ 32844846 h 219"/>
                <a:gd name="T52" fmla="*/ 27232188 w 418"/>
                <a:gd name="T53" fmla="*/ 36533813 h 219"/>
                <a:gd name="T54" fmla="*/ 41194263 w 418"/>
                <a:gd name="T55" fmla="*/ 33820572 h 219"/>
                <a:gd name="T56" fmla="*/ 49063803 w 418"/>
                <a:gd name="T57" fmla="*/ 39277691 h 219"/>
                <a:gd name="T58" fmla="*/ 66357181 w 418"/>
                <a:gd name="T59" fmla="*/ 38943830 h 219"/>
                <a:gd name="T60" fmla="*/ 73162880 w 418"/>
                <a:gd name="T61" fmla="*/ 35212360 h 219"/>
                <a:gd name="T62" fmla="*/ 79597776 w 418"/>
                <a:gd name="T63" fmla="*/ 32844846 h 219"/>
                <a:gd name="T64" fmla="*/ 83087597 w 418"/>
                <a:gd name="T65" fmla="*/ 31402639 h 219"/>
                <a:gd name="T66" fmla="*/ 89558369 w 418"/>
                <a:gd name="T67" fmla="*/ 32564670 h 219"/>
                <a:gd name="T68" fmla="*/ 92220945 w 418"/>
                <a:gd name="T69" fmla="*/ 35673404 h 219"/>
                <a:gd name="T70" fmla="*/ 90249965 w 418"/>
                <a:gd name="T71" fmla="*/ 36810286 h 219"/>
                <a:gd name="T72" fmla="*/ 90249965 w 418"/>
                <a:gd name="T73" fmla="*/ 39358470 h 219"/>
                <a:gd name="T74" fmla="*/ 85063956 w 418"/>
                <a:gd name="T75" fmla="*/ 38657027 h 219"/>
                <a:gd name="T76" fmla="*/ 82399741 w 418"/>
                <a:gd name="T77" fmla="*/ 39634533 h 219"/>
                <a:gd name="T78" fmla="*/ 93380707 w 418"/>
                <a:gd name="T79" fmla="*/ 40256970 h 219"/>
                <a:gd name="T80" fmla="*/ 95021279 w 418"/>
                <a:gd name="T81" fmla="*/ 40256970 h 219"/>
                <a:gd name="T82" fmla="*/ 97053649 w 418"/>
                <a:gd name="T83" fmla="*/ 39967041 h 219"/>
                <a:gd name="T84" fmla="*/ 103524989 w 418"/>
                <a:gd name="T85" fmla="*/ 41242581 h 219"/>
                <a:gd name="T86" fmla="*/ 110316530 w 418"/>
                <a:gd name="T87" fmla="*/ 39358470 h 219"/>
                <a:gd name="T88" fmla="*/ 116790557 w 418"/>
                <a:gd name="T89" fmla="*/ 35673404 h 219"/>
                <a:gd name="T90" fmla="*/ 120250947 w 418"/>
                <a:gd name="T91" fmla="*/ 33197817 h 219"/>
                <a:gd name="T92" fmla="*/ 126712080 w 418"/>
                <a:gd name="T93" fmla="*/ 34980186 h 219"/>
                <a:gd name="T94" fmla="*/ 125529174 w 418"/>
                <a:gd name="T95" fmla="*/ 42427957 h 219"/>
                <a:gd name="T96" fmla="*/ 134152287 w 418"/>
                <a:gd name="T97" fmla="*/ 49825749 h 219"/>
                <a:gd name="T98" fmla="*/ 143905086 w 418"/>
                <a:gd name="T99" fmla="*/ 49042652 h 219"/>
                <a:gd name="T100" fmla="*/ 151237279 w 418"/>
                <a:gd name="T101" fmla="*/ 54932741 h 219"/>
                <a:gd name="T102" fmla="*/ 164514699 w 418"/>
                <a:gd name="T103" fmla="*/ 54403636 h 219"/>
                <a:gd name="T104" fmla="*/ 177755497 w 418"/>
                <a:gd name="T105" fmla="*/ 53462528 h 219"/>
                <a:gd name="T106" fmla="*/ 184556512 w 418"/>
                <a:gd name="T107" fmla="*/ 51338024 h 219"/>
                <a:gd name="T108" fmla="*/ 194691942 w 418"/>
                <a:gd name="T109" fmla="*/ 54600462 h 219"/>
                <a:gd name="T110" fmla="*/ 199784528 w 418"/>
                <a:gd name="T111" fmla="*/ 58038747 h 219"/>
                <a:gd name="T112" fmla="*/ 239009121 w 418"/>
                <a:gd name="T113" fmla="*/ 45241843 h 219"/>
                <a:gd name="T114" fmla="*/ 233128950 w 418"/>
                <a:gd name="T115" fmla="*/ 25116653 h 219"/>
                <a:gd name="T116" fmla="*/ 258362522 w 418"/>
                <a:gd name="T117" fmla="*/ 25116653 h 219"/>
                <a:gd name="T118" fmla="*/ 259682231 w 418"/>
                <a:gd name="T119" fmla="*/ 20236791 h 219"/>
                <a:gd name="T120" fmla="*/ 251562324 w 418"/>
                <a:gd name="T121" fmla="*/ 14141479 h 219"/>
                <a:gd name="T122" fmla="*/ 241449597 w 418"/>
                <a:gd name="T123" fmla="*/ 10141039 h 219"/>
                <a:gd name="T124" fmla="*/ 229455736 w 418"/>
                <a:gd name="T125" fmla="*/ 7026437 h 2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18" h="219">
                  <a:moveTo>
                    <a:pt x="364" y="26"/>
                  </a:moveTo>
                  <a:lnTo>
                    <a:pt x="361" y="27"/>
                  </a:lnTo>
                  <a:lnTo>
                    <a:pt x="355" y="27"/>
                  </a:lnTo>
                  <a:lnTo>
                    <a:pt x="351" y="26"/>
                  </a:lnTo>
                  <a:lnTo>
                    <a:pt x="350" y="23"/>
                  </a:lnTo>
                  <a:lnTo>
                    <a:pt x="347" y="20"/>
                  </a:lnTo>
                  <a:lnTo>
                    <a:pt x="341" y="19"/>
                  </a:lnTo>
                  <a:lnTo>
                    <a:pt x="339" y="16"/>
                  </a:lnTo>
                  <a:lnTo>
                    <a:pt x="337" y="14"/>
                  </a:lnTo>
                  <a:lnTo>
                    <a:pt x="332" y="12"/>
                  </a:lnTo>
                  <a:lnTo>
                    <a:pt x="329" y="8"/>
                  </a:lnTo>
                  <a:lnTo>
                    <a:pt x="326" y="4"/>
                  </a:lnTo>
                  <a:lnTo>
                    <a:pt x="322" y="4"/>
                  </a:lnTo>
                  <a:lnTo>
                    <a:pt x="317" y="0"/>
                  </a:lnTo>
                  <a:lnTo>
                    <a:pt x="312" y="1"/>
                  </a:lnTo>
                  <a:lnTo>
                    <a:pt x="308" y="1"/>
                  </a:lnTo>
                  <a:lnTo>
                    <a:pt x="305" y="5"/>
                  </a:lnTo>
                  <a:lnTo>
                    <a:pt x="302" y="5"/>
                  </a:lnTo>
                  <a:lnTo>
                    <a:pt x="298" y="2"/>
                  </a:lnTo>
                  <a:lnTo>
                    <a:pt x="293" y="0"/>
                  </a:lnTo>
                  <a:lnTo>
                    <a:pt x="289" y="6"/>
                  </a:lnTo>
                  <a:lnTo>
                    <a:pt x="285" y="8"/>
                  </a:lnTo>
                  <a:lnTo>
                    <a:pt x="280" y="7"/>
                  </a:lnTo>
                  <a:lnTo>
                    <a:pt x="275" y="2"/>
                  </a:lnTo>
                  <a:lnTo>
                    <a:pt x="271" y="6"/>
                  </a:lnTo>
                  <a:lnTo>
                    <a:pt x="266" y="17"/>
                  </a:lnTo>
                  <a:lnTo>
                    <a:pt x="263" y="26"/>
                  </a:lnTo>
                  <a:lnTo>
                    <a:pt x="255" y="31"/>
                  </a:lnTo>
                  <a:lnTo>
                    <a:pt x="249" y="33"/>
                  </a:lnTo>
                  <a:lnTo>
                    <a:pt x="243" y="32"/>
                  </a:lnTo>
                  <a:lnTo>
                    <a:pt x="238" y="34"/>
                  </a:lnTo>
                  <a:lnTo>
                    <a:pt x="231" y="31"/>
                  </a:lnTo>
                  <a:lnTo>
                    <a:pt x="220" y="31"/>
                  </a:lnTo>
                  <a:lnTo>
                    <a:pt x="211" y="33"/>
                  </a:lnTo>
                  <a:lnTo>
                    <a:pt x="210" y="31"/>
                  </a:lnTo>
                  <a:lnTo>
                    <a:pt x="214" y="27"/>
                  </a:lnTo>
                  <a:lnTo>
                    <a:pt x="213" y="25"/>
                  </a:lnTo>
                  <a:lnTo>
                    <a:pt x="214" y="21"/>
                  </a:lnTo>
                  <a:lnTo>
                    <a:pt x="210" y="19"/>
                  </a:lnTo>
                  <a:lnTo>
                    <a:pt x="204" y="15"/>
                  </a:lnTo>
                  <a:lnTo>
                    <a:pt x="198" y="18"/>
                  </a:lnTo>
                  <a:lnTo>
                    <a:pt x="197" y="17"/>
                  </a:lnTo>
                  <a:lnTo>
                    <a:pt x="194" y="12"/>
                  </a:lnTo>
                  <a:lnTo>
                    <a:pt x="185" y="6"/>
                  </a:lnTo>
                  <a:lnTo>
                    <a:pt x="182" y="3"/>
                  </a:lnTo>
                  <a:lnTo>
                    <a:pt x="172" y="1"/>
                  </a:lnTo>
                  <a:lnTo>
                    <a:pt x="168" y="0"/>
                  </a:lnTo>
                  <a:lnTo>
                    <a:pt x="163" y="1"/>
                  </a:lnTo>
                  <a:lnTo>
                    <a:pt x="159" y="2"/>
                  </a:lnTo>
                  <a:lnTo>
                    <a:pt x="159" y="3"/>
                  </a:lnTo>
                  <a:lnTo>
                    <a:pt x="156" y="5"/>
                  </a:lnTo>
                  <a:lnTo>
                    <a:pt x="153" y="8"/>
                  </a:lnTo>
                  <a:lnTo>
                    <a:pt x="150" y="10"/>
                  </a:lnTo>
                  <a:lnTo>
                    <a:pt x="146" y="11"/>
                  </a:lnTo>
                  <a:lnTo>
                    <a:pt x="140" y="10"/>
                  </a:lnTo>
                  <a:lnTo>
                    <a:pt x="135" y="12"/>
                  </a:lnTo>
                  <a:lnTo>
                    <a:pt x="133" y="12"/>
                  </a:lnTo>
                  <a:lnTo>
                    <a:pt x="131" y="14"/>
                  </a:lnTo>
                  <a:lnTo>
                    <a:pt x="128" y="16"/>
                  </a:lnTo>
                  <a:lnTo>
                    <a:pt x="127" y="23"/>
                  </a:lnTo>
                  <a:lnTo>
                    <a:pt x="125" y="27"/>
                  </a:lnTo>
                  <a:lnTo>
                    <a:pt x="123" y="29"/>
                  </a:lnTo>
                  <a:lnTo>
                    <a:pt x="120" y="31"/>
                  </a:lnTo>
                  <a:lnTo>
                    <a:pt x="121" y="32"/>
                  </a:lnTo>
                  <a:lnTo>
                    <a:pt x="119" y="34"/>
                  </a:lnTo>
                  <a:lnTo>
                    <a:pt x="124" y="33"/>
                  </a:lnTo>
                  <a:lnTo>
                    <a:pt x="125" y="31"/>
                  </a:lnTo>
                  <a:lnTo>
                    <a:pt x="130" y="25"/>
                  </a:lnTo>
                  <a:lnTo>
                    <a:pt x="130" y="27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5" y="29"/>
                  </a:lnTo>
                  <a:lnTo>
                    <a:pt x="134" y="31"/>
                  </a:lnTo>
                  <a:lnTo>
                    <a:pt x="136" y="31"/>
                  </a:lnTo>
                  <a:lnTo>
                    <a:pt x="136" y="32"/>
                  </a:lnTo>
                  <a:lnTo>
                    <a:pt x="134" y="32"/>
                  </a:lnTo>
                  <a:lnTo>
                    <a:pt x="131" y="34"/>
                  </a:lnTo>
                  <a:lnTo>
                    <a:pt x="127" y="34"/>
                  </a:lnTo>
                  <a:lnTo>
                    <a:pt x="125" y="35"/>
                  </a:lnTo>
                  <a:lnTo>
                    <a:pt x="128" y="35"/>
                  </a:lnTo>
                  <a:lnTo>
                    <a:pt x="130" y="36"/>
                  </a:lnTo>
                  <a:lnTo>
                    <a:pt x="134" y="37"/>
                  </a:lnTo>
                  <a:lnTo>
                    <a:pt x="135" y="39"/>
                  </a:lnTo>
                  <a:lnTo>
                    <a:pt x="138" y="40"/>
                  </a:lnTo>
                  <a:lnTo>
                    <a:pt x="136" y="43"/>
                  </a:lnTo>
                  <a:lnTo>
                    <a:pt x="129" y="39"/>
                  </a:lnTo>
                  <a:lnTo>
                    <a:pt x="126" y="38"/>
                  </a:lnTo>
                  <a:lnTo>
                    <a:pt x="125" y="38"/>
                  </a:lnTo>
                  <a:lnTo>
                    <a:pt x="118" y="41"/>
                  </a:lnTo>
                  <a:lnTo>
                    <a:pt x="114" y="40"/>
                  </a:lnTo>
                  <a:lnTo>
                    <a:pt x="104" y="42"/>
                  </a:lnTo>
                  <a:lnTo>
                    <a:pt x="100" y="42"/>
                  </a:lnTo>
                  <a:lnTo>
                    <a:pt x="98" y="44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89" y="50"/>
                  </a:lnTo>
                  <a:lnTo>
                    <a:pt x="86" y="51"/>
                  </a:lnTo>
                  <a:lnTo>
                    <a:pt x="82" y="52"/>
                  </a:lnTo>
                  <a:lnTo>
                    <a:pt x="76" y="52"/>
                  </a:lnTo>
                  <a:lnTo>
                    <a:pt x="71" y="53"/>
                  </a:lnTo>
                  <a:lnTo>
                    <a:pt x="69" y="52"/>
                  </a:lnTo>
                  <a:lnTo>
                    <a:pt x="62" y="50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3" y="48"/>
                  </a:lnTo>
                  <a:lnTo>
                    <a:pt x="50" y="50"/>
                  </a:lnTo>
                  <a:lnTo>
                    <a:pt x="50" y="51"/>
                  </a:lnTo>
                  <a:lnTo>
                    <a:pt x="48" y="52"/>
                  </a:lnTo>
                  <a:lnTo>
                    <a:pt x="46" y="53"/>
                  </a:lnTo>
                  <a:lnTo>
                    <a:pt x="46" y="55"/>
                  </a:lnTo>
                  <a:lnTo>
                    <a:pt x="45" y="58"/>
                  </a:lnTo>
                  <a:lnTo>
                    <a:pt x="41" y="61"/>
                  </a:lnTo>
                  <a:lnTo>
                    <a:pt x="40" y="62"/>
                  </a:lnTo>
                  <a:lnTo>
                    <a:pt x="37" y="64"/>
                  </a:lnTo>
                  <a:lnTo>
                    <a:pt x="27" y="67"/>
                  </a:lnTo>
                  <a:lnTo>
                    <a:pt x="25" y="68"/>
                  </a:lnTo>
                  <a:lnTo>
                    <a:pt x="18" y="71"/>
                  </a:lnTo>
                  <a:lnTo>
                    <a:pt x="15" y="70"/>
                  </a:lnTo>
                  <a:lnTo>
                    <a:pt x="8" y="70"/>
                  </a:lnTo>
                  <a:lnTo>
                    <a:pt x="6" y="69"/>
                  </a:lnTo>
                  <a:lnTo>
                    <a:pt x="6" y="75"/>
                  </a:lnTo>
                  <a:lnTo>
                    <a:pt x="0" y="77"/>
                  </a:lnTo>
                  <a:lnTo>
                    <a:pt x="0" y="79"/>
                  </a:lnTo>
                  <a:lnTo>
                    <a:pt x="3" y="83"/>
                  </a:lnTo>
                  <a:lnTo>
                    <a:pt x="7" y="89"/>
                  </a:lnTo>
                  <a:lnTo>
                    <a:pt x="11" y="102"/>
                  </a:lnTo>
                  <a:lnTo>
                    <a:pt x="17" y="117"/>
                  </a:lnTo>
                  <a:lnTo>
                    <a:pt x="33" y="100"/>
                  </a:lnTo>
                  <a:lnTo>
                    <a:pt x="39" y="105"/>
                  </a:lnTo>
                  <a:lnTo>
                    <a:pt x="24" y="123"/>
                  </a:lnTo>
                  <a:lnTo>
                    <a:pt x="26" y="134"/>
                  </a:lnTo>
                  <a:lnTo>
                    <a:pt x="32" y="144"/>
                  </a:lnTo>
                  <a:lnTo>
                    <a:pt x="39" y="136"/>
                  </a:lnTo>
                  <a:lnTo>
                    <a:pt x="43" y="137"/>
                  </a:lnTo>
                  <a:lnTo>
                    <a:pt x="45" y="136"/>
                  </a:lnTo>
                  <a:lnTo>
                    <a:pt x="57" y="130"/>
                  </a:lnTo>
                  <a:lnTo>
                    <a:pt x="62" y="129"/>
                  </a:lnTo>
                  <a:lnTo>
                    <a:pt x="64" y="127"/>
                  </a:lnTo>
                  <a:lnTo>
                    <a:pt x="65" y="127"/>
                  </a:lnTo>
                  <a:lnTo>
                    <a:pt x="67" y="127"/>
                  </a:lnTo>
                  <a:lnTo>
                    <a:pt x="79" y="125"/>
                  </a:lnTo>
                  <a:lnTo>
                    <a:pt x="81" y="128"/>
                  </a:lnTo>
                  <a:lnTo>
                    <a:pt x="77" y="137"/>
                  </a:lnTo>
                  <a:lnTo>
                    <a:pt x="78" y="147"/>
                  </a:lnTo>
                  <a:lnTo>
                    <a:pt x="87" y="143"/>
                  </a:lnTo>
                  <a:lnTo>
                    <a:pt x="100" y="146"/>
                  </a:lnTo>
                  <a:lnTo>
                    <a:pt x="102" y="147"/>
                  </a:lnTo>
                  <a:lnTo>
                    <a:pt x="104" y="146"/>
                  </a:lnTo>
                  <a:lnTo>
                    <a:pt x="105" y="146"/>
                  </a:lnTo>
                  <a:lnTo>
                    <a:pt x="108" y="146"/>
                  </a:lnTo>
                  <a:lnTo>
                    <a:pt x="108" y="139"/>
                  </a:lnTo>
                  <a:lnTo>
                    <a:pt x="113" y="137"/>
                  </a:lnTo>
                  <a:lnTo>
                    <a:pt x="114" y="137"/>
                  </a:lnTo>
                  <a:lnTo>
                    <a:pt x="116" y="132"/>
                  </a:lnTo>
                  <a:lnTo>
                    <a:pt x="116" y="131"/>
                  </a:lnTo>
                  <a:lnTo>
                    <a:pt x="119" y="131"/>
                  </a:lnTo>
                  <a:lnTo>
                    <a:pt x="121" y="128"/>
                  </a:lnTo>
                  <a:lnTo>
                    <a:pt x="122" y="125"/>
                  </a:lnTo>
                  <a:lnTo>
                    <a:pt x="126" y="123"/>
                  </a:lnTo>
                  <a:lnTo>
                    <a:pt x="127" y="120"/>
                  </a:lnTo>
                  <a:lnTo>
                    <a:pt x="128" y="120"/>
                  </a:lnTo>
                  <a:lnTo>
                    <a:pt x="128" y="119"/>
                  </a:lnTo>
                  <a:lnTo>
                    <a:pt x="129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5" y="119"/>
                  </a:lnTo>
                  <a:lnTo>
                    <a:pt x="138" y="120"/>
                  </a:lnTo>
                  <a:lnTo>
                    <a:pt x="141" y="121"/>
                  </a:lnTo>
                  <a:lnTo>
                    <a:pt x="142" y="122"/>
                  </a:lnTo>
                  <a:lnTo>
                    <a:pt x="142" y="126"/>
                  </a:lnTo>
                  <a:lnTo>
                    <a:pt x="144" y="126"/>
                  </a:lnTo>
                  <a:lnTo>
                    <a:pt x="147" y="126"/>
                  </a:lnTo>
                  <a:lnTo>
                    <a:pt x="147" y="127"/>
                  </a:lnTo>
                  <a:lnTo>
                    <a:pt x="146" y="134"/>
                  </a:lnTo>
                  <a:lnTo>
                    <a:pt x="147" y="134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4" y="137"/>
                  </a:lnTo>
                  <a:lnTo>
                    <a:pt x="143" y="138"/>
                  </a:lnTo>
                  <a:lnTo>
                    <a:pt x="144" y="147"/>
                  </a:lnTo>
                  <a:lnTo>
                    <a:pt x="147" y="148"/>
                  </a:lnTo>
                  <a:lnTo>
                    <a:pt x="147" y="149"/>
                  </a:lnTo>
                  <a:lnTo>
                    <a:pt x="145" y="149"/>
                  </a:lnTo>
                  <a:lnTo>
                    <a:pt x="143" y="148"/>
                  </a:lnTo>
                  <a:lnTo>
                    <a:pt x="141" y="146"/>
                  </a:lnTo>
                  <a:lnTo>
                    <a:pt x="139" y="146"/>
                  </a:lnTo>
                  <a:lnTo>
                    <a:pt x="135" y="145"/>
                  </a:lnTo>
                  <a:lnTo>
                    <a:pt x="134" y="144"/>
                  </a:lnTo>
                  <a:lnTo>
                    <a:pt x="132" y="144"/>
                  </a:lnTo>
                  <a:lnTo>
                    <a:pt x="131" y="145"/>
                  </a:lnTo>
                  <a:lnTo>
                    <a:pt x="131" y="147"/>
                  </a:lnTo>
                  <a:lnTo>
                    <a:pt x="131" y="149"/>
                  </a:lnTo>
                  <a:lnTo>
                    <a:pt x="132" y="150"/>
                  </a:lnTo>
                  <a:lnTo>
                    <a:pt x="133" y="151"/>
                  </a:lnTo>
                  <a:lnTo>
                    <a:pt x="135" y="153"/>
                  </a:lnTo>
                  <a:lnTo>
                    <a:pt x="146" y="150"/>
                  </a:lnTo>
                  <a:lnTo>
                    <a:pt x="148" y="151"/>
                  </a:lnTo>
                  <a:lnTo>
                    <a:pt x="149" y="150"/>
                  </a:lnTo>
                  <a:lnTo>
                    <a:pt x="150" y="150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1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4" y="150"/>
                  </a:lnTo>
                  <a:lnTo>
                    <a:pt x="157" y="150"/>
                  </a:lnTo>
                  <a:lnTo>
                    <a:pt x="158" y="150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5" y="157"/>
                  </a:lnTo>
                  <a:lnTo>
                    <a:pt x="164" y="158"/>
                  </a:lnTo>
                  <a:lnTo>
                    <a:pt x="165" y="158"/>
                  </a:lnTo>
                  <a:lnTo>
                    <a:pt x="167" y="158"/>
                  </a:lnTo>
                  <a:lnTo>
                    <a:pt x="175" y="148"/>
                  </a:lnTo>
                  <a:lnTo>
                    <a:pt x="184" y="140"/>
                  </a:lnTo>
                  <a:lnTo>
                    <a:pt x="184" y="138"/>
                  </a:lnTo>
                  <a:lnTo>
                    <a:pt x="185" y="136"/>
                  </a:lnTo>
                  <a:lnTo>
                    <a:pt x="185" y="135"/>
                  </a:lnTo>
                  <a:lnTo>
                    <a:pt x="185" y="134"/>
                  </a:lnTo>
                  <a:lnTo>
                    <a:pt x="186" y="130"/>
                  </a:lnTo>
                  <a:lnTo>
                    <a:pt x="187" y="129"/>
                  </a:lnTo>
                  <a:lnTo>
                    <a:pt x="188" y="127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1" y="128"/>
                  </a:lnTo>
                  <a:lnTo>
                    <a:pt x="193" y="131"/>
                  </a:lnTo>
                  <a:lnTo>
                    <a:pt x="200" y="131"/>
                  </a:lnTo>
                  <a:lnTo>
                    <a:pt x="201" y="131"/>
                  </a:lnTo>
                  <a:lnTo>
                    <a:pt x="203" y="137"/>
                  </a:lnTo>
                  <a:lnTo>
                    <a:pt x="206" y="145"/>
                  </a:lnTo>
                  <a:lnTo>
                    <a:pt x="206" y="146"/>
                  </a:lnTo>
                  <a:lnTo>
                    <a:pt x="204" y="149"/>
                  </a:lnTo>
                  <a:lnTo>
                    <a:pt x="199" y="159"/>
                  </a:lnTo>
                  <a:lnTo>
                    <a:pt x="209" y="170"/>
                  </a:lnTo>
                  <a:lnTo>
                    <a:pt x="210" y="170"/>
                  </a:lnTo>
                  <a:lnTo>
                    <a:pt x="210" y="172"/>
                  </a:lnTo>
                  <a:lnTo>
                    <a:pt x="213" y="176"/>
                  </a:lnTo>
                  <a:lnTo>
                    <a:pt x="213" y="187"/>
                  </a:lnTo>
                  <a:lnTo>
                    <a:pt x="220" y="189"/>
                  </a:lnTo>
                  <a:lnTo>
                    <a:pt x="222" y="187"/>
                  </a:lnTo>
                  <a:lnTo>
                    <a:pt x="226" y="185"/>
                  </a:lnTo>
                  <a:lnTo>
                    <a:pt x="228" y="185"/>
                  </a:lnTo>
                  <a:lnTo>
                    <a:pt x="228" y="184"/>
                  </a:lnTo>
                  <a:lnTo>
                    <a:pt x="238" y="191"/>
                  </a:lnTo>
                  <a:lnTo>
                    <a:pt x="234" y="204"/>
                  </a:lnTo>
                  <a:lnTo>
                    <a:pt x="237" y="206"/>
                  </a:lnTo>
                  <a:lnTo>
                    <a:pt x="240" y="206"/>
                  </a:lnTo>
                  <a:lnTo>
                    <a:pt x="243" y="205"/>
                  </a:lnTo>
                  <a:lnTo>
                    <a:pt x="250" y="206"/>
                  </a:lnTo>
                  <a:lnTo>
                    <a:pt x="254" y="206"/>
                  </a:lnTo>
                  <a:lnTo>
                    <a:pt x="259" y="206"/>
                  </a:lnTo>
                  <a:lnTo>
                    <a:pt x="261" y="204"/>
                  </a:lnTo>
                  <a:lnTo>
                    <a:pt x="261" y="202"/>
                  </a:lnTo>
                  <a:lnTo>
                    <a:pt x="277" y="206"/>
                  </a:lnTo>
                  <a:lnTo>
                    <a:pt x="277" y="207"/>
                  </a:lnTo>
                  <a:lnTo>
                    <a:pt x="281" y="201"/>
                  </a:lnTo>
                  <a:lnTo>
                    <a:pt x="282" y="201"/>
                  </a:lnTo>
                  <a:lnTo>
                    <a:pt x="284" y="199"/>
                  </a:lnTo>
                  <a:lnTo>
                    <a:pt x="288" y="199"/>
                  </a:lnTo>
                  <a:lnTo>
                    <a:pt x="291" y="196"/>
                  </a:lnTo>
                  <a:lnTo>
                    <a:pt x="291" y="195"/>
                  </a:lnTo>
                  <a:lnTo>
                    <a:pt x="293" y="193"/>
                  </a:lnTo>
                  <a:lnTo>
                    <a:pt x="300" y="195"/>
                  </a:lnTo>
                  <a:lnTo>
                    <a:pt x="301" y="196"/>
                  </a:lnTo>
                  <a:lnTo>
                    <a:pt x="303" y="199"/>
                  </a:lnTo>
                  <a:lnTo>
                    <a:pt x="306" y="203"/>
                  </a:lnTo>
                  <a:lnTo>
                    <a:pt x="309" y="205"/>
                  </a:lnTo>
                  <a:lnTo>
                    <a:pt x="310" y="206"/>
                  </a:lnTo>
                  <a:lnTo>
                    <a:pt x="309" y="213"/>
                  </a:lnTo>
                  <a:lnTo>
                    <a:pt x="310" y="219"/>
                  </a:lnTo>
                  <a:lnTo>
                    <a:pt x="313" y="219"/>
                  </a:lnTo>
                  <a:lnTo>
                    <a:pt x="317" y="218"/>
                  </a:lnTo>
                  <a:lnTo>
                    <a:pt x="325" y="216"/>
                  </a:lnTo>
                  <a:lnTo>
                    <a:pt x="326" y="201"/>
                  </a:lnTo>
                  <a:lnTo>
                    <a:pt x="336" y="186"/>
                  </a:lnTo>
                  <a:lnTo>
                    <a:pt x="351" y="178"/>
                  </a:lnTo>
                  <a:lnTo>
                    <a:pt x="379" y="170"/>
                  </a:lnTo>
                  <a:lnTo>
                    <a:pt x="392" y="158"/>
                  </a:lnTo>
                  <a:lnTo>
                    <a:pt x="379" y="138"/>
                  </a:lnTo>
                  <a:lnTo>
                    <a:pt x="376" y="122"/>
                  </a:lnTo>
                  <a:lnTo>
                    <a:pt x="373" y="116"/>
                  </a:lnTo>
                  <a:lnTo>
                    <a:pt x="370" y="94"/>
                  </a:lnTo>
                  <a:lnTo>
                    <a:pt x="380" y="96"/>
                  </a:lnTo>
                  <a:lnTo>
                    <a:pt x="385" y="99"/>
                  </a:lnTo>
                  <a:lnTo>
                    <a:pt x="395" y="97"/>
                  </a:lnTo>
                  <a:lnTo>
                    <a:pt x="407" y="92"/>
                  </a:lnTo>
                  <a:lnTo>
                    <a:pt x="410" y="94"/>
                  </a:lnTo>
                  <a:lnTo>
                    <a:pt x="413" y="98"/>
                  </a:lnTo>
                  <a:lnTo>
                    <a:pt x="416" y="96"/>
                  </a:lnTo>
                  <a:lnTo>
                    <a:pt x="418" y="96"/>
                  </a:lnTo>
                  <a:lnTo>
                    <a:pt x="416" y="88"/>
                  </a:lnTo>
                  <a:lnTo>
                    <a:pt x="412" y="76"/>
                  </a:lnTo>
                  <a:lnTo>
                    <a:pt x="407" y="70"/>
                  </a:lnTo>
                  <a:lnTo>
                    <a:pt x="401" y="65"/>
                  </a:lnTo>
                  <a:lnTo>
                    <a:pt x="402" y="58"/>
                  </a:lnTo>
                  <a:lnTo>
                    <a:pt x="398" y="57"/>
                  </a:lnTo>
                  <a:lnTo>
                    <a:pt x="399" y="53"/>
                  </a:lnTo>
                  <a:lnTo>
                    <a:pt x="399" y="45"/>
                  </a:lnTo>
                  <a:lnTo>
                    <a:pt x="396" y="42"/>
                  </a:lnTo>
                  <a:lnTo>
                    <a:pt x="391" y="41"/>
                  </a:lnTo>
                  <a:lnTo>
                    <a:pt x="386" y="40"/>
                  </a:lnTo>
                  <a:lnTo>
                    <a:pt x="383" y="38"/>
                  </a:lnTo>
                  <a:lnTo>
                    <a:pt x="381" y="32"/>
                  </a:lnTo>
                  <a:lnTo>
                    <a:pt x="380" y="27"/>
                  </a:lnTo>
                  <a:lnTo>
                    <a:pt x="377" y="26"/>
                  </a:lnTo>
                  <a:lnTo>
                    <a:pt x="370" y="25"/>
                  </a:lnTo>
                  <a:lnTo>
                    <a:pt x="364" y="26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3" name="Freeform 67"/>
            <p:cNvSpPr>
              <a:spLocks/>
            </p:cNvSpPr>
            <p:nvPr/>
          </p:nvSpPr>
          <p:spPr bwMode="auto">
            <a:xfrm>
              <a:off x="1260" y="1918"/>
              <a:ext cx="0" cy="1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3">
                  <a:pos x="0" y="T0"/>
                </a:cxn>
                <a:cxn ang="T4">
                  <a:pos x="0" y="T1"/>
                </a:cxn>
                <a:cxn ang="T5">
                  <a:pos x="0" y="T2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4" name="Freeform 68"/>
            <p:cNvSpPr>
              <a:spLocks/>
            </p:cNvSpPr>
            <p:nvPr/>
          </p:nvSpPr>
          <p:spPr bwMode="auto">
            <a:xfrm>
              <a:off x="1168" y="1785"/>
              <a:ext cx="557" cy="491"/>
            </a:xfrm>
            <a:custGeom>
              <a:avLst/>
              <a:gdLst>
                <a:gd name="T0" fmla="*/ 172378385 w 286"/>
                <a:gd name="T1" fmla="*/ 49480930 h 263"/>
                <a:gd name="T2" fmla="*/ 176275007 w 286"/>
                <a:gd name="T3" fmla="*/ 45774871 h 263"/>
                <a:gd name="T4" fmla="*/ 170621368 w 286"/>
                <a:gd name="T5" fmla="*/ 41508363 h 263"/>
                <a:gd name="T6" fmla="*/ 165272687 w 286"/>
                <a:gd name="T7" fmla="*/ 36252285 h 263"/>
                <a:gd name="T8" fmla="*/ 159991046 w 286"/>
                <a:gd name="T9" fmla="*/ 37559101 h 263"/>
                <a:gd name="T10" fmla="*/ 145566865 w 286"/>
                <a:gd name="T11" fmla="*/ 36252285 h 263"/>
                <a:gd name="T12" fmla="*/ 124327512 w 286"/>
                <a:gd name="T13" fmla="*/ 33866357 h 263"/>
                <a:gd name="T14" fmla="*/ 125553810 w 286"/>
                <a:gd name="T15" fmla="*/ 27761939 h 263"/>
                <a:gd name="T16" fmla="*/ 131291691 w 286"/>
                <a:gd name="T17" fmla="*/ 26781199 h 263"/>
                <a:gd name="T18" fmla="*/ 126234145 w 286"/>
                <a:gd name="T19" fmla="*/ 24063748 h 263"/>
                <a:gd name="T20" fmla="*/ 111122197 w 286"/>
                <a:gd name="T21" fmla="*/ 15850778 h 263"/>
                <a:gd name="T22" fmla="*/ 95521095 w 286"/>
                <a:gd name="T23" fmla="*/ 21102146 h 263"/>
                <a:gd name="T24" fmla="*/ 87608099 w 286"/>
                <a:gd name="T25" fmla="*/ 21383451 h 263"/>
                <a:gd name="T26" fmla="*/ 78177388 w 286"/>
                <a:gd name="T27" fmla="*/ 20730670 h 263"/>
                <a:gd name="T28" fmla="*/ 71490451 w 286"/>
                <a:gd name="T29" fmla="*/ 16831967 h 263"/>
                <a:gd name="T30" fmla="*/ 64467486 w 286"/>
                <a:gd name="T31" fmla="*/ 16831967 h 263"/>
                <a:gd name="T32" fmla="*/ 55386134 w 286"/>
                <a:gd name="T33" fmla="*/ 16456584 h 263"/>
                <a:gd name="T34" fmla="*/ 46826164 w 286"/>
                <a:gd name="T35" fmla="*/ 11627679 h 263"/>
                <a:gd name="T36" fmla="*/ 51321813 w 286"/>
                <a:gd name="T37" fmla="*/ 7359267 h 263"/>
                <a:gd name="T38" fmla="*/ 48701336 w 286"/>
                <a:gd name="T39" fmla="*/ 2111461 h 263"/>
                <a:gd name="T40" fmla="*/ 33802349 w 286"/>
                <a:gd name="T41" fmla="*/ 980350 h 263"/>
                <a:gd name="T42" fmla="*/ 27807604 w 286"/>
                <a:gd name="T43" fmla="*/ 3135046 h 263"/>
                <a:gd name="T44" fmla="*/ 21469526 w 286"/>
                <a:gd name="T45" fmla="*/ 2111461 h 263"/>
                <a:gd name="T46" fmla="*/ 13655034 w 286"/>
                <a:gd name="T47" fmla="*/ 3941929 h 263"/>
                <a:gd name="T48" fmla="*/ 1932889 w 286"/>
                <a:gd name="T49" fmla="*/ 3698163 h 263"/>
                <a:gd name="T50" fmla="*/ 9772900 w 286"/>
                <a:gd name="T51" fmla="*/ 6379085 h 263"/>
                <a:gd name="T52" fmla="*/ 20262610 w 286"/>
                <a:gd name="T53" fmla="*/ 9470752 h 263"/>
                <a:gd name="T54" fmla="*/ 24043596 w 286"/>
                <a:gd name="T55" fmla="*/ 13739164 h 263"/>
                <a:gd name="T56" fmla="*/ 21469526 w 286"/>
                <a:gd name="T57" fmla="*/ 16700390 h 263"/>
                <a:gd name="T58" fmla="*/ 29431311 w 286"/>
                <a:gd name="T59" fmla="*/ 17681138 h 263"/>
                <a:gd name="T60" fmla="*/ 30705427 w 286"/>
                <a:gd name="T61" fmla="*/ 19793771 h 263"/>
                <a:gd name="T62" fmla="*/ 22100144 w 286"/>
                <a:gd name="T63" fmla="*/ 21383451 h 263"/>
                <a:gd name="T64" fmla="*/ 6687687 w 286"/>
                <a:gd name="T65" fmla="*/ 22515169 h 263"/>
                <a:gd name="T66" fmla="*/ 3764403 w 286"/>
                <a:gd name="T67" fmla="*/ 24800309 h 263"/>
                <a:gd name="T68" fmla="*/ 8593904 w 286"/>
                <a:gd name="T69" fmla="*/ 27761939 h 263"/>
                <a:gd name="T70" fmla="*/ 16737079 w 286"/>
                <a:gd name="T71" fmla="*/ 33866357 h 263"/>
                <a:gd name="T72" fmla="*/ 29431311 w 286"/>
                <a:gd name="T73" fmla="*/ 32560734 h 263"/>
                <a:gd name="T74" fmla="*/ 41813028 w 286"/>
                <a:gd name="T75" fmla="*/ 35648495 h 263"/>
                <a:gd name="T76" fmla="*/ 43729657 w 286"/>
                <a:gd name="T77" fmla="*/ 40195862 h 263"/>
                <a:gd name="T78" fmla="*/ 45446923 w 286"/>
                <a:gd name="T79" fmla="*/ 44188727 h 263"/>
                <a:gd name="T80" fmla="*/ 41132138 w 286"/>
                <a:gd name="T81" fmla="*/ 46581461 h 263"/>
                <a:gd name="T82" fmla="*/ 39462496 w 286"/>
                <a:gd name="T83" fmla="*/ 50543626 h 263"/>
                <a:gd name="T84" fmla="*/ 44387135 w 286"/>
                <a:gd name="T85" fmla="*/ 54560992 h 263"/>
                <a:gd name="T86" fmla="*/ 48701336 w 286"/>
                <a:gd name="T87" fmla="*/ 56701681 h 263"/>
                <a:gd name="T88" fmla="*/ 51321813 w 286"/>
                <a:gd name="T89" fmla="*/ 58991111 h 263"/>
                <a:gd name="T90" fmla="*/ 57319022 w 286"/>
                <a:gd name="T91" fmla="*/ 58207387 h 263"/>
                <a:gd name="T92" fmla="*/ 70167463 w 286"/>
                <a:gd name="T93" fmla="*/ 58991111 h 263"/>
                <a:gd name="T94" fmla="*/ 85767240 w 286"/>
                <a:gd name="T95" fmla="*/ 57357627 h 263"/>
                <a:gd name="T96" fmla="*/ 94291650 w 286"/>
                <a:gd name="T97" fmla="*/ 62934737 h 263"/>
                <a:gd name="T98" fmla="*/ 108545844 w 286"/>
                <a:gd name="T99" fmla="*/ 62934737 h 263"/>
                <a:gd name="T100" fmla="*/ 115233498 w 286"/>
                <a:gd name="T101" fmla="*/ 63737517 h 263"/>
                <a:gd name="T102" fmla="*/ 120204443 w 286"/>
                <a:gd name="T103" fmla="*/ 67167420 h 263"/>
                <a:gd name="T104" fmla="*/ 134543858 w 286"/>
                <a:gd name="T105" fmla="*/ 69603695 h 263"/>
                <a:gd name="T106" fmla="*/ 149001255 w 286"/>
                <a:gd name="T107" fmla="*/ 67680121 h 263"/>
                <a:gd name="T108" fmla="*/ 153994133 w 286"/>
                <a:gd name="T109" fmla="*/ 63456295 h 263"/>
                <a:gd name="T110" fmla="*/ 163933656 w 286"/>
                <a:gd name="T111" fmla="*/ 58991111 h 263"/>
                <a:gd name="T112" fmla="*/ 169587324 w 286"/>
                <a:gd name="T113" fmla="*/ 58502947 h 263"/>
                <a:gd name="T114" fmla="*/ 175631255 w 286"/>
                <a:gd name="T115" fmla="*/ 56846923 h 263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86" h="263">
                  <a:moveTo>
                    <a:pt x="277" y="204"/>
                  </a:moveTo>
                  <a:lnTo>
                    <a:pt x="276" y="204"/>
                  </a:lnTo>
                  <a:lnTo>
                    <a:pt x="276" y="198"/>
                  </a:lnTo>
                  <a:lnTo>
                    <a:pt x="279" y="190"/>
                  </a:lnTo>
                  <a:lnTo>
                    <a:pt x="280" y="187"/>
                  </a:lnTo>
                  <a:lnTo>
                    <a:pt x="280" y="186"/>
                  </a:lnTo>
                  <a:lnTo>
                    <a:pt x="281" y="184"/>
                  </a:lnTo>
                  <a:lnTo>
                    <a:pt x="282" y="180"/>
                  </a:lnTo>
                  <a:lnTo>
                    <a:pt x="286" y="175"/>
                  </a:lnTo>
                  <a:lnTo>
                    <a:pt x="286" y="173"/>
                  </a:lnTo>
                  <a:lnTo>
                    <a:pt x="285" y="167"/>
                  </a:lnTo>
                  <a:lnTo>
                    <a:pt x="284" y="163"/>
                  </a:lnTo>
                  <a:lnTo>
                    <a:pt x="282" y="159"/>
                  </a:lnTo>
                  <a:lnTo>
                    <a:pt x="282" y="158"/>
                  </a:lnTo>
                  <a:lnTo>
                    <a:pt x="277" y="157"/>
                  </a:lnTo>
                  <a:lnTo>
                    <a:pt x="276" y="155"/>
                  </a:lnTo>
                  <a:lnTo>
                    <a:pt x="274" y="150"/>
                  </a:lnTo>
                  <a:lnTo>
                    <a:pt x="271" y="147"/>
                  </a:lnTo>
                  <a:lnTo>
                    <a:pt x="270" y="141"/>
                  </a:lnTo>
                  <a:lnTo>
                    <a:pt x="268" y="137"/>
                  </a:lnTo>
                  <a:lnTo>
                    <a:pt x="267" y="134"/>
                  </a:lnTo>
                  <a:lnTo>
                    <a:pt x="266" y="133"/>
                  </a:lnTo>
                  <a:lnTo>
                    <a:pt x="264" y="135"/>
                  </a:lnTo>
                  <a:lnTo>
                    <a:pt x="263" y="136"/>
                  </a:lnTo>
                  <a:lnTo>
                    <a:pt x="260" y="142"/>
                  </a:lnTo>
                  <a:lnTo>
                    <a:pt x="257" y="145"/>
                  </a:lnTo>
                  <a:lnTo>
                    <a:pt x="256" y="146"/>
                  </a:lnTo>
                  <a:lnTo>
                    <a:pt x="238" y="140"/>
                  </a:lnTo>
                  <a:lnTo>
                    <a:pt x="236" y="140"/>
                  </a:lnTo>
                  <a:lnTo>
                    <a:pt x="236" y="137"/>
                  </a:lnTo>
                  <a:lnTo>
                    <a:pt x="219" y="137"/>
                  </a:lnTo>
                  <a:lnTo>
                    <a:pt x="213" y="135"/>
                  </a:lnTo>
                  <a:lnTo>
                    <a:pt x="209" y="133"/>
                  </a:lnTo>
                  <a:lnTo>
                    <a:pt x="206" y="131"/>
                  </a:lnTo>
                  <a:lnTo>
                    <a:pt x="202" y="128"/>
                  </a:lnTo>
                  <a:lnTo>
                    <a:pt x="202" y="121"/>
                  </a:lnTo>
                  <a:lnTo>
                    <a:pt x="203" y="115"/>
                  </a:lnTo>
                  <a:lnTo>
                    <a:pt x="198" y="104"/>
                  </a:lnTo>
                  <a:lnTo>
                    <a:pt x="199" y="104"/>
                  </a:lnTo>
                  <a:lnTo>
                    <a:pt x="204" y="105"/>
                  </a:lnTo>
                  <a:lnTo>
                    <a:pt x="206" y="104"/>
                  </a:lnTo>
                  <a:lnTo>
                    <a:pt x="207" y="100"/>
                  </a:lnTo>
                  <a:lnTo>
                    <a:pt x="209" y="101"/>
                  </a:lnTo>
                  <a:lnTo>
                    <a:pt x="210" y="100"/>
                  </a:lnTo>
                  <a:lnTo>
                    <a:pt x="213" y="101"/>
                  </a:lnTo>
                  <a:lnTo>
                    <a:pt x="214" y="101"/>
                  </a:lnTo>
                  <a:lnTo>
                    <a:pt x="213" y="99"/>
                  </a:lnTo>
                  <a:lnTo>
                    <a:pt x="208" y="94"/>
                  </a:lnTo>
                  <a:lnTo>
                    <a:pt x="207" y="93"/>
                  </a:lnTo>
                  <a:lnTo>
                    <a:pt x="205" y="91"/>
                  </a:lnTo>
                  <a:lnTo>
                    <a:pt x="207" y="81"/>
                  </a:lnTo>
                  <a:lnTo>
                    <a:pt x="204" y="77"/>
                  </a:lnTo>
                  <a:lnTo>
                    <a:pt x="200" y="77"/>
                  </a:lnTo>
                  <a:lnTo>
                    <a:pt x="200" y="69"/>
                  </a:lnTo>
                  <a:lnTo>
                    <a:pt x="180" y="60"/>
                  </a:lnTo>
                  <a:lnTo>
                    <a:pt x="165" y="64"/>
                  </a:lnTo>
                  <a:lnTo>
                    <a:pt x="158" y="71"/>
                  </a:lnTo>
                  <a:lnTo>
                    <a:pt x="158" y="76"/>
                  </a:lnTo>
                  <a:lnTo>
                    <a:pt x="158" y="82"/>
                  </a:lnTo>
                  <a:lnTo>
                    <a:pt x="155" y="80"/>
                  </a:lnTo>
                  <a:lnTo>
                    <a:pt x="151" y="80"/>
                  </a:lnTo>
                  <a:lnTo>
                    <a:pt x="149" y="79"/>
                  </a:lnTo>
                  <a:lnTo>
                    <a:pt x="147" y="79"/>
                  </a:lnTo>
                  <a:lnTo>
                    <a:pt x="146" y="82"/>
                  </a:lnTo>
                  <a:lnTo>
                    <a:pt x="142" y="81"/>
                  </a:lnTo>
                  <a:lnTo>
                    <a:pt x="140" y="79"/>
                  </a:lnTo>
                  <a:lnTo>
                    <a:pt x="135" y="80"/>
                  </a:lnTo>
                  <a:lnTo>
                    <a:pt x="132" y="81"/>
                  </a:lnTo>
                  <a:lnTo>
                    <a:pt x="129" y="82"/>
                  </a:lnTo>
                  <a:lnTo>
                    <a:pt x="127" y="78"/>
                  </a:lnTo>
                  <a:lnTo>
                    <a:pt x="127" y="76"/>
                  </a:lnTo>
                  <a:lnTo>
                    <a:pt x="124" y="72"/>
                  </a:lnTo>
                  <a:lnTo>
                    <a:pt x="121" y="69"/>
                  </a:lnTo>
                  <a:lnTo>
                    <a:pt x="116" y="67"/>
                  </a:lnTo>
                  <a:lnTo>
                    <a:pt x="116" y="64"/>
                  </a:lnTo>
                  <a:lnTo>
                    <a:pt x="115" y="63"/>
                  </a:lnTo>
                  <a:lnTo>
                    <a:pt x="112" y="64"/>
                  </a:lnTo>
                  <a:lnTo>
                    <a:pt x="109" y="65"/>
                  </a:lnTo>
                  <a:lnTo>
                    <a:pt x="107" y="64"/>
                  </a:lnTo>
                  <a:lnTo>
                    <a:pt x="105" y="64"/>
                  </a:lnTo>
                  <a:lnTo>
                    <a:pt x="103" y="64"/>
                  </a:lnTo>
                  <a:lnTo>
                    <a:pt x="100" y="62"/>
                  </a:lnTo>
                  <a:lnTo>
                    <a:pt x="98" y="60"/>
                  </a:lnTo>
                  <a:lnTo>
                    <a:pt x="91" y="59"/>
                  </a:lnTo>
                  <a:lnTo>
                    <a:pt x="90" y="62"/>
                  </a:lnTo>
                  <a:lnTo>
                    <a:pt x="87" y="60"/>
                  </a:lnTo>
                  <a:lnTo>
                    <a:pt x="83" y="59"/>
                  </a:lnTo>
                  <a:lnTo>
                    <a:pt x="80" y="56"/>
                  </a:lnTo>
                  <a:lnTo>
                    <a:pt x="79" y="50"/>
                  </a:lnTo>
                  <a:lnTo>
                    <a:pt x="76" y="44"/>
                  </a:lnTo>
                  <a:lnTo>
                    <a:pt x="73" y="39"/>
                  </a:lnTo>
                  <a:lnTo>
                    <a:pt x="73" y="36"/>
                  </a:lnTo>
                  <a:lnTo>
                    <a:pt x="74" y="34"/>
                  </a:lnTo>
                  <a:lnTo>
                    <a:pt x="79" y="32"/>
                  </a:lnTo>
                  <a:lnTo>
                    <a:pt x="83" y="28"/>
                  </a:lnTo>
                  <a:lnTo>
                    <a:pt x="87" y="24"/>
                  </a:lnTo>
                  <a:lnTo>
                    <a:pt x="90" y="20"/>
                  </a:lnTo>
                  <a:lnTo>
                    <a:pt x="86" y="16"/>
                  </a:lnTo>
                  <a:lnTo>
                    <a:pt x="83" y="12"/>
                  </a:lnTo>
                  <a:lnTo>
                    <a:pt x="79" y="8"/>
                  </a:lnTo>
                  <a:lnTo>
                    <a:pt x="76" y="5"/>
                  </a:lnTo>
                  <a:lnTo>
                    <a:pt x="74" y="2"/>
                  </a:lnTo>
                  <a:lnTo>
                    <a:pt x="72" y="0"/>
                  </a:lnTo>
                  <a:lnTo>
                    <a:pt x="62" y="4"/>
                  </a:lnTo>
                  <a:lnTo>
                    <a:pt x="55" y="4"/>
                  </a:lnTo>
                  <a:lnTo>
                    <a:pt x="56" y="8"/>
                  </a:lnTo>
                  <a:lnTo>
                    <a:pt x="53" y="11"/>
                  </a:lnTo>
                  <a:lnTo>
                    <a:pt x="50" y="13"/>
                  </a:lnTo>
                  <a:lnTo>
                    <a:pt x="49" y="11"/>
                  </a:lnTo>
                  <a:lnTo>
                    <a:pt x="45" y="12"/>
                  </a:lnTo>
                  <a:lnTo>
                    <a:pt x="43" y="12"/>
                  </a:lnTo>
                  <a:lnTo>
                    <a:pt x="40" y="8"/>
                  </a:lnTo>
                  <a:lnTo>
                    <a:pt x="38" y="4"/>
                  </a:lnTo>
                  <a:lnTo>
                    <a:pt x="36" y="5"/>
                  </a:lnTo>
                  <a:lnTo>
                    <a:pt x="35" y="8"/>
                  </a:lnTo>
                  <a:lnTo>
                    <a:pt x="29" y="7"/>
                  </a:lnTo>
                  <a:lnTo>
                    <a:pt x="27" y="9"/>
                  </a:lnTo>
                  <a:lnTo>
                    <a:pt x="27" y="11"/>
                  </a:lnTo>
                  <a:lnTo>
                    <a:pt x="24" y="14"/>
                  </a:lnTo>
                  <a:lnTo>
                    <a:pt x="22" y="15"/>
                  </a:lnTo>
                  <a:lnTo>
                    <a:pt x="21" y="18"/>
                  </a:lnTo>
                  <a:lnTo>
                    <a:pt x="17" y="20"/>
                  </a:lnTo>
                  <a:lnTo>
                    <a:pt x="12" y="18"/>
                  </a:lnTo>
                  <a:lnTo>
                    <a:pt x="9" y="18"/>
                  </a:lnTo>
                  <a:lnTo>
                    <a:pt x="3" y="14"/>
                  </a:lnTo>
                  <a:lnTo>
                    <a:pt x="0" y="16"/>
                  </a:lnTo>
                  <a:lnTo>
                    <a:pt x="4" y="18"/>
                  </a:lnTo>
                  <a:lnTo>
                    <a:pt x="6" y="22"/>
                  </a:lnTo>
                  <a:lnTo>
                    <a:pt x="8" y="24"/>
                  </a:lnTo>
                  <a:lnTo>
                    <a:pt x="16" y="24"/>
                  </a:lnTo>
                  <a:lnTo>
                    <a:pt x="19" y="25"/>
                  </a:lnTo>
                  <a:lnTo>
                    <a:pt x="24" y="28"/>
                  </a:lnTo>
                  <a:lnTo>
                    <a:pt x="27" y="31"/>
                  </a:lnTo>
                  <a:lnTo>
                    <a:pt x="30" y="33"/>
                  </a:lnTo>
                  <a:lnTo>
                    <a:pt x="33" y="36"/>
                  </a:lnTo>
                  <a:lnTo>
                    <a:pt x="35" y="40"/>
                  </a:lnTo>
                  <a:lnTo>
                    <a:pt x="37" y="43"/>
                  </a:lnTo>
                  <a:lnTo>
                    <a:pt x="39" y="46"/>
                  </a:lnTo>
                  <a:lnTo>
                    <a:pt x="39" y="48"/>
                  </a:lnTo>
                  <a:lnTo>
                    <a:pt x="39" y="52"/>
                  </a:lnTo>
                  <a:lnTo>
                    <a:pt x="39" y="55"/>
                  </a:lnTo>
                  <a:lnTo>
                    <a:pt x="38" y="56"/>
                  </a:lnTo>
                  <a:lnTo>
                    <a:pt x="37" y="58"/>
                  </a:lnTo>
                  <a:lnTo>
                    <a:pt x="36" y="59"/>
                  </a:lnTo>
                  <a:lnTo>
                    <a:pt x="35" y="63"/>
                  </a:lnTo>
                  <a:lnTo>
                    <a:pt x="37" y="64"/>
                  </a:lnTo>
                  <a:lnTo>
                    <a:pt x="40" y="64"/>
                  </a:lnTo>
                  <a:lnTo>
                    <a:pt x="41" y="65"/>
                  </a:lnTo>
                  <a:lnTo>
                    <a:pt x="45" y="66"/>
                  </a:lnTo>
                  <a:lnTo>
                    <a:pt x="48" y="67"/>
                  </a:lnTo>
                  <a:cubicBezTo>
                    <a:pt x="48" y="68"/>
                    <a:pt x="48" y="69"/>
                    <a:pt x="47" y="70"/>
                  </a:cubicBezTo>
                  <a:lnTo>
                    <a:pt x="50" y="73"/>
                  </a:lnTo>
                  <a:lnTo>
                    <a:pt x="51" y="73"/>
                  </a:lnTo>
                  <a:lnTo>
                    <a:pt x="51" y="75"/>
                  </a:lnTo>
                  <a:lnTo>
                    <a:pt x="50" y="75"/>
                  </a:lnTo>
                  <a:lnTo>
                    <a:pt x="49" y="75"/>
                  </a:lnTo>
                  <a:lnTo>
                    <a:pt x="43" y="79"/>
                  </a:lnTo>
                  <a:lnTo>
                    <a:pt x="40" y="80"/>
                  </a:lnTo>
                  <a:lnTo>
                    <a:pt x="36" y="80"/>
                  </a:lnTo>
                  <a:lnTo>
                    <a:pt x="36" y="81"/>
                  </a:lnTo>
                  <a:lnTo>
                    <a:pt x="31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5" y="82"/>
                  </a:lnTo>
                  <a:lnTo>
                    <a:pt x="11" y="85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10" y="94"/>
                  </a:lnTo>
                  <a:lnTo>
                    <a:pt x="9" y="94"/>
                  </a:lnTo>
                  <a:lnTo>
                    <a:pt x="6" y="94"/>
                  </a:lnTo>
                  <a:lnTo>
                    <a:pt x="5" y="95"/>
                  </a:lnTo>
                  <a:lnTo>
                    <a:pt x="8" y="97"/>
                  </a:lnTo>
                  <a:lnTo>
                    <a:pt x="10" y="97"/>
                  </a:lnTo>
                  <a:lnTo>
                    <a:pt x="12" y="103"/>
                  </a:lnTo>
                  <a:lnTo>
                    <a:pt x="14" y="105"/>
                  </a:lnTo>
                  <a:lnTo>
                    <a:pt x="15" y="107"/>
                  </a:lnTo>
                  <a:lnTo>
                    <a:pt x="17" y="117"/>
                  </a:lnTo>
                  <a:lnTo>
                    <a:pt x="19" y="118"/>
                  </a:lnTo>
                  <a:lnTo>
                    <a:pt x="23" y="122"/>
                  </a:lnTo>
                  <a:lnTo>
                    <a:pt x="27" y="128"/>
                  </a:lnTo>
                  <a:lnTo>
                    <a:pt x="29" y="134"/>
                  </a:lnTo>
                  <a:lnTo>
                    <a:pt x="33" y="132"/>
                  </a:lnTo>
                  <a:lnTo>
                    <a:pt x="35" y="130"/>
                  </a:lnTo>
                  <a:lnTo>
                    <a:pt x="38" y="133"/>
                  </a:lnTo>
                  <a:lnTo>
                    <a:pt x="48" y="123"/>
                  </a:lnTo>
                  <a:lnTo>
                    <a:pt x="52" y="122"/>
                  </a:lnTo>
                  <a:lnTo>
                    <a:pt x="56" y="123"/>
                  </a:lnTo>
                  <a:lnTo>
                    <a:pt x="59" y="128"/>
                  </a:lnTo>
                  <a:lnTo>
                    <a:pt x="60" y="131"/>
                  </a:lnTo>
                  <a:lnTo>
                    <a:pt x="68" y="135"/>
                  </a:lnTo>
                  <a:lnTo>
                    <a:pt x="68" y="137"/>
                  </a:lnTo>
                  <a:lnTo>
                    <a:pt x="69" y="144"/>
                  </a:lnTo>
                  <a:lnTo>
                    <a:pt x="71" y="148"/>
                  </a:lnTo>
                  <a:lnTo>
                    <a:pt x="72" y="149"/>
                  </a:lnTo>
                  <a:lnTo>
                    <a:pt x="71" y="152"/>
                  </a:lnTo>
                  <a:lnTo>
                    <a:pt x="71" y="155"/>
                  </a:lnTo>
                  <a:lnTo>
                    <a:pt x="71" y="158"/>
                  </a:lnTo>
                  <a:lnTo>
                    <a:pt x="75" y="158"/>
                  </a:lnTo>
                  <a:lnTo>
                    <a:pt x="74" y="162"/>
                  </a:lnTo>
                  <a:lnTo>
                    <a:pt x="74" y="167"/>
                  </a:lnTo>
                  <a:lnTo>
                    <a:pt x="71" y="169"/>
                  </a:lnTo>
                  <a:lnTo>
                    <a:pt x="67" y="171"/>
                  </a:lnTo>
                  <a:lnTo>
                    <a:pt x="63" y="173"/>
                  </a:lnTo>
                  <a:lnTo>
                    <a:pt x="66" y="174"/>
                  </a:lnTo>
                  <a:lnTo>
                    <a:pt x="67" y="176"/>
                  </a:lnTo>
                  <a:lnTo>
                    <a:pt x="62" y="178"/>
                  </a:lnTo>
                  <a:lnTo>
                    <a:pt x="63" y="183"/>
                  </a:lnTo>
                  <a:lnTo>
                    <a:pt x="62" y="188"/>
                  </a:lnTo>
                  <a:lnTo>
                    <a:pt x="61" y="191"/>
                  </a:lnTo>
                  <a:lnTo>
                    <a:pt x="64" y="191"/>
                  </a:lnTo>
                  <a:lnTo>
                    <a:pt x="65" y="194"/>
                  </a:lnTo>
                  <a:lnTo>
                    <a:pt x="65" y="196"/>
                  </a:lnTo>
                  <a:lnTo>
                    <a:pt x="69" y="197"/>
                  </a:lnTo>
                  <a:lnTo>
                    <a:pt x="69" y="200"/>
                  </a:lnTo>
                  <a:lnTo>
                    <a:pt x="72" y="206"/>
                  </a:lnTo>
                  <a:lnTo>
                    <a:pt x="74" y="207"/>
                  </a:lnTo>
                  <a:lnTo>
                    <a:pt x="74" y="210"/>
                  </a:lnTo>
                  <a:lnTo>
                    <a:pt x="76" y="211"/>
                  </a:lnTo>
                  <a:lnTo>
                    <a:pt x="76" y="214"/>
                  </a:lnTo>
                  <a:lnTo>
                    <a:pt x="79" y="214"/>
                  </a:lnTo>
                  <a:lnTo>
                    <a:pt x="81" y="214"/>
                  </a:lnTo>
                  <a:lnTo>
                    <a:pt x="80" y="218"/>
                  </a:lnTo>
                  <a:lnTo>
                    <a:pt x="79" y="220"/>
                  </a:lnTo>
                  <a:lnTo>
                    <a:pt x="81" y="223"/>
                  </a:lnTo>
                  <a:lnTo>
                    <a:pt x="83" y="223"/>
                  </a:lnTo>
                  <a:lnTo>
                    <a:pt x="84" y="225"/>
                  </a:lnTo>
                  <a:lnTo>
                    <a:pt x="86" y="224"/>
                  </a:lnTo>
                  <a:lnTo>
                    <a:pt x="85" y="221"/>
                  </a:lnTo>
                  <a:lnTo>
                    <a:pt x="87" y="220"/>
                  </a:lnTo>
                  <a:lnTo>
                    <a:pt x="93" y="220"/>
                  </a:lnTo>
                  <a:lnTo>
                    <a:pt x="96" y="223"/>
                  </a:lnTo>
                  <a:lnTo>
                    <a:pt x="102" y="223"/>
                  </a:lnTo>
                  <a:lnTo>
                    <a:pt x="107" y="223"/>
                  </a:lnTo>
                  <a:lnTo>
                    <a:pt x="112" y="221"/>
                  </a:lnTo>
                  <a:lnTo>
                    <a:pt x="114" y="223"/>
                  </a:lnTo>
                  <a:lnTo>
                    <a:pt x="121" y="224"/>
                  </a:lnTo>
                  <a:lnTo>
                    <a:pt x="126" y="223"/>
                  </a:lnTo>
                  <a:lnTo>
                    <a:pt x="126" y="220"/>
                  </a:lnTo>
                  <a:lnTo>
                    <a:pt x="125" y="216"/>
                  </a:lnTo>
                  <a:lnTo>
                    <a:pt x="139" y="217"/>
                  </a:lnTo>
                  <a:lnTo>
                    <a:pt x="142" y="225"/>
                  </a:lnTo>
                  <a:lnTo>
                    <a:pt x="146" y="228"/>
                  </a:lnTo>
                  <a:lnTo>
                    <a:pt x="149" y="232"/>
                  </a:lnTo>
                  <a:lnTo>
                    <a:pt x="151" y="232"/>
                  </a:lnTo>
                  <a:lnTo>
                    <a:pt x="153" y="238"/>
                  </a:lnTo>
                  <a:lnTo>
                    <a:pt x="157" y="240"/>
                  </a:lnTo>
                  <a:lnTo>
                    <a:pt x="160" y="239"/>
                  </a:lnTo>
                  <a:lnTo>
                    <a:pt x="165" y="239"/>
                  </a:lnTo>
                  <a:lnTo>
                    <a:pt x="172" y="239"/>
                  </a:lnTo>
                  <a:lnTo>
                    <a:pt x="176" y="238"/>
                  </a:lnTo>
                  <a:lnTo>
                    <a:pt x="179" y="238"/>
                  </a:lnTo>
                  <a:lnTo>
                    <a:pt x="181" y="240"/>
                  </a:lnTo>
                  <a:lnTo>
                    <a:pt x="182" y="243"/>
                  </a:lnTo>
                  <a:lnTo>
                    <a:pt x="183" y="244"/>
                  </a:lnTo>
                  <a:lnTo>
                    <a:pt x="187" y="241"/>
                  </a:lnTo>
                  <a:lnTo>
                    <a:pt x="189" y="242"/>
                  </a:lnTo>
                  <a:lnTo>
                    <a:pt x="191" y="240"/>
                  </a:lnTo>
                  <a:lnTo>
                    <a:pt x="196" y="244"/>
                  </a:lnTo>
                  <a:lnTo>
                    <a:pt x="197" y="253"/>
                  </a:lnTo>
                  <a:lnTo>
                    <a:pt x="195" y="254"/>
                  </a:lnTo>
                  <a:lnTo>
                    <a:pt x="195" y="257"/>
                  </a:lnTo>
                  <a:lnTo>
                    <a:pt x="199" y="258"/>
                  </a:lnTo>
                  <a:lnTo>
                    <a:pt x="202" y="258"/>
                  </a:lnTo>
                  <a:lnTo>
                    <a:pt x="205" y="260"/>
                  </a:lnTo>
                  <a:lnTo>
                    <a:pt x="218" y="263"/>
                  </a:lnTo>
                  <a:lnTo>
                    <a:pt x="218" y="261"/>
                  </a:lnTo>
                  <a:lnTo>
                    <a:pt x="235" y="261"/>
                  </a:lnTo>
                  <a:lnTo>
                    <a:pt x="239" y="260"/>
                  </a:lnTo>
                  <a:lnTo>
                    <a:pt x="241" y="258"/>
                  </a:lnTo>
                  <a:lnTo>
                    <a:pt x="242" y="256"/>
                  </a:lnTo>
                  <a:lnTo>
                    <a:pt x="245" y="247"/>
                  </a:lnTo>
                  <a:lnTo>
                    <a:pt x="246" y="246"/>
                  </a:lnTo>
                  <a:lnTo>
                    <a:pt x="250" y="242"/>
                  </a:lnTo>
                  <a:lnTo>
                    <a:pt x="250" y="240"/>
                  </a:lnTo>
                  <a:lnTo>
                    <a:pt x="257" y="238"/>
                  </a:lnTo>
                  <a:lnTo>
                    <a:pt x="260" y="238"/>
                  </a:lnTo>
                  <a:lnTo>
                    <a:pt x="263" y="232"/>
                  </a:lnTo>
                  <a:lnTo>
                    <a:pt x="265" y="229"/>
                  </a:lnTo>
                  <a:lnTo>
                    <a:pt x="266" y="223"/>
                  </a:lnTo>
                  <a:lnTo>
                    <a:pt x="267" y="221"/>
                  </a:lnTo>
                  <a:lnTo>
                    <a:pt x="268" y="221"/>
                  </a:lnTo>
                  <a:lnTo>
                    <a:pt x="272" y="220"/>
                  </a:lnTo>
                  <a:lnTo>
                    <a:pt x="274" y="221"/>
                  </a:lnTo>
                  <a:lnTo>
                    <a:pt x="275" y="221"/>
                  </a:lnTo>
                  <a:lnTo>
                    <a:pt x="276" y="221"/>
                  </a:lnTo>
                  <a:lnTo>
                    <a:pt x="279" y="220"/>
                  </a:lnTo>
                  <a:lnTo>
                    <a:pt x="283" y="218"/>
                  </a:lnTo>
                  <a:lnTo>
                    <a:pt x="284" y="218"/>
                  </a:lnTo>
                  <a:lnTo>
                    <a:pt x="285" y="215"/>
                  </a:lnTo>
                  <a:lnTo>
                    <a:pt x="279" y="210"/>
                  </a:lnTo>
                  <a:lnTo>
                    <a:pt x="277" y="204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5" name="Freeform 69"/>
            <p:cNvSpPr>
              <a:spLocks noEditPoints="1"/>
            </p:cNvSpPr>
            <p:nvPr/>
          </p:nvSpPr>
          <p:spPr bwMode="auto">
            <a:xfrm>
              <a:off x="1082" y="1791"/>
              <a:ext cx="180" cy="153"/>
            </a:xfrm>
            <a:custGeom>
              <a:avLst/>
              <a:gdLst>
                <a:gd name="T0" fmla="*/ 29689877 w 92"/>
                <a:gd name="T1" fmla="*/ 3390984 h 82"/>
                <a:gd name="T2" fmla="*/ 32450108 w 92"/>
                <a:gd name="T3" fmla="*/ 3909447 h 82"/>
                <a:gd name="T4" fmla="*/ 33930839 w 92"/>
                <a:gd name="T5" fmla="*/ 4876873 h 82"/>
                <a:gd name="T6" fmla="*/ 35279922 w 92"/>
                <a:gd name="T7" fmla="*/ 5478325 h 82"/>
                <a:gd name="T8" fmla="*/ 40430958 w 92"/>
                <a:gd name="T9" fmla="*/ 5478325 h 82"/>
                <a:gd name="T10" fmla="*/ 42548905 w 92"/>
                <a:gd name="T11" fmla="*/ 5807779 h 82"/>
                <a:gd name="T12" fmla="*/ 45924183 w 92"/>
                <a:gd name="T13" fmla="*/ 6600547 h 82"/>
                <a:gd name="T14" fmla="*/ 47998610 w 92"/>
                <a:gd name="T15" fmla="*/ 7294456 h 82"/>
                <a:gd name="T16" fmla="*/ 50166871 w 92"/>
                <a:gd name="T17" fmla="*/ 7803758 h 82"/>
                <a:gd name="T18" fmla="*/ 52054963 w 92"/>
                <a:gd name="T19" fmla="*/ 8697735 h 82"/>
                <a:gd name="T20" fmla="*/ 53489491 w 92"/>
                <a:gd name="T21" fmla="*/ 9713854 h 82"/>
                <a:gd name="T22" fmla="*/ 54597490 w 92"/>
                <a:gd name="T23" fmla="*/ 10511695 h 82"/>
                <a:gd name="T24" fmla="*/ 55920831 w 92"/>
                <a:gd name="T25" fmla="*/ 11195079 h 82"/>
                <a:gd name="T26" fmla="*/ 55920831 w 92"/>
                <a:gd name="T27" fmla="*/ 11805405 h 82"/>
                <a:gd name="T28" fmla="*/ 55920831 w 92"/>
                <a:gd name="T29" fmla="*/ 12757314 h 82"/>
                <a:gd name="T30" fmla="*/ 55920831 w 92"/>
                <a:gd name="T31" fmla="*/ 13610387 h 82"/>
                <a:gd name="T32" fmla="*/ 55187485 w 92"/>
                <a:gd name="T33" fmla="*/ 13902854 h 82"/>
                <a:gd name="T34" fmla="*/ 54597490 w 92"/>
                <a:gd name="T35" fmla="*/ 14410669 h 82"/>
                <a:gd name="T36" fmla="*/ 54222601 w 92"/>
                <a:gd name="T37" fmla="*/ 14560670 h 82"/>
                <a:gd name="T38" fmla="*/ 53489491 w 92"/>
                <a:gd name="T39" fmla="*/ 15707680 h 82"/>
                <a:gd name="T40" fmla="*/ 54597490 w 92"/>
                <a:gd name="T41" fmla="*/ 15991898 h 82"/>
                <a:gd name="T42" fmla="*/ 56667213 w 92"/>
                <a:gd name="T43" fmla="*/ 15991898 h 82"/>
                <a:gd name="T44" fmla="*/ 57354916 w 92"/>
                <a:gd name="T45" fmla="*/ 16228701 h 82"/>
                <a:gd name="T46" fmla="*/ 59970502 w 92"/>
                <a:gd name="T47" fmla="*/ 16506377 h 82"/>
                <a:gd name="T48" fmla="*/ 62137886 w 92"/>
                <a:gd name="T49" fmla="*/ 16655768 h 82"/>
                <a:gd name="T50" fmla="*/ 61411471 w 92"/>
                <a:gd name="T51" fmla="*/ 17523670 h 82"/>
                <a:gd name="T52" fmla="*/ 60729290 w 92"/>
                <a:gd name="T53" fmla="*/ 16978393 h 82"/>
                <a:gd name="T54" fmla="*/ 58837999 w 92"/>
                <a:gd name="T55" fmla="*/ 16978393 h 82"/>
                <a:gd name="T56" fmla="*/ 58088890 w 92"/>
                <a:gd name="T57" fmla="*/ 16655768 h 82"/>
                <a:gd name="T58" fmla="*/ 58837999 w 92"/>
                <a:gd name="T59" fmla="*/ 16978393 h 82"/>
                <a:gd name="T60" fmla="*/ 58088890 w 92"/>
                <a:gd name="T61" fmla="*/ 17523670 h 82"/>
                <a:gd name="T62" fmla="*/ 55920831 w 92"/>
                <a:gd name="T63" fmla="*/ 18469861 h 82"/>
                <a:gd name="T64" fmla="*/ 38603823 w 92"/>
                <a:gd name="T65" fmla="*/ 20561120 h 82"/>
                <a:gd name="T66" fmla="*/ 37989612 w 92"/>
                <a:gd name="T67" fmla="*/ 20888379 h 82"/>
                <a:gd name="T68" fmla="*/ 35822295 w 92"/>
                <a:gd name="T69" fmla="*/ 21167640 h 82"/>
                <a:gd name="T70" fmla="*/ 10743026 w 92"/>
                <a:gd name="T71" fmla="*/ 21428422 h 82"/>
                <a:gd name="T72" fmla="*/ 10084653 w 92"/>
                <a:gd name="T73" fmla="*/ 21428422 h 82"/>
                <a:gd name="T74" fmla="*/ 8673998 w 92"/>
                <a:gd name="T75" fmla="*/ 21428422 h 82"/>
                <a:gd name="T76" fmla="*/ 8673998 w 92"/>
                <a:gd name="T77" fmla="*/ 21167640 h 82"/>
                <a:gd name="T78" fmla="*/ 3513755 w 92"/>
                <a:gd name="T79" fmla="*/ 17802931 h 82"/>
                <a:gd name="T80" fmla="*/ 1434408 w 92"/>
                <a:gd name="T81" fmla="*/ 17268517 h 82"/>
                <a:gd name="T82" fmla="*/ 1434408 w 92"/>
                <a:gd name="T83" fmla="*/ 16655768 h 82"/>
                <a:gd name="T84" fmla="*/ 0 w 92"/>
                <a:gd name="T85" fmla="*/ 16655768 h 82"/>
                <a:gd name="T86" fmla="*/ 733142 w 92"/>
                <a:gd name="T87" fmla="*/ 15175173 h 82"/>
                <a:gd name="T88" fmla="*/ 733142 w 92"/>
                <a:gd name="T89" fmla="*/ 7009919 h 82"/>
                <a:gd name="T90" fmla="*/ 733142 w 92"/>
                <a:gd name="T91" fmla="*/ 6327080 h 82"/>
                <a:gd name="T92" fmla="*/ 10743026 w 92"/>
                <a:gd name="T93" fmla="*/ 843364 h 82"/>
                <a:gd name="T94" fmla="*/ 18309173 w 92"/>
                <a:gd name="T95" fmla="*/ 279779 h 82"/>
                <a:gd name="T96" fmla="*/ 18309173 w 92"/>
                <a:gd name="T97" fmla="*/ 0 h 82"/>
                <a:gd name="T98" fmla="*/ 21747218 w 92"/>
                <a:gd name="T99" fmla="*/ 279779 h 82"/>
                <a:gd name="T100" fmla="*/ 27713774 w 92"/>
                <a:gd name="T101" fmla="*/ 2418128 h 82"/>
                <a:gd name="T102" fmla="*/ 28206937 w 92"/>
                <a:gd name="T103" fmla="*/ 3664410 h 82"/>
                <a:gd name="T104" fmla="*/ 29689877 w 92"/>
                <a:gd name="T105" fmla="*/ 3390984 h 82"/>
                <a:gd name="T106" fmla="*/ 61411471 w 92"/>
                <a:gd name="T107" fmla="*/ 17802931 h 82"/>
                <a:gd name="T108" fmla="*/ 61411471 w 92"/>
                <a:gd name="T109" fmla="*/ 17802931 h 82"/>
                <a:gd name="T110" fmla="*/ 61411471 w 92"/>
                <a:gd name="T111" fmla="*/ 17802931 h 8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0" t="0" r="r" b="b"/>
              <a:pathLst>
                <a:path w="92" h="82">
                  <a:moveTo>
                    <a:pt x="44" y="13"/>
                  </a:moveTo>
                  <a:lnTo>
                    <a:pt x="48" y="15"/>
                  </a:lnTo>
                  <a:lnTo>
                    <a:pt x="50" y="19"/>
                  </a:lnTo>
                  <a:lnTo>
                    <a:pt x="52" y="21"/>
                  </a:lnTo>
                  <a:lnTo>
                    <a:pt x="60" y="21"/>
                  </a:lnTo>
                  <a:lnTo>
                    <a:pt x="63" y="22"/>
                  </a:lnTo>
                  <a:lnTo>
                    <a:pt x="68" y="25"/>
                  </a:lnTo>
                  <a:lnTo>
                    <a:pt x="71" y="28"/>
                  </a:lnTo>
                  <a:lnTo>
                    <a:pt x="74" y="30"/>
                  </a:lnTo>
                  <a:lnTo>
                    <a:pt x="77" y="33"/>
                  </a:lnTo>
                  <a:lnTo>
                    <a:pt x="79" y="37"/>
                  </a:lnTo>
                  <a:lnTo>
                    <a:pt x="81" y="40"/>
                  </a:lnTo>
                  <a:lnTo>
                    <a:pt x="83" y="43"/>
                  </a:lnTo>
                  <a:lnTo>
                    <a:pt x="83" y="45"/>
                  </a:lnTo>
                  <a:lnTo>
                    <a:pt x="83" y="49"/>
                  </a:lnTo>
                  <a:lnTo>
                    <a:pt x="83" y="52"/>
                  </a:lnTo>
                  <a:lnTo>
                    <a:pt x="82" y="53"/>
                  </a:lnTo>
                  <a:lnTo>
                    <a:pt x="81" y="55"/>
                  </a:lnTo>
                  <a:lnTo>
                    <a:pt x="80" y="56"/>
                  </a:lnTo>
                  <a:lnTo>
                    <a:pt x="79" y="60"/>
                  </a:lnTo>
                  <a:lnTo>
                    <a:pt x="81" y="61"/>
                  </a:lnTo>
                  <a:lnTo>
                    <a:pt x="84" y="61"/>
                  </a:lnTo>
                  <a:lnTo>
                    <a:pt x="85" y="62"/>
                  </a:lnTo>
                  <a:lnTo>
                    <a:pt x="89" y="63"/>
                  </a:lnTo>
                  <a:lnTo>
                    <a:pt x="92" y="64"/>
                  </a:lnTo>
                  <a:cubicBezTo>
                    <a:pt x="92" y="65"/>
                    <a:pt x="92" y="66"/>
                    <a:pt x="91" y="67"/>
                  </a:cubicBezTo>
                  <a:lnTo>
                    <a:pt x="90" y="65"/>
                  </a:lnTo>
                  <a:lnTo>
                    <a:pt x="87" y="65"/>
                  </a:lnTo>
                  <a:lnTo>
                    <a:pt x="86" y="64"/>
                  </a:lnTo>
                  <a:lnTo>
                    <a:pt x="87" y="65"/>
                  </a:lnTo>
                  <a:lnTo>
                    <a:pt x="86" y="67"/>
                  </a:lnTo>
                  <a:lnTo>
                    <a:pt x="83" y="71"/>
                  </a:lnTo>
                  <a:lnTo>
                    <a:pt x="57" y="79"/>
                  </a:lnTo>
                  <a:lnTo>
                    <a:pt x="56" y="80"/>
                  </a:lnTo>
                  <a:lnTo>
                    <a:pt x="53" y="81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5" y="68"/>
                  </a:lnTo>
                  <a:lnTo>
                    <a:pt x="2" y="66"/>
                  </a:lnTo>
                  <a:lnTo>
                    <a:pt x="2" y="64"/>
                  </a:lnTo>
                  <a:lnTo>
                    <a:pt x="0" y="64"/>
                  </a:lnTo>
                  <a:lnTo>
                    <a:pt x="1" y="58"/>
                  </a:lnTo>
                  <a:lnTo>
                    <a:pt x="1" y="27"/>
                  </a:lnTo>
                  <a:lnTo>
                    <a:pt x="1" y="24"/>
                  </a:lnTo>
                  <a:lnTo>
                    <a:pt x="16" y="3"/>
                  </a:lnTo>
                  <a:lnTo>
                    <a:pt x="27" y="1"/>
                  </a:lnTo>
                  <a:lnTo>
                    <a:pt x="27" y="0"/>
                  </a:lnTo>
                  <a:lnTo>
                    <a:pt x="32" y="1"/>
                  </a:lnTo>
                  <a:lnTo>
                    <a:pt x="41" y="9"/>
                  </a:lnTo>
                  <a:lnTo>
                    <a:pt x="42" y="14"/>
                  </a:lnTo>
                  <a:lnTo>
                    <a:pt x="44" y="13"/>
                  </a:lnTo>
                  <a:moveTo>
                    <a:pt x="91" y="68"/>
                  </a:moveTo>
                  <a:cubicBezTo>
                    <a:pt x="91" y="68"/>
                    <a:pt x="91" y="68"/>
                    <a:pt x="91" y="68"/>
                  </a:cubicBezTo>
                  <a:cubicBezTo>
                    <a:pt x="91" y="68"/>
                    <a:pt x="91" y="68"/>
                    <a:pt x="91" y="68"/>
                  </a:cubicBez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6" name="Freeform 70"/>
            <p:cNvSpPr>
              <a:spLocks/>
            </p:cNvSpPr>
            <p:nvPr/>
          </p:nvSpPr>
          <p:spPr bwMode="auto">
            <a:xfrm>
              <a:off x="878" y="1925"/>
              <a:ext cx="319" cy="261"/>
            </a:xfrm>
            <a:custGeom>
              <a:avLst/>
              <a:gdLst>
                <a:gd name="T0" fmla="*/ 96797337 w 164"/>
                <a:gd name="T1" fmla="*/ 7455955 h 140"/>
                <a:gd name="T2" fmla="*/ 90241342 w 164"/>
                <a:gd name="T3" fmla="*/ 5414771 h 140"/>
                <a:gd name="T4" fmla="*/ 85357176 w 164"/>
                <a:gd name="T5" fmla="*/ 5102625 h 140"/>
                <a:gd name="T6" fmla="*/ 70959731 w 164"/>
                <a:gd name="T7" fmla="*/ 3345148 h 140"/>
                <a:gd name="T8" fmla="*/ 69919426 w 164"/>
                <a:gd name="T9" fmla="*/ 2904475 h 140"/>
                <a:gd name="T10" fmla="*/ 59133285 w 164"/>
                <a:gd name="T11" fmla="*/ 4133731 h 140"/>
                <a:gd name="T12" fmla="*/ 45725209 w 164"/>
                <a:gd name="T13" fmla="*/ 8300395 h 140"/>
                <a:gd name="T14" fmla="*/ 42072937 w 164"/>
                <a:gd name="T15" fmla="*/ 10518995 h 140"/>
                <a:gd name="T16" fmla="*/ 42072937 w 164"/>
                <a:gd name="T17" fmla="*/ 10518995 h 140"/>
                <a:gd name="T18" fmla="*/ 42072937 w 164"/>
                <a:gd name="T19" fmla="*/ 9774978 h 140"/>
                <a:gd name="T20" fmla="*/ 42529757 w 164"/>
                <a:gd name="T21" fmla="*/ 8961049 h 140"/>
                <a:gd name="T22" fmla="*/ 43882686 w 164"/>
                <a:gd name="T23" fmla="*/ 7980278 h 140"/>
                <a:gd name="T24" fmla="*/ 45725209 w 164"/>
                <a:gd name="T25" fmla="*/ 7173958 h 140"/>
                <a:gd name="T26" fmla="*/ 46393668 w 164"/>
                <a:gd name="T27" fmla="*/ 6578731 h 140"/>
                <a:gd name="T28" fmla="*/ 47032586 w 164"/>
                <a:gd name="T29" fmla="*/ 6236312 h 140"/>
                <a:gd name="T30" fmla="*/ 45090391 w 164"/>
                <a:gd name="T31" fmla="*/ 3848100 h 140"/>
                <a:gd name="T32" fmla="*/ 37954408 w 164"/>
                <a:gd name="T33" fmla="*/ 276927 h 140"/>
                <a:gd name="T34" fmla="*/ 43882686 w 164"/>
                <a:gd name="T35" fmla="*/ 4452319 h 140"/>
                <a:gd name="T36" fmla="*/ 45090391 w 164"/>
                <a:gd name="T37" fmla="*/ 6513184 h 140"/>
                <a:gd name="T38" fmla="*/ 45090391 w 164"/>
                <a:gd name="T39" fmla="*/ 6578731 h 140"/>
                <a:gd name="T40" fmla="*/ 43882686 w 164"/>
                <a:gd name="T41" fmla="*/ 6874153 h 140"/>
                <a:gd name="T42" fmla="*/ 42529757 w 164"/>
                <a:gd name="T43" fmla="*/ 7706456 h 140"/>
                <a:gd name="T44" fmla="*/ 41498628 w 164"/>
                <a:gd name="T45" fmla="*/ 8644989 h 140"/>
                <a:gd name="T46" fmla="*/ 40863795 w 164"/>
                <a:gd name="T47" fmla="*/ 9512751 h 140"/>
                <a:gd name="T48" fmla="*/ 41498628 w 164"/>
                <a:gd name="T49" fmla="*/ 10714801 h 140"/>
                <a:gd name="T50" fmla="*/ 42072937 w 164"/>
                <a:gd name="T51" fmla="*/ 10518995 h 140"/>
                <a:gd name="T52" fmla="*/ 42529757 w 164"/>
                <a:gd name="T53" fmla="*/ 11626267 h 140"/>
                <a:gd name="T54" fmla="*/ 36657539 w 164"/>
                <a:gd name="T55" fmla="*/ 13900030 h 140"/>
                <a:gd name="T56" fmla="*/ 36657539 w 164"/>
                <a:gd name="T57" fmla="*/ 13692213 h 140"/>
                <a:gd name="T58" fmla="*/ 33094266 w 164"/>
                <a:gd name="T59" fmla="*/ 14652816 h 140"/>
                <a:gd name="T60" fmla="*/ 15115187 w 164"/>
                <a:gd name="T61" fmla="*/ 19846807 h 140"/>
                <a:gd name="T62" fmla="*/ 15115187 w 164"/>
                <a:gd name="T63" fmla="*/ 19975450 h 140"/>
                <a:gd name="T64" fmla="*/ 13317077 w 164"/>
                <a:gd name="T65" fmla="*/ 20569052 h 140"/>
                <a:gd name="T66" fmla="*/ 14440823 w 164"/>
                <a:gd name="T67" fmla="*/ 19975450 h 140"/>
                <a:gd name="T68" fmla="*/ 12718900 w 164"/>
                <a:gd name="T69" fmla="*/ 20569052 h 140"/>
                <a:gd name="T70" fmla="*/ 4919420 w 164"/>
                <a:gd name="T71" fmla="*/ 22864782 h 140"/>
                <a:gd name="T72" fmla="*/ 0 w 164"/>
                <a:gd name="T73" fmla="*/ 24419018 h 140"/>
                <a:gd name="T74" fmla="*/ 1899937 w 164"/>
                <a:gd name="T75" fmla="*/ 27982431 h 140"/>
                <a:gd name="T76" fmla="*/ 3018835 w 164"/>
                <a:gd name="T77" fmla="*/ 28848531 h 140"/>
                <a:gd name="T78" fmla="*/ 9568872 w 164"/>
                <a:gd name="T79" fmla="*/ 28252501 h 140"/>
                <a:gd name="T80" fmla="*/ 17294626 w 164"/>
                <a:gd name="T81" fmla="*/ 29096873 h 140"/>
                <a:gd name="T82" fmla="*/ 25903339 w 164"/>
                <a:gd name="T83" fmla="*/ 31316257 h 140"/>
                <a:gd name="T84" fmla="*/ 37954408 w 164"/>
                <a:gd name="T85" fmla="*/ 35721769 h 140"/>
                <a:gd name="T86" fmla="*/ 46393668 w 164"/>
                <a:gd name="T87" fmla="*/ 35176499 h 140"/>
                <a:gd name="T88" fmla="*/ 58500056 w 164"/>
                <a:gd name="T89" fmla="*/ 30046188 h 140"/>
                <a:gd name="T90" fmla="*/ 57188301 w 164"/>
                <a:gd name="T91" fmla="*/ 26784260 h 140"/>
                <a:gd name="T92" fmla="*/ 62386486 w 164"/>
                <a:gd name="T93" fmla="*/ 25673571 h 140"/>
                <a:gd name="T94" fmla="*/ 66722073 w 164"/>
                <a:gd name="T95" fmla="*/ 25673571 h 140"/>
                <a:gd name="T96" fmla="*/ 66722073 w 164"/>
                <a:gd name="T97" fmla="*/ 24933529 h 140"/>
                <a:gd name="T98" fmla="*/ 73271999 w 164"/>
                <a:gd name="T99" fmla="*/ 22359600 h 140"/>
                <a:gd name="T100" fmla="*/ 84056932 w 164"/>
                <a:gd name="T101" fmla="*/ 20888991 h 140"/>
                <a:gd name="T102" fmla="*/ 90903734 w 164"/>
                <a:gd name="T103" fmla="*/ 18500243 h 140"/>
                <a:gd name="T104" fmla="*/ 98005267 w 164"/>
                <a:gd name="T105" fmla="*/ 13374307 h 140"/>
                <a:gd name="T106" fmla="*/ 98510009 w 164"/>
                <a:gd name="T107" fmla="*/ 11626267 h 140"/>
                <a:gd name="T108" fmla="*/ 98005267 w 164"/>
                <a:gd name="T109" fmla="*/ 8577275 h 140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164" h="140">
                  <a:moveTo>
                    <a:pt x="163" y="33"/>
                  </a:moveTo>
                  <a:lnTo>
                    <a:pt x="161" y="29"/>
                  </a:lnTo>
                  <a:lnTo>
                    <a:pt x="154" y="22"/>
                  </a:lnTo>
                  <a:lnTo>
                    <a:pt x="150" y="21"/>
                  </a:lnTo>
                  <a:lnTo>
                    <a:pt x="143" y="21"/>
                  </a:lnTo>
                  <a:lnTo>
                    <a:pt x="142" y="20"/>
                  </a:lnTo>
                  <a:lnTo>
                    <a:pt x="119" y="14"/>
                  </a:lnTo>
                  <a:lnTo>
                    <a:pt x="118" y="13"/>
                  </a:lnTo>
                  <a:lnTo>
                    <a:pt x="118" y="12"/>
                  </a:lnTo>
                  <a:lnTo>
                    <a:pt x="116" y="11"/>
                  </a:lnTo>
                  <a:lnTo>
                    <a:pt x="101" y="15"/>
                  </a:lnTo>
                  <a:lnTo>
                    <a:pt x="98" y="16"/>
                  </a:lnTo>
                  <a:lnTo>
                    <a:pt x="83" y="30"/>
                  </a:lnTo>
                  <a:lnTo>
                    <a:pt x="76" y="32"/>
                  </a:lnTo>
                  <a:lnTo>
                    <a:pt x="73" y="37"/>
                  </a:lnTo>
                  <a:lnTo>
                    <a:pt x="70" y="41"/>
                  </a:lnTo>
                  <a:lnTo>
                    <a:pt x="70" y="38"/>
                  </a:lnTo>
                  <a:lnTo>
                    <a:pt x="71" y="35"/>
                  </a:lnTo>
                  <a:lnTo>
                    <a:pt x="73" y="31"/>
                  </a:lnTo>
                  <a:lnTo>
                    <a:pt x="74" y="30"/>
                  </a:lnTo>
                  <a:lnTo>
                    <a:pt x="76" y="28"/>
                  </a:lnTo>
                  <a:lnTo>
                    <a:pt x="77" y="26"/>
                  </a:lnTo>
                  <a:lnTo>
                    <a:pt x="78" y="25"/>
                  </a:lnTo>
                  <a:lnTo>
                    <a:pt x="78" y="24"/>
                  </a:lnTo>
                  <a:lnTo>
                    <a:pt x="75" y="15"/>
                  </a:lnTo>
                  <a:lnTo>
                    <a:pt x="65" y="0"/>
                  </a:lnTo>
                  <a:lnTo>
                    <a:pt x="63" y="1"/>
                  </a:lnTo>
                  <a:lnTo>
                    <a:pt x="73" y="17"/>
                  </a:lnTo>
                  <a:lnTo>
                    <a:pt x="75" y="25"/>
                  </a:lnTo>
                  <a:lnTo>
                    <a:pt x="75" y="26"/>
                  </a:lnTo>
                  <a:lnTo>
                    <a:pt x="73" y="27"/>
                  </a:lnTo>
                  <a:lnTo>
                    <a:pt x="72" y="29"/>
                  </a:lnTo>
                  <a:lnTo>
                    <a:pt x="71" y="30"/>
                  </a:lnTo>
                  <a:lnTo>
                    <a:pt x="69" y="34"/>
                  </a:lnTo>
                  <a:lnTo>
                    <a:pt x="68" y="37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70" y="41"/>
                  </a:lnTo>
                  <a:lnTo>
                    <a:pt x="71" y="44"/>
                  </a:lnTo>
                  <a:lnTo>
                    <a:pt x="71" y="45"/>
                  </a:lnTo>
                  <a:lnTo>
                    <a:pt x="67" y="49"/>
                  </a:lnTo>
                  <a:lnTo>
                    <a:pt x="61" y="54"/>
                  </a:lnTo>
                  <a:lnTo>
                    <a:pt x="60" y="53"/>
                  </a:lnTo>
                  <a:lnTo>
                    <a:pt x="61" y="53"/>
                  </a:lnTo>
                  <a:lnTo>
                    <a:pt x="60" y="52"/>
                  </a:lnTo>
                  <a:lnTo>
                    <a:pt x="55" y="57"/>
                  </a:lnTo>
                  <a:lnTo>
                    <a:pt x="31" y="74"/>
                  </a:lnTo>
                  <a:lnTo>
                    <a:pt x="25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4" y="80"/>
                  </a:lnTo>
                  <a:lnTo>
                    <a:pt x="22" y="80"/>
                  </a:lnTo>
                  <a:lnTo>
                    <a:pt x="24" y="78"/>
                  </a:lnTo>
                  <a:lnTo>
                    <a:pt x="21" y="80"/>
                  </a:lnTo>
                  <a:lnTo>
                    <a:pt x="9" y="87"/>
                  </a:lnTo>
                  <a:lnTo>
                    <a:pt x="8" y="89"/>
                  </a:lnTo>
                  <a:lnTo>
                    <a:pt x="1" y="93"/>
                  </a:lnTo>
                  <a:lnTo>
                    <a:pt x="0" y="95"/>
                  </a:lnTo>
                  <a:lnTo>
                    <a:pt x="3" y="99"/>
                  </a:lnTo>
                  <a:lnTo>
                    <a:pt x="3" y="109"/>
                  </a:lnTo>
                  <a:lnTo>
                    <a:pt x="6" y="111"/>
                  </a:lnTo>
                  <a:lnTo>
                    <a:pt x="5" y="112"/>
                  </a:lnTo>
                  <a:lnTo>
                    <a:pt x="6" y="113"/>
                  </a:lnTo>
                  <a:lnTo>
                    <a:pt x="16" y="110"/>
                  </a:lnTo>
                  <a:lnTo>
                    <a:pt x="21" y="111"/>
                  </a:lnTo>
                  <a:lnTo>
                    <a:pt x="29" y="113"/>
                  </a:lnTo>
                  <a:lnTo>
                    <a:pt x="35" y="116"/>
                  </a:lnTo>
                  <a:lnTo>
                    <a:pt x="43" y="122"/>
                  </a:lnTo>
                  <a:lnTo>
                    <a:pt x="58" y="135"/>
                  </a:lnTo>
                  <a:lnTo>
                    <a:pt x="63" y="139"/>
                  </a:lnTo>
                  <a:lnTo>
                    <a:pt x="66" y="140"/>
                  </a:lnTo>
                  <a:lnTo>
                    <a:pt x="77" y="137"/>
                  </a:lnTo>
                  <a:lnTo>
                    <a:pt x="91" y="132"/>
                  </a:lnTo>
                  <a:lnTo>
                    <a:pt x="97" y="117"/>
                  </a:lnTo>
                  <a:lnTo>
                    <a:pt x="95" y="107"/>
                  </a:lnTo>
                  <a:lnTo>
                    <a:pt x="95" y="104"/>
                  </a:lnTo>
                  <a:lnTo>
                    <a:pt x="99" y="99"/>
                  </a:lnTo>
                  <a:lnTo>
                    <a:pt x="104" y="100"/>
                  </a:lnTo>
                  <a:lnTo>
                    <a:pt x="109" y="99"/>
                  </a:lnTo>
                  <a:lnTo>
                    <a:pt x="111" y="100"/>
                  </a:lnTo>
                  <a:lnTo>
                    <a:pt x="110" y="98"/>
                  </a:lnTo>
                  <a:lnTo>
                    <a:pt x="111" y="97"/>
                  </a:lnTo>
                  <a:lnTo>
                    <a:pt x="114" y="93"/>
                  </a:lnTo>
                  <a:lnTo>
                    <a:pt x="122" y="87"/>
                  </a:lnTo>
                  <a:lnTo>
                    <a:pt x="135" y="81"/>
                  </a:lnTo>
                  <a:lnTo>
                    <a:pt x="140" y="81"/>
                  </a:lnTo>
                  <a:lnTo>
                    <a:pt x="147" y="76"/>
                  </a:lnTo>
                  <a:lnTo>
                    <a:pt x="151" y="72"/>
                  </a:lnTo>
                  <a:lnTo>
                    <a:pt x="161" y="56"/>
                  </a:lnTo>
                  <a:lnTo>
                    <a:pt x="163" y="52"/>
                  </a:lnTo>
                  <a:lnTo>
                    <a:pt x="164" y="48"/>
                  </a:lnTo>
                  <a:lnTo>
                    <a:pt x="164" y="45"/>
                  </a:lnTo>
                  <a:lnTo>
                    <a:pt x="164" y="37"/>
                  </a:lnTo>
                  <a:lnTo>
                    <a:pt x="163" y="3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sp>
          <p:nvSpPr>
            <p:cNvPr id="24797" name="Freeform 71"/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375" y="2622"/>
              <a:ext cx="123" cy="77"/>
            </a:xfrm>
            <a:custGeom>
              <a:avLst/>
              <a:gdLst>
                <a:gd name="T0" fmla="*/ 34107611 w 63"/>
                <a:gd name="T1" fmla="*/ 3821521 h 41"/>
                <a:gd name="T2" fmla="*/ 31782339 w 63"/>
                <a:gd name="T3" fmla="*/ 2034836 h 41"/>
                <a:gd name="T4" fmla="*/ 29956425 w 63"/>
                <a:gd name="T5" fmla="*/ 929506 h 41"/>
                <a:gd name="T6" fmla="*/ 29956425 w 63"/>
                <a:gd name="T7" fmla="*/ 1438337 h 41"/>
                <a:gd name="T8" fmla="*/ 28529932 w 63"/>
                <a:gd name="T9" fmla="*/ 1438337 h 41"/>
                <a:gd name="T10" fmla="*/ 27135042 w 63"/>
                <a:gd name="T11" fmla="*/ 929506 h 41"/>
                <a:gd name="T12" fmla="*/ 21211594 w 63"/>
                <a:gd name="T13" fmla="*/ 1276266 h 41"/>
                <a:gd name="T14" fmla="*/ 18906904 w 63"/>
                <a:gd name="T15" fmla="*/ 1276266 h 41"/>
                <a:gd name="T16" fmla="*/ 16990267 w 63"/>
                <a:gd name="T17" fmla="*/ 361849 h 41"/>
                <a:gd name="T18" fmla="*/ 12877028 w 63"/>
                <a:gd name="T19" fmla="*/ 0 h 41"/>
                <a:gd name="T20" fmla="*/ 10864475 w 63"/>
                <a:gd name="T21" fmla="*/ 0 h 41"/>
                <a:gd name="T22" fmla="*/ 8947922 w 63"/>
                <a:gd name="T23" fmla="*/ 929506 h 41"/>
                <a:gd name="T24" fmla="*/ 6960004 w 63"/>
                <a:gd name="T25" fmla="*/ 1276266 h 41"/>
                <a:gd name="T26" fmla="*/ 5942015 w 63"/>
                <a:gd name="T27" fmla="*/ 1438337 h 41"/>
                <a:gd name="T28" fmla="*/ 5295181 w 63"/>
                <a:gd name="T29" fmla="*/ 1745658 h 41"/>
                <a:gd name="T30" fmla="*/ 4583082 w 63"/>
                <a:gd name="T31" fmla="*/ 1438337 h 41"/>
                <a:gd name="T32" fmla="*/ 0 w 63"/>
                <a:gd name="T33" fmla="*/ 2034836 h 41"/>
                <a:gd name="T34" fmla="*/ 0 w 63"/>
                <a:gd name="T35" fmla="*/ 2396890 h 41"/>
                <a:gd name="T36" fmla="*/ 0 w 63"/>
                <a:gd name="T37" fmla="*/ 3633087 h 41"/>
                <a:gd name="T38" fmla="*/ 711520 w 63"/>
                <a:gd name="T39" fmla="*/ 4143347 h 41"/>
                <a:gd name="T40" fmla="*/ 2712166 w 63"/>
                <a:gd name="T41" fmla="*/ 3821521 h 41"/>
                <a:gd name="T42" fmla="*/ 3929309 w 63"/>
                <a:gd name="T43" fmla="*/ 4718857 h 41"/>
                <a:gd name="T44" fmla="*/ 5942015 w 63"/>
                <a:gd name="T45" fmla="*/ 5391172 h 41"/>
                <a:gd name="T46" fmla="*/ 5942015 w 63"/>
                <a:gd name="T47" fmla="*/ 5753307 h 41"/>
                <a:gd name="T48" fmla="*/ 5942015 w 63"/>
                <a:gd name="T49" fmla="*/ 6157053 h 41"/>
                <a:gd name="T50" fmla="*/ 8947922 w 63"/>
                <a:gd name="T51" fmla="*/ 6823115 h 41"/>
                <a:gd name="T52" fmla="*/ 10864475 w 63"/>
                <a:gd name="T53" fmla="*/ 7423927 h 41"/>
                <a:gd name="T54" fmla="*/ 10338211 w 63"/>
                <a:gd name="T55" fmla="*/ 8453992 h 41"/>
                <a:gd name="T56" fmla="*/ 12255183 w 63"/>
                <a:gd name="T57" fmla="*/ 9219747 h 41"/>
                <a:gd name="T58" fmla="*/ 19557398 w 63"/>
                <a:gd name="T59" fmla="*/ 9791724 h 41"/>
                <a:gd name="T60" fmla="*/ 21211594 w 63"/>
                <a:gd name="T61" fmla="*/ 9527550 h 41"/>
                <a:gd name="T62" fmla="*/ 22649722 w 63"/>
                <a:gd name="T63" fmla="*/ 9791724 h 41"/>
                <a:gd name="T64" fmla="*/ 23926786 w 63"/>
                <a:gd name="T65" fmla="*/ 9791724 h 41"/>
                <a:gd name="T66" fmla="*/ 25843751 w 63"/>
                <a:gd name="T67" fmla="*/ 9791724 h 41"/>
                <a:gd name="T68" fmla="*/ 28529932 w 63"/>
                <a:gd name="T69" fmla="*/ 10965401 h 41"/>
                <a:gd name="T70" fmla="*/ 29956425 w 63"/>
                <a:gd name="T71" fmla="*/ 10965401 h 41"/>
                <a:gd name="T72" fmla="*/ 32434419 w 63"/>
                <a:gd name="T73" fmla="*/ 11563246 h 41"/>
                <a:gd name="T74" fmla="*/ 33171474 w 63"/>
                <a:gd name="T75" fmla="*/ 11259344 h 41"/>
                <a:gd name="T76" fmla="*/ 33824582 w 63"/>
                <a:gd name="T77" fmla="*/ 10965401 h 41"/>
                <a:gd name="T78" fmla="*/ 33824582 w 63"/>
                <a:gd name="T79" fmla="*/ 10965401 h 41"/>
                <a:gd name="T80" fmla="*/ 36189329 w 63"/>
                <a:gd name="T81" fmla="*/ 10965401 h 41"/>
                <a:gd name="T82" fmla="*/ 36913479 w 63"/>
                <a:gd name="T83" fmla="*/ 11259344 h 41"/>
                <a:gd name="T84" fmla="*/ 37483883 w 63"/>
                <a:gd name="T85" fmla="*/ 11563246 h 41"/>
                <a:gd name="T86" fmla="*/ 38183491 w 63"/>
                <a:gd name="T87" fmla="*/ 11925103 h 41"/>
                <a:gd name="T88" fmla="*/ 40818015 w 63"/>
                <a:gd name="T89" fmla="*/ 12243424 h 41"/>
                <a:gd name="T90" fmla="*/ 36913479 w 63"/>
                <a:gd name="T91" fmla="*/ 7781408 h 41"/>
                <a:gd name="T92" fmla="*/ 34107611 w 63"/>
                <a:gd name="T93" fmla="*/ 3821521 h 4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0" t="0" r="r" b="b"/>
              <a:pathLst>
                <a:path w="63" h="41">
                  <a:moveTo>
                    <a:pt x="53" y="13"/>
                  </a:moveTo>
                  <a:lnTo>
                    <a:pt x="49" y="7"/>
                  </a:lnTo>
                  <a:lnTo>
                    <a:pt x="46" y="3"/>
                  </a:lnTo>
                  <a:lnTo>
                    <a:pt x="46" y="5"/>
                  </a:lnTo>
                  <a:lnTo>
                    <a:pt x="44" y="5"/>
                  </a:lnTo>
                  <a:lnTo>
                    <a:pt x="42" y="3"/>
                  </a:lnTo>
                  <a:lnTo>
                    <a:pt x="33" y="4"/>
                  </a:lnTo>
                  <a:lnTo>
                    <a:pt x="29" y="4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7" y="0"/>
                  </a:lnTo>
                  <a:lnTo>
                    <a:pt x="14" y="3"/>
                  </a:lnTo>
                  <a:lnTo>
                    <a:pt x="11" y="4"/>
                  </a:lnTo>
                  <a:lnTo>
                    <a:pt x="9" y="5"/>
                  </a:lnTo>
                  <a:lnTo>
                    <a:pt x="8" y="6"/>
                  </a:lnTo>
                  <a:lnTo>
                    <a:pt x="7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12"/>
                  </a:lnTo>
                  <a:lnTo>
                    <a:pt x="1" y="14"/>
                  </a:lnTo>
                  <a:lnTo>
                    <a:pt x="4" y="13"/>
                  </a:lnTo>
                  <a:lnTo>
                    <a:pt x="6" y="16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9" y="21"/>
                  </a:lnTo>
                  <a:lnTo>
                    <a:pt x="14" y="23"/>
                  </a:lnTo>
                  <a:lnTo>
                    <a:pt x="17" y="25"/>
                  </a:lnTo>
                  <a:lnTo>
                    <a:pt x="16" y="28"/>
                  </a:lnTo>
                  <a:lnTo>
                    <a:pt x="19" y="31"/>
                  </a:lnTo>
                  <a:lnTo>
                    <a:pt x="30" y="33"/>
                  </a:lnTo>
                  <a:lnTo>
                    <a:pt x="33" y="32"/>
                  </a:lnTo>
                  <a:lnTo>
                    <a:pt x="35" y="33"/>
                  </a:lnTo>
                  <a:lnTo>
                    <a:pt x="37" y="33"/>
                  </a:lnTo>
                  <a:lnTo>
                    <a:pt x="40" y="33"/>
                  </a:lnTo>
                  <a:lnTo>
                    <a:pt x="44" y="37"/>
                  </a:lnTo>
                  <a:lnTo>
                    <a:pt x="46" y="37"/>
                  </a:lnTo>
                  <a:lnTo>
                    <a:pt x="50" y="39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6" y="37"/>
                  </a:lnTo>
                  <a:lnTo>
                    <a:pt x="57" y="38"/>
                  </a:lnTo>
                  <a:lnTo>
                    <a:pt x="58" y="39"/>
                  </a:lnTo>
                  <a:lnTo>
                    <a:pt x="59" y="40"/>
                  </a:lnTo>
                  <a:lnTo>
                    <a:pt x="63" y="41"/>
                  </a:lnTo>
                  <a:lnTo>
                    <a:pt x="57" y="26"/>
                  </a:lnTo>
                  <a:lnTo>
                    <a:pt x="53" y="13"/>
                  </a:lnTo>
                </a:path>
              </a:pathLst>
            </a:custGeom>
            <a:solidFill>
              <a:srgbClr val="E6E8F2"/>
            </a:solidFill>
            <a:ln w="3175" cap="flat" cmpd="sng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0" tIns="0" rIns="0" bIns="0"/>
            <a:lstStyle/>
            <a:p>
              <a:endParaRPr lang="en-GB"/>
            </a:p>
          </p:txBody>
        </p:sp>
        <p:pic>
          <p:nvPicPr>
            <p:cNvPr id="24798" name="Picture 72"/>
            <p:cNvPicPr preferRelativeResize="0"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2" y="1478"/>
              <a:ext cx="144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799" name="Text Box 73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1536" y="1478"/>
              <a:ext cx="462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1pPr>
              <a:lvl2pPr marL="495300" indent="-22701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2pPr>
              <a:lvl3pPr marL="757238" indent="-260350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004888" indent="-24606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3128963" indent="15875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35861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40433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45005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49577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ct val="0"/>
                </a:spcBef>
                <a:buClr>
                  <a:schemeClr val="bg1"/>
                </a:buClr>
                <a:buFontTx/>
                <a:buNone/>
              </a:pPr>
              <a:r>
                <a:rPr lang="nl-NL" altLang="nl-NL" sz="1200" b="1"/>
                <a:t>Groningen</a:t>
              </a:r>
            </a:p>
          </p:txBody>
        </p:sp>
        <p:pic>
          <p:nvPicPr>
            <p:cNvPr id="24800" name="Picture 74"/>
            <p:cNvPicPr preferRelativeResize="0"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88" y="1776"/>
              <a:ext cx="169" cy="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801" name="Picture 75"/>
            <p:cNvPicPr preferRelativeResize="0">
              <a:picLocks noChangeAspect="1" noChangeArrowheads="1"/>
            </p:cNvPicPr>
            <p:nvPr/>
          </p:nvPicPr>
          <p:blipFill>
            <a:blip r:embed="rId3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2" y="1776"/>
              <a:ext cx="144" cy="1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802" name="Text Box 76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1692" y="1824"/>
              <a:ext cx="324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1pPr>
              <a:lvl2pPr marL="495300" indent="-22701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2pPr>
              <a:lvl3pPr marL="757238" indent="-260350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004888" indent="-24606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3128963" indent="15875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35861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40433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45005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49577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ct val="0"/>
                </a:spcBef>
                <a:buClr>
                  <a:schemeClr val="bg1"/>
                </a:buClr>
                <a:buFontTx/>
                <a:buNone/>
              </a:pPr>
              <a:r>
                <a:rPr lang="nl-NL" altLang="nl-NL" sz="1200" b="1"/>
                <a:t>Wijster</a:t>
              </a:r>
            </a:p>
          </p:txBody>
        </p:sp>
        <p:pic>
          <p:nvPicPr>
            <p:cNvPr id="24803" name="Picture 77"/>
            <p:cNvPicPr preferRelativeResize="0"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" y="2534"/>
              <a:ext cx="169" cy="15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4804" name="Text Box 78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03" y="2544"/>
              <a:ext cx="453" cy="1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chemeClr val="bg2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>
              <a:lvl1pPr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1pPr>
              <a:lvl2pPr marL="495300" indent="-22701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 sz="2000">
                  <a:solidFill>
                    <a:schemeClr val="tx1"/>
                  </a:solidFill>
                  <a:latin typeface="Trebuchet MS" panose="020B0603020202020204" pitchFamily="34" charset="0"/>
                </a:defRPr>
              </a:lvl2pPr>
              <a:lvl3pPr marL="757238" indent="-260350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3pPr>
              <a:lvl4pPr marL="1004888" indent="-246063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4pPr>
              <a:lvl5pPr marL="3128963" indent="15875" defTabSz="728663">
                <a:spcBef>
                  <a:spcPct val="20000"/>
                </a:spcBef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5pPr>
              <a:lvl6pPr marL="35861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6pPr>
              <a:lvl7pPr marL="40433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7pPr>
              <a:lvl8pPr marL="45005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8pPr>
              <a:lvl9pPr marL="4957763" indent="15875" defTabSz="728663" eaLnBrk="0" fontAlgn="base" hangingPunct="0">
                <a:spcBef>
                  <a:spcPct val="20000"/>
                </a:spcBef>
                <a:spcAft>
                  <a:spcPct val="0"/>
                </a:spcAft>
                <a:buChar char="•"/>
                <a:tabLst>
                  <a:tab pos="4286250" algn="l"/>
                </a:tabLst>
                <a:defRPr>
                  <a:solidFill>
                    <a:schemeClr val="tx1"/>
                  </a:solidFill>
                  <a:latin typeface="Trebuchet MS" panose="020B0603020202020204" pitchFamily="34" charset="0"/>
                </a:defRPr>
              </a:lvl9pPr>
            </a:lstStyle>
            <a:p>
              <a:pPr algn="ctr" eaLnBrk="1" hangingPunct="1">
                <a:lnSpc>
                  <a:spcPct val="95000"/>
                </a:lnSpc>
                <a:spcBef>
                  <a:spcPct val="0"/>
                </a:spcBef>
                <a:buClr>
                  <a:schemeClr val="bg1"/>
                </a:buClr>
                <a:buFontTx/>
                <a:buNone/>
              </a:pPr>
              <a:r>
                <a:rPr lang="nl-NL" altLang="nl-NL" sz="1200" b="1"/>
                <a:t>  Moerdijk</a:t>
              </a:r>
            </a:p>
          </p:txBody>
        </p:sp>
      </p:grpSp>
      <p:sp>
        <p:nvSpPr>
          <p:cNvPr id="24601" name="Freeform 79"/>
          <p:cNvSpPr>
            <a:spLocks/>
          </p:cNvSpPr>
          <p:nvPr/>
        </p:nvSpPr>
        <p:spPr bwMode="auto">
          <a:xfrm>
            <a:off x="4692650" y="3121025"/>
            <a:ext cx="1588" cy="3175"/>
          </a:xfrm>
          <a:custGeom>
            <a:avLst/>
            <a:gdLst>
              <a:gd name="T0" fmla="*/ 0 w 1588"/>
              <a:gd name="T1" fmla="*/ 2147483646 h 3"/>
              <a:gd name="T2" fmla="*/ 0 w 1588"/>
              <a:gd name="T3" fmla="*/ 0 h 3"/>
              <a:gd name="T4" fmla="*/ 0 w 1588"/>
              <a:gd name="T5" fmla="*/ 0 h 3"/>
              <a:gd name="T6" fmla="*/ 0 w 1588"/>
              <a:gd name="T7" fmla="*/ 0 h 3"/>
              <a:gd name="T8" fmla="*/ 0 w 1588"/>
              <a:gd name="T9" fmla="*/ 0 h 3"/>
              <a:gd name="T10" fmla="*/ 0 w 1588"/>
              <a:gd name="T11" fmla="*/ 2147483646 h 3"/>
              <a:gd name="T12" fmla="*/ 0 w 1588"/>
              <a:gd name="T13" fmla="*/ 2147483646 h 3"/>
              <a:gd name="T14" fmla="*/ 0 w 1588"/>
              <a:gd name="T15" fmla="*/ 2147483646 h 3"/>
              <a:gd name="T16" fmla="*/ 0 w 1588"/>
              <a:gd name="T17" fmla="*/ 2147483646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88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2" name="Freeform 80"/>
          <p:cNvSpPr>
            <a:spLocks/>
          </p:cNvSpPr>
          <p:nvPr/>
        </p:nvSpPr>
        <p:spPr bwMode="auto">
          <a:xfrm>
            <a:off x="4695825" y="3108325"/>
            <a:ext cx="4763" cy="1588"/>
          </a:xfrm>
          <a:custGeom>
            <a:avLst/>
            <a:gdLst>
              <a:gd name="T0" fmla="*/ 2147483646 w 3"/>
              <a:gd name="T1" fmla="*/ 0 h 1588"/>
              <a:gd name="T2" fmla="*/ 0 w 3"/>
              <a:gd name="T3" fmla="*/ 0 h 1588"/>
              <a:gd name="T4" fmla="*/ 0 w 3"/>
              <a:gd name="T5" fmla="*/ 0 h 1588"/>
              <a:gd name="T6" fmla="*/ 0 w 3"/>
              <a:gd name="T7" fmla="*/ 0 h 1588"/>
              <a:gd name="T8" fmla="*/ 0 w 3"/>
              <a:gd name="T9" fmla="*/ 0 h 1588"/>
              <a:gd name="T10" fmla="*/ 2147483646 w 3"/>
              <a:gd name="T11" fmla="*/ 0 h 1588"/>
              <a:gd name="T12" fmla="*/ 2147483646 w 3"/>
              <a:gd name="T13" fmla="*/ 0 h 1588"/>
              <a:gd name="T14" fmla="*/ 2147483646 w 3"/>
              <a:gd name="T15" fmla="*/ 0 h 1588"/>
              <a:gd name="T16" fmla="*/ 2147483646 w 3"/>
              <a:gd name="T17" fmla="*/ 0 h 15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" h="1588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3" name="Freeform 81"/>
          <p:cNvSpPr>
            <a:spLocks/>
          </p:cNvSpPr>
          <p:nvPr/>
        </p:nvSpPr>
        <p:spPr bwMode="auto">
          <a:xfrm>
            <a:off x="4683125" y="3111500"/>
            <a:ext cx="6350" cy="1588"/>
          </a:xfrm>
          <a:custGeom>
            <a:avLst/>
            <a:gdLst>
              <a:gd name="T0" fmla="*/ 2147483646 w 6"/>
              <a:gd name="T1" fmla="*/ 0 h 1588"/>
              <a:gd name="T2" fmla="*/ 2147483646 w 6"/>
              <a:gd name="T3" fmla="*/ 0 h 1588"/>
              <a:gd name="T4" fmla="*/ 2147483646 w 6"/>
              <a:gd name="T5" fmla="*/ 0 h 1588"/>
              <a:gd name="T6" fmla="*/ 0 w 6"/>
              <a:gd name="T7" fmla="*/ 0 h 1588"/>
              <a:gd name="T8" fmla="*/ 0 w 6"/>
              <a:gd name="T9" fmla="*/ 0 h 1588"/>
              <a:gd name="T10" fmla="*/ 2147483646 w 6"/>
              <a:gd name="T11" fmla="*/ 0 h 1588"/>
              <a:gd name="T12" fmla="*/ 2147483646 w 6"/>
              <a:gd name="T13" fmla="*/ 0 h 1588"/>
              <a:gd name="T14" fmla="*/ 2147483646 w 6"/>
              <a:gd name="T15" fmla="*/ 0 h 1588"/>
              <a:gd name="T16" fmla="*/ 2147483646 w 6"/>
              <a:gd name="T17" fmla="*/ 0 h 15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88">
                <a:moveTo>
                  <a:pt x="6" y="0"/>
                </a:move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4" name="Freeform 82"/>
          <p:cNvSpPr>
            <a:spLocks/>
          </p:cNvSpPr>
          <p:nvPr/>
        </p:nvSpPr>
        <p:spPr bwMode="auto">
          <a:xfrm>
            <a:off x="4683125" y="3111500"/>
            <a:ext cx="6350" cy="1588"/>
          </a:xfrm>
          <a:custGeom>
            <a:avLst/>
            <a:gdLst>
              <a:gd name="T0" fmla="*/ 0 w 6"/>
              <a:gd name="T1" fmla="*/ 0 h 1588"/>
              <a:gd name="T2" fmla="*/ 2147483646 w 6"/>
              <a:gd name="T3" fmla="*/ 0 h 1588"/>
              <a:gd name="T4" fmla="*/ 2147483646 w 6"/>
              <a:gd name="T5" fmla="*/ 0 h 1588"/>
              <a:gd name="T6" fmla="*/ 2147483646 w 6"/>
              <a:gd name="T7" fmla="*/ 0 h 1588"/>
              <a:gd name="T8" fmla="*/ 2147483646 w 6"/>
              <a:gd name="T9" fmla="*/ 0 h 1588"/>
              <a:gd name="T10" fmla="*/ 0 w 6"/>
              <a:gd name="T11" fmla="*/ 0 h 1588"/>
              <a:gd name="T12" fmla="*/ 2147483646 w 6"/>
              <a:gd name="T13" fmla="*/ 0 h 1588"/>
              <a:gd name="T14" fmla="*/ 2147483646 w 6"/>
              <a:gd name="T15" fmla="*/ 0 h 1588"/>
              <a:gd name="T16" fmla="*/ 2147483646 w 6"/>
              <a:gd name="T17" fmla="*/ 0 h 1588"/>
              <a:gd name="T18" fmla="*/ 0 w 6"/>
              <a:gd name="T19" fmla="*/ 0 h 15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" h="1588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5" name="Freeform 83"/>
          <p:cNvSpPr>
            <a:spLocks/>
          </p:cNvSpPr>
          <p:nvPr/>
        </p:nvSpPr>
        <p:spPr bwMode="auto">
          <a:xfrm>
            <a:off x="4679950" y="3114675"/>
            <a:ext cx="0" cy="3175"/>
          </a:xfrm>
          <a:custGeom>
            <a:avLst/>
            <a:gdLst>
              <a:gd name="T0" fmla="*/ 2147483646 h 3"/>
              <a:gd name="T1" fmla="*/ 2147483646 h 3"/>
              <a:gd name="T2" fmla="*/ 2147483646 h 3"/>
              <a:gd name="T3" fmla="*/ 2147483646 h 3"/>
              <a:gd name="T4" fmla="*/ 2147483646 h 3"/>
              <a:gd name="T5" fmla="*/ 2147483646 h 3"/>
              <a:gd name="T6" fmla="*/ 0 h 3"/>
              <a:gd name="T7" fmla="*/ 2147483646 h 3"/>
              <a:gd name="T8" fmla="*/ 2147483646 h 3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0" y="T0"/>
              </a:cxn>
              <a:cxn ang="T10">
                <a:pos x="0" y="T1"/>
              </a:cxn>
              <a:cxn ang="T11">
                <a:pos x="0" y="T2"/>
              </a:cxn>
              <a:cxn ang="T12">
                <a:pos x="0" y="T3"/>
              </a:cxn>
              <a:cxn ang="T13">
                <a:pos x="0" y="T4"/>
              </a:cxn>
              <a:cxn ang="T14">
                <a:pos x="0" y="T5"/>
              </a:cxn>
              <a:cxn ang="T15">
                <a:pos x="0" y="T6"/>
              </a:cxn>
              <a:cxn ang="T16">
                <a:pos x="0" y="T7"/>
              </a:cxn>
              <a:cxn ang="T17">
                <a:pos x="0" y="T8"/>
              </a:cxn>
            </a:cxnLst>
            <a:rect l="0" t="0" r="r" b="b"/>
            <a:pathLst>
              <a:path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6" name="Freeform 84"/>
          <p:cNvSpPr>
            <a:spLocks/>
          </p:cNvSpPr>
          <p:nvPr/>
        </p:nvSpPr>
        <p:spPr bwMode="auto">
          <a:xfrm>
            <a:off x="4660900" y="3146425"/>
            <a:ext cx="3175" cy="1588"/>
          </a:xfrm>
          <a:custGeom>
            <a:avLst/>
            <a:gdLst>
              <a:gd name="T0" fmla="*/ 0 w 2"/>
              <a:gd name="T1" fmla="*/ 0 h 1588"/>
              <a:gd name="T2" fmla="*/ 2147483646 w 2"/>
              <a:gd name="T3" fmla="*/ 0 h 1588"/>
              <a:gd name="T4" fmla="*/ 2147483646 w 2"/>
              <a:gd name="T5" fmla="*/ 0 h 1588"/>
              <a:gd name="T6" fmla="*/ 2147483646 w 2"/>
              <a:gd name="T7" fmla="*/ 0 h 1588"/>
              <a:gd name="T8" fmla="*/ 2147483646 w 2"/>
              <a:gd name="T9" fmla="*/ 0 h 1588"/>
              <a:gd name="T10" fmla="*/ 0 w 2"/>
              <a:gd name="T11" fmla="*/ 0 h 1588"/>
              <a:gd name="T12" fmla="*/ 0 w 2"/>
              <a:gd name="T13" fmla="*/ 0 h 1588"/>
              <a:gd name="T14" fmla="*/ 0 w 2"/>
              <a:gd name="T15" fmla="*/ 0 h 1588"/>
              <a:gd name="T16" fmla="*/ 0 w 2"/>
              <a:gd name="T17" fmla="*/ 0 h 15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" h="1588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7" name="Freeform 85"/>
          <p:cNvSpPr>
            <a:spLocks/>
          </p:cNvSpPr>
          <p:nvPr/>
        </p:nvSpPr>
        <p:spPr bwMode="auto">
          <a:xfrm>
            <a:off x="4402138" y="2947988"/>
            <a:ext cx="4762" cy="3175"/>
          </a:xfrm>
          <a:custGeom>
            <a:avLst/>
            <a:gdLst>
              <a:gd name="T0" fmla="*/ 2147483646 w 4"/>
              <a:gd name="T1" fmla="*/ 0 h 3"/>
              <a:gd name="T2" fmla="*/ 0 w 4"/>
              <a:gd name="T3" fmla="*/ 0 h 3"/>
              <a:gd name="T4" fmla="*/ 0 w 4"/>
              <a:gd name="T5" fmla="*/ 2147483646 h 3"/>
              <a:gd name="T6" fmla="*/ 2147483646 w 4"/>
              <a:gd name="T7" fmla="*/ 2147483646 h 3"/>
              <a:gd name="T8" fmla="*/ 2147483646 w 4"/>
              <a:gd name="T9" fmla="*/ 0 h 3"/>
              <a:gd name="T10" fmla="*/ 2147483646 w 4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0" y="0"/>
                </a:lnTo>
                <a:lnTo>
                  <a:pt x="0" y="3"/>
                </a:lnTo>
                <a:lnTo>
                  <a:pt x="4" y="3"/>
                </a:lnTo>
                <a:lnTo>
                  <a:pt x="4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8" name="Freeform 86"/>
          <p:cNvSpPr>
            <a:spLocks/>
          </p:cNvSpPr>
          <p:nvPr/>
        </p:nvSpPr>
        <p:spPr bwMode="auto">
          <a:xfrm>
            <a:off x="4416425" y="2913063"/>
            <a:ext cx="3175" cy="0"/>
          </a:xfrm>
          <a:custGeom>
            <a:avLst/>
            <a:gdLst>
              <a:gd name="T0" fmla="*/ 2147483646 w 5"/>
              <a:gd name="T1" fmla="*/ 2147483646 w 5"/>
              <a:gd name="T2" fmla="*/ 2147483646 w 5"/>
              <a:gd name="T3" fmla="*/ 0 w 5"/>
              <a:gd name="T4" fmla="*/ 0 w 5"/>
              <a:gd name="T5" fmla="*/ 2147483646 w 5"/>
              <a:gd name="T6" fmla="*/ 2147483646 w 5"/>
              <a:gd name="T7" fmla="*/ 2147483646 w 5"/>
              <a:gd name="T8" fmla="*/ 2147483646 w 5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5">
                <a:moveTo>
                  <a:pt x="5" y="0"/>
                </a:moveTo>
                <a:lnTo>
                  <a:pt x="5" y="0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09" name="Freeform 87"/>
          <p:cNvSpPr>
            <a:spLocks/>
          </p:cNvSpPr>
          <p:nvPr/>
        </p:nvSpPr>
        <p:spPr bwMode="auto">
          <a:xfrm>
            <a:off x="4416425" y="2913063"/>
            <a:ext cx="3175" cy="0"/>
          </a:xfrm>
          <a:custGeom>
            <a:avLst/>
            <a:gdLst>
              <a:gd name="T0" fmla="*/ 0 w 5"/>
              <a:gd name="T1" fmla="*/ 2147483646 w 5"/>
              <a:gd name="T2" fmla="*/ 2147483646 w 5"/>
              <a:gd name="T3" fmla="*/ 2147483646 w 5"/>
              <a:gd name="T4" fmla="*/ 2147483646 w 5"/>
              <a:gd name="T5" fmla="*/ 0 w 5"/>
              <a:gd name="T6" fmla="*/ 2147483646 w 5"/>
              <a:gd name="T7" fmla="*/ 2147483646 w 5"/>
              <a:gd name="T8" fmla="*/ 2147483646 w 5"/>
              <a:gd name="T9" fmla="*/ 0 w 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</a:gdLst>
            <a:ahLst/>
            <a:cxnLst>
              <a:cxn ang="T10">
                <a:pos x="T0" y="0"/>
              </a:cxn>
              <a:cxn ang="T11">
                <a:pos x="T1" y="0"/>
              </a:cxn>
              <a:cxn ang="T12">
                <a:pos x="T2" y="0"/>
              </a:cxn>
              <a:cxn ang="T13">
                <a:pos x="T3" y="0"/>
              </a:cxn>
              <a:cxn ang="T14">
                <a:pos x="T4" y="0"/>
              </a:cxn>
              <a:cxn ang="T15">
                <a:pos x="T5" y="0"/>
              </a:cxn>
              <a:cxn ang="T16">
                <a:pos x="T6" y="0"/>
              </a:cxn>
              <a:cxn ang="T17">
                <a:pos x="T7" y="0"/>
              </a:cxn>
              <a:cxn ang="T18">
                <a:pos x="T8" y="0"/>
              </a:cxn>
              <a:cxn ang="T19">
                <a:pos x="T9" y="0"/>
              </a:cxn>
            </a:cxnLst>
            <a:rect l="0" t="0" r="r" b="b"/>
            <a:pathLst>
              <a:path w="5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0" name="Freeform 88"/>
          <p:cNvSpPr>
            <a:spLocks/>
          </p:cNvSpPr>
          <p:nvPr/>
        </p:nvSpPr>
        <p:spPr bwMode="auto">
          <a:xfrm>
            <a:off x="4548188" y="2530475"/>
            <a:ext cx="12700" cy="6350"/>
          </a:xfrm>
          <a:custGeom>
            <a:avLst/>
            <a:gdLst>
              <a:gd name="T0" fmla="*/ 2147483646 w 12"/>
              <a:gd name="T1" fmla="*/ 0 h 6"/>
              <a:gd name="T2" fmla="*/ 0 w 12"/>
              <a:gd name="T3" fmla="*/ 0 h 6"/>
              <a:gd name="T4" fmla="*/ 0 w 12"/>
              <a:gd name="T5" fmla="*/ 2147483646 h 6"/>
              <a:gd name="T6" fmla="*/ 2147483646 w 12"/>
              <a:gd name="T7" fmla="*/ 2147483646 h 6"/>
              <a:gd name="T8" fmla="*/ 2147483646 w 12"/>
              <a:gd name="T9" fmla="*/ 0 h 6"/>
              <a:gd name="T10" fmla="*/ 2147483646 w 12"/>
              <a:gd name="T11" fmla="*/ 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6">
                <a:moveTo>
                  <a:pt x="12" y="0"/>
                </a:moveTo>
                <a:lnTo>
                  <a:pt x="0" y="0"/>
                </a:lnTo>
                <a:lnTo>
                  <a:pt x="0" y="6"/>
                </a:lnTo>
                <a:lnTo>
                  <a:pt x="12" y="6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1" name="Freeform 89"/>
          <p:cNvSpPr>
            <a:spLocks/>
          </p:cNvSpPr>
          <p:nvPr/>
        </p:nvSpPr>
        <p:spPr bwMode="auto">
          <a:xfrm>
            <a:off x="4598988" y="2459038"/>
            <a:ext cx="1587" cy="6350"/>
          </a:xfrm>
          <a:custGeom>
            <a:avLst/>
            <a:gdLst>
              <a:gd name="T0" fmla="*/ 0 w 1587"/>
              <a:gd name="T1" fmla="*/ 2147483646 h 6"/>
              <a:gd name="T2" fmla="*/ 0 w 1587"/>
              <a:gd name="T3" fmla="*/ 0 h 6"/>
              <a:gd name="T4" fmla="*/ 0 w 1587"/>
              <a:gd name="T5" fmla="*/ 0 h 6"/>
              <a:gd name="T6" fmla="*/ 0 w 1587"/>
              <a:gd name="T7" fmla="*/ 0 h 6"/>
              <a:gd name="T8" fmla="*/ 0 w 1587"/>
              <a:gd name="T9" fmla="*/ 0 h 6"/>
              <a:gd name="T10" fmla="*/ 0 w 1587"/>
              <a:gd name="T11" fmla="*/ 2147483646 h 6"/>
              <a:gd name="T12" fmla="*/ 0 w 1587"/>
              <a:gd name="T13" fmla="*/ 2147483646 h 6"/>
              <a:gd name="T14" fmla="*/ 0 w 1587"/>
              <a:gd name="T15" fmla="*/ 2147483646 h 6"/>
              <a:gd name="T16" fmla="*/ 0 w 1587"/>
              <a:gd name="T17" fmla="*/ 2147483646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87" h="6">
                <a:moveTo>
                  <a:pt x="0" y="6"/>
                </a:move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2" name="Freeform 90"/>
          <p:cNvSpPr>
            <a:spLocks/>
          </p:cNvSpPr>
          <p:nvPr/>
        </p:nvSpPr>
        <p:spPr bwMode="auto">
          <a:xfrm>
            <a:off x="4598988" y="2435225"/>
            <a:ext cx="14287" cy="6350"/>
          </a:xfrm>
          <a:custGeom>
            <a:avLst/>
            <a:gdLst>
              <a:gd name="T0" fmla="*/ 2147483646 w 12"/>
              <a:gd name="T1" fmla="*/ 0 h 6"/>
              <a:gd name="T2" fmla="*/ 0 w 12"/>
              <a:gd name="T3" fmla="*/ 0 h 6"/>
              <a:gd name="T4" fmla="*/ 0 w 12"/>
              <a:gd name="T5" fmla="*/ 2147483646 h 6"/>
              <a:gd name="T6" fmla="*/ 2147483646 w 12"/>
              <a:gd name="T7" fmla="*/ 2147483646 h 6"/>
              <a:gd name="T8" fmla="*/ 2147483646 w 12"/>
              <a:gd name="T9" fmla="*/ 0 h 6"/>
              <a:gd name="T10" fmla="*/ 2147483646 w 12"/>
              <a:gd name="T11" fmla="*/ 0 h 6"/>
              <a:gd name="T12" fmla="*/ 2147483646 w 12"/>
              <a:gd name="T13" fmla="*/ 0 h 6"/>
              <a:gd name="T14" fmla="*/ 2147483646 w 12"/>
              <a:gd name="T15" fmla="*/ 0 h 6"/>
              <a:gd name="T16" fmla="*/ 2147483646 w 12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" h="6">
                <a:moveTo>
                  <a:pt x="12" y="0"/>
                </a:moveTo>
                <a:lnTo>
                  <a:pt x="0" y="0"/>
                </a:lnTo>
                <a:lnTo>
                  <a:pt x="0" y="6"/>
                </a:lnTo>
                <a:lnTo>
                  <a:pt x="12" y="6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3" name="Freeform 91"/>
          <p:cNvSpPr>
            <a:spLocks/>
          </p:cNvSpPr>
          <p:nvPr/>
        </p:nvSpPr>
        <p:spPr bwMode="auto">
          <a:xfrm>
            <a:off x="4537075" y="2513013"/>
            <a:ext cx="4763" cy="0"/>
          </a:xfrm>
          <a:custGeom>
            <a:avLst/>
            <a:gdLst>
              <a:gd name="T0" fmla="*/ 0 w 6"/>
              <a:gd name="T1" fmla="*/ 2147483646 w 6"/>
              <a:gd name="T2" fmla="*/ 2147483646 w 6"/>
              <a:gd name="T3" fmla="*/ 2147483646 w 6"/>
              <a:gd name="T4" fmla="*/ 2147483646 w 6"/>
              <a:gd name="T5" fmla="*/ 0 w 6"/>
              <a:gd name="T6" fmla="*/ 0 w 6"/>
              <a:gd name="T7" fmla="*/ 0 w 6"/>
              <a:gd name="T8" fmla="*/ 0 w 6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6">
                <a:moveTo>
                  <a:pt x="0" y="0"/>
                </a:move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4" name="Freeform 92"/>
          <p:cNvSpPr>
            <a:spLocks/>
          </p:cNvSpPr>
          <p:nvPr/>
        </p:nvSpPr>
        <p:spPr bwMode="auto">
          <a:xfrm>
            <a:off x="5149850" y="2560638"/>
            <a:ext cx="14288" cy="17462"/>
          </a:xfrm>
          <a:custGeom>
            <a:avLst/>
            <a:gdLst>
              <a:gd name="T0" fmla="*/ 2147483646 w 12"/>
              <a:gd name="T1" fmla="*/ 0 h 18"/>
              <a:gd name="T2" fmla="*/ 0 w 12"/>
              <a:gd name="T3" fmla="*/ 0 h 18"/>
              <a:gd name="T4" fmla="*/ 0 w 12"/>
              <a:gd name="T5" fmla="*/ 2147483646 h 18"/>
              <a:gd name="T6" fmla="*/ 2147483646 w 12"/>
              <a:gd name="T7" fmla="*/ 2147483646 h 18"/>
              <a:gd name="T8" fmla="*/ 2147483646 w 12"/>
              <a:gd name="T9" fmla="*/ 0 h 18"/>
              <a:gd name="T10" fmla="*/ 2147483646 w 12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18">
                <a:moveTo>
                  <a:pt x="12" y="0"/>
                </a:moveTo>
                <a:lnTo>
                  <a:pt x="0" y="0"/>
                </a:lnTo>
                <a:lnTo>
                  <a:pt x="0" y="18"/>
                </a:lnTo>
                <a:lnTo>
                  <a:pt x="12" y="18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5" name="Freeform 93"/>
          <p:cNvSpPr>
            <a:spLocks/>
          </p:cNvSpPr>
          <p:nvPr/>
        </p:nvSpPr>
        <p:spPr bwMode="auto">
          <a:xfrm>
            <a:off x="5803900" y="2224088"/>
            <a:ext cx="6350" cy="23812"/>
          </a:xfrm>
          <a:custGeom>
            <a:avLst/>
            <a:gdLst>
              <a:gd name="T0" fmla="*/ 2147483646 w 6"/>
              <a:gd name="T1" fmla="*/ 0 h 24"/>
              <a:gd name="T2" fmla="*/ 0 w 6"/>
              <a:gd name="T3" fmla="*/ 0 h 24"/>
              <a:gd name="T4" fmla="*/ 0 w 6"/>
              <a:gd name="T5" fmla="*/ 2147483646 h 24"/>
              <a:gd name="T6" fmla="*/ 2147483646 w 6"/>
              <a:gd name="T7" fmla="*/ 2147483646 h 24"/>
              <a:gd name="T8" fmla="*/ 2147483646 w 6"/>
              <a:gd name="T9" fmla="*/ 0 h 24"/>
              <a:gd name="T10" fmla="*/ 2147483646 w 6"/>
              <a:gd name="T11" fmla="*/ 0 h 24"/>
              <a:gd name="T12" fmla="*/ 2147483646 w 6"/>
              <a:gd name="T13" fmla="*/ 0 h 24"/>
              <a:gd name="T14" fmla="*/ 2147483646 w 6"/>
              <a:gd name="T15" fmla="*/ 0 h 24"/>
              <a:gd name="T16" fmla="*/ 0 w 6"/>
              <a:gd name="T17" fmla="*/ 0 h 24"/>
              <a:gd name="T18" fmla="*/ 2147483646 w 6"/>
              <a:gd name="T19" fmla="*/ 0 h 2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" h="24">
                <a:moveTo>
                  <a:pt x="6" y="0"/>
                </a:moveTo>
                <a:lnTo>
                  <a:pt x="0" y="0"/>
                </a:lnTo>
                <a:lnTo>
                  <a:pt x="0" y="24"/>
                </a:lnTo>
                <a:lnTo>
                  <a:pt x="6" y="24"/>
                </a:ln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6" name="Freeform 94"/>
          <p:cNvSpPr>
            <a:spLocks/>
          </p:cNvSpPr>
          <p:nvPr/>
        </p:nvSpPr>
        <p:spPr bwMode="auto">
          <a:xfrm>
            <a:off x="5233988" y="1905000"/>
            <a:ext cx="6350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7" name="Freeform 95"/>
          <p:cNvSpPr>
            <a:spLocks/>
          </p:cNvSpPr>
          <p:nvPr/>
        </p:nvSpPr>
        <p:spPr bwMode="auto">
          <a:xfrm>
            <a:off x="3813175" y="4379913"/>
            <a:ext cx="6350" cy="6350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0 h 2"/>
              <a:gd name="T4" fmla="*/ 0 w 2"/>
              <a:gd name="T5" fmla="*/ 2147483646 h 2"/>
              <a:gd name="T6" fmla="*/ 0 w 2"/>
              <a:gd name="T7" fmla="*/ 2147483646 h 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0"/>
                </a:lnTo>
                <a:lnTo>
                  <a:pt x="0" y="2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8" name="Freeform 96"/>
          <p:cNvSpPr>
            <a:spLocks/>
          </p:cNvSpPr>
          <p:nvPr/>
        </p:nvSpPr>
        <p:spPr bwMode="auto">
          <a:xfrm>
            <a:off x="3641725" y="4106863"/>
            <a:ext cx="195263" cy="119062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19" name="Freeform 97"/>
          <p:cNvSpPr>
            <a:spLocks/>
          </p:cNvSpPr>
          <p:nvPr/>
        </p:nvSpPr>
        <p:spPr bwMode="auto">
          <a:xfrm>
            <a:off x="3722688" y="4064000"/>
            <a:ext cx="80962" cy="46038"/>
          </a:xfrm>
          <a:custGeom>
            <a:avLst/>
            <a:gdLst>
              <a:gd name="T0" fmla="*/ 2147483646 w 26"/>
              <a:gd name="T1" fmla="*/ 2147483646 h 16"/>
              <a:gd name="T2" fmla="*/ 2147483646 w 26"/>
              <a:gd name="T3" fmla="*/ 2147483646 h 16"/>
              <a:gd name="T4" fmla="*/ 2147483646 w 26"/>
              <a:gd name="T5" fmla="*/ 2147483646 h 16"/>
              <a:gd name="T6" fmla="*/ 2147483646 w 26"/>
              <a:gd name="T7" fmla="*/ 2147483646 h 16"/>
              <a:gd name="T8" fmla="*/ 2147483646 w 26"/>
              <a:gd name="T9" fmla="*/ 2147483646 h 16"/>
              <a:gd name="T10" fmla="*/ 2147483646 w 26"/>
              <a:gd name="T11" fmla="*/ 0 h 16"/>
              <a:gd name="T12" fmla="*/ 2147483646 w 26"/>
              <a:gd name="T13" fmla="*/ 2147483646 h 16"/>
              <a:gd name="T14" fmla="*/ 2147483646 w 26"/>
              <a:gd name="T15" fmla="*/ 2147483646 h 16"/>
              <a:gd name="T16" fmla="*/ 2147483646 w 26"/>
              <a:gd name="T17" fmla="*/ 2147483646 h 16"/>
              <a:gd name="T18" fmla="*/ 0 w 26"/>
              <a:gd name="T19" fmla="*/ 2147483646 h 16"/>
              <a:gd name="T20" fmla="*/ 0 w 26"/>
              <a:gd name="T21" fmla="*/ 2147483646 h 16"/>
              <a:gd name="T22" fmla="*/ 2147483646 w 26"/>
              <a:gd name="T23" fmla="*/ 2147483646 h 16"/>
              <a:gd name="T24" fmla="*/ 2147483646 w 26"/>
              <a:gd name="T25" fmla="*/ 2147483646 h 16"/>
              <a:gd name="T26" fmla="*/ 2147483646 w 26"/>
              <a:gd name="T27" fmla="*/ 2147483646 h 16"/>
              <a:gd name="T28" fmla="*/ 2147483646 w 26"/>
              <a:gd name="T29" fmla="*/ 2147483646 h 16"/>
              <a:gd name="T30" fmla="*/ 2147483646 w 26"/>
              <a:gd name="T31" fmla="*/ 2147483646 h 16"/>
              <a:gd name="T32" fmla="*/ 2147483646 w 26"/>
              <a:gd name="T33" fmla="*/ 2147483646 h 16"/>
              <a:gd name="T34" fmla="*/ 2147483646 w 26"/>
              <a:gd name="T35" fmla="*/ 2147483646 h 16"/>
              <a:gd name="T36" fmla="*/ 2147483646 w 26"/>
              <a:gd name="T37" fmla="*/ 2147483646 h 16"/>
              <a:gd name="T38" fmla="*/ 2147483646 w 26"/>
              <a:gd name="T39" fmla="*/ 2147483646 h 16"/>
              <a:gd name="T40" fmla="*/ 2147483646 w 26"/>
              <a:gd name="T41" fmla="*/ 2147483646 h 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6" h="16">
                <a:moveTo>
                  <a:pt x="26" y="8"/>
                </a:moveTo>
                <a:lnTo>
                  <a:pt x="26" y="8"/>
                </a:lnTo>
                <a:lnTo>
                  <a:pt x="24" y="9"/>
                </a:lnTo>
                <a:lnTo>
                  <a:pt x="22" y="8"/>
                </a:lnTo>
                <a:lnTo>
                  <a:pt x="19" y="7"/>
                </a:lnTo>
                <a:lnTo>
                  <a:pt x="7" y="0"/>
                </a:lnTo>
                <a:lnTo>
                  <a:pt x="5" y="1"/>
                </a:lnTo>
                <a:lnTo>
                  <a:pt x="3" y="2"/>
                </a:lnTo>
                <a:lnTo>
                  <a:pt x="1" y="4"/>
                </a:lnTo>
                <a:lnTo>
                  <a:pt x="0" y="6"/>
                </a:lnTo>
                <a:lnTo>
                  <a:pt x="0" y="8"/>
                </a:lnTo>
                <a:lnTo>
                  <a:pt x="4" y="11"/>
                </a:lnTo>
                <a:lnTo>
                  <a:pt x="6" y="15"/>
                </a:lnTo>
                <a:lnTo>
                  <a:pt x="7" y="16"/>
                </a:lnTo>
                <a:lnTo>
                  <a:pt x="8" y="15"/>
                </a:lnTo>
                <a:lnTo>
                  <a:pt x="12" y="16"/>
                </a:lnTo>
                <a:lnTo>
                  <a:pt x="16" y="14"/>
                </a:lnTo>
                <a:lnTo>
                  <a:pt x="20" y="15"/>
                </a:lnTo>
                <a:lnTo>
                  <a:pt x="20" y="16"/>
                </a:lnTo>
                <a:lnTo>
                  <a:pt x="26" y="14"/>
                </a:lnTo>
                <a:lnTo>
                  <a:pt x="26" y="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0" name="Freeform 98"/>
          <p:cNvSpPr>
            <a:spLocks/>
          </p:cNvSpPr>
          <p:nvPr/>
        </p:nvSpPr>
        <p:spPr bwMode="auto">
          <a:xfrm>
            <a:off x="3246438" y="4113213"/>
            <a:ext cx="708025" cy="266700"/>
          </a:xfrm>
          <a:custGeom>
            <a:avLst/>
            <a:gdLst>
              <a:gd name="T0" fmla="*/ 2147483646 w 226"/>
              <a:gd name="T1" fmla="*/ 2147483646 h 93"/>
              <a:gd name="T2" fmla="*/ 2147483646 w 226"/>
              <a:gd name="T3" fmla="*/ 2147483646 h 93"/>
              <a:gd name="T4" fmla="*/ 2147483646 w 226"/>
              <a:gd name="T5" fmla="*/ 2147483646 h 93"/>
              <a:gd name="T6" fmla="*/ 2147483646 w 226"/>
              <a:gd name="T7" fmla="*/ 2147483646 h 93"/>
              <a:gd name="T8" fmla="*/ 2147483646 w 226"/>
              <a:gd name="T9" fmla="*/ 2147483646 h 93"/>
              <a:gd name="T10" fmla="*/ 2147483646 w 226"/>
              <a:gd name="T11" fmla="*/ 2147483646 h 93"/>
              <a:gd name="T12" fmla="*/ 2147483646 w 226"/>
              <a:gd name="T13" fmla="*/ 2147483646 h 93"/>
              <a:gd name="T14" fmla="*/ 2147483646 w 226"/>
              <a:gd name="T15" fmla="*/ 2147483646 h 93"/>
              <a:gd name="T16" fmla="*/ 2147483646 w 226"/>
              <a:gd name="T17" fmla="*/ 2147483646 h 93"/>
              <a:gd name="T18" fmla="*/ 2147483646 w 226"/>
              <a:gd name="T19" fmla="*/ 2147483646 h 93"/>
              <a:gd name="T20" fmla="*/ 2147483646 w 226"/>
              <a:gd name="T21" fmla="*/ 2147483646 h 93"/>
              <a:gd name="T22" fmla="*/ 2147483646 w 226"/>
              <a:gd name="T23" fmla="*/ 2147483646 h 93"/>
              <a:gd name="T24" fmla="*/ 2147483646 w 226"/>
              <a:gd name="T25" fmla="*/ 2147483646 h 93"/>
              <a:gd name="T26" fmla="*/ 2147483646 w 226"/>
              <a:gd name="T27" fmla="*/ 2147483646 h 93"/>
              <a:gd name="T28" fmla="*/ 2147483646 w 226"/>
              <a:gd name="T29" fmla="*/ 2147483646 h 93"/>
              <a:gd name="T30" fmla="*/ 2147483646 w 226"/>
              <a:gd name="T31" fmla="*/ 0 h 93"/>
              <a:gd name="T32" fmla="*/ 2147483646 w 226"/>
              <a:gd name="T33" fmla="*/ 2147483646 h 93"/>
              <a:gd name="T34" fmla="*/ 2147483646 w 226"/>
              <a:gd name="T35" fmla="*/ 2147483646 h 93"/>
              <a:gd name="T36" fmla="*/ 2147483646 w 226"/>
              <a:gd name="T37" fmla="*/ 2147483646 h 93"/>
              <a:gd name="T38" fmla="*/ 2147483646 w 226"/>
              <a:gd name="T39" fmla="*/ 2147483646 h 93"/>
              <a:gd name="T40" fmla="*/ 2147483646 w 226"/>
              <a:gd name="T41" fmla="*/ 2147483646 h 93"/>
              <a:gd name="T42" fmla="*/ 2147483646 w 226"/>
              <a:gd name="T43" fmla="*/ 2147483646 h 93"/>
              <a:gd name="T44" fmla="*/ 0 w 226"/>
              <a:gd name="T45" fmla="*/ 2147483646 h 93"/>
              <a:gd name="T46" fmla="*/ 2147483646 w 226"/>
              <a:gd name="T47" fmla="*/ 2147483646 h 93"/>
              <a:gd name="T48" fmla="*/ 2147483646 w 226"/>
              <a:gd name="T49" fmla="*/ 2147483646 h 93"/>
              <a:gd name="T50" fmla="*/ 2147483646 w 226"/>
              <a:gd name="T51" fmla="*/ 2147483646 h 93"/>
              <a:gd name="T52" fmla="*/ 2147483646 w 226"/>
              <a:gd name="T53" fmla="*/ 2147483646 h 93"/>
              <a:gd name="T54" fmla="*/ 2147483646 w 226"/>
              <a:gd name="T55" fmla="*/ 2147483646 h 93"/>
              <a:gd name="T56" fmla="*/ 2147483646 w 226"/>
              <a:gd name="T57" fmla="*/ 2147483646 h 93"/>
              <a:gd name="T58" fmla="*/ 2147483646 w 226"/>
              <a:gd name="T59" fmla="*/ 2147483646 h 93"/>
              <a:gd name="T60" fmla="*/ 2147483646 w 226"/>
              <a:gd name="T61" fmla="*/ 2147483646 h 93"/>
              <a:gd name="T62" fmla="*/ 2147483646 w 226"/>
              <a:gd name="T63" fmla="*/ 2147483646 h 93"/>
              <a:gd name="T64" fmla="*/ 2147483646 w 226"/>
              <a:gd name="T65" fmla="*/ 2147483646 h 93"/>
              <a:gd name="T66" fmla="*/ 2147483646 w 226"/>
              <a:gd name="T67" fmla="*/ 2147483646 h 93"/>
              <a:gd name="T68" fmla="*/ 2147483646 w 226"/>
              <a:gd name="T69" fmla="*/ 2147483646 h 93"/>
              <a:gd name="T70" fmla="*/ 2147483646 w 226"/>
              <a:gd name="T71" fmla="*/ 2147483646 h 93"/>
              <a:gd name="T72" fmla="*/ 2147483646 w 226"/>
              <a:gd name="T73" fmla="*/ 2147483646 h 93"/>
              <a:gd name="T74" fmla="*/ 2147483646 w 226"/>
              <a:gd name="T75" fmla="*/ 2147483646 h 93"/>
              <a:gd name="T76" fmla="*/ 2147483646 w 226"/>
              <a:gd name="T77" fmla="*/ 2147483646 h 93"/>
              <a:gd name="T78" fmla="*/ 2147483646 w 226"/>
              <a:gd name="T79" fmla="*/ 2147483646 h 93"/>
              <a:gd name="T80" fmla="*/ 2147483646 w 226"/>
              <a:gd name="T81" fmla="*/ 2147483646 h 93"/>
              <a:gd name="T82" fmla="*/ 2147483646 w 226"/>
              <a:gd name="T83" fmla="*/ 2147483646 h 93"/>
              <a:gd name="T84" fmla="*/ 2147483646 w 226"/>
              <a:gd name="T85" fmla="*/ 2147483646 h 93"/>
              <a:gd name="T86" fmla="*/ 2147483646 w 226"/>
              <a:gd name="T87" fmla="*/ 2147483646 h 93"/>
              <a:gd name="T88" fmla="*/ 2147483646 w 226"/>
              <a:gd name="T89" fmla="*/ 2147483646 h 93"/>
              <a:gd name="T90" fmla="*/ 2147483646 w 226"/>
              <a:gd name="T91" fmla="*/ 2147483646 h 93"/>
              <a:gd name="T92" fmla="*/ 2147483646 w 226"/>
              <a:gd name="T93" fmla="*/ 2147483646 h 93"/>
              <a:gd name="T94" fmla="*/ 2147483646 w 226"/>
              <a:gd name="T95" fmla="*/ 2147483646 h 93"/>
              <a:gd name="T96" fmla="*/ 2147483646 w 226"/>
              <a:gd name="T97" fmla="*/ 2147483646 h 93"/>
              <a:gd name="T98" fmla="*/ 2147483646 w 226"/>
              <a:gd name="T99" fmla="*/ 2147483646 h 9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226" h="93">
                <a:moveTo>
                  <a:pt x="204" y="66"/>
                </a:moveTo>
                <a:lnTo>
                  <a:pt x="198" y="56"/>
                </a:lnTo>
                <a:lnTo>
                  <a:pt x="196" y="45"/>
                </a:lnTo>
                <a:lnTo>
                  <a:pt x="211" y="27"/>
                </a:lnTo>
                <a:lnTo>
                  <a:pt x="205" y="22"/>
                </a:lnTo>
                <a:lnTo>
                  <a:pt x="189" y="39"/>
                </a:lnTo>
                <a:lnTo>
                  <a:pt x="189" y="40"/>
                </a:lnTo>
                <a:lnTo>
                  <a:pt x="188" y="42"/>
                </a:lnTo>
                <a:lnTo>
                  <a:pt x="193" y="45"/>
                </a:lnTo>
                <a:lnTo>
                  <a:pt x="193" y="48"/>
                </a:lnTo>
                <a:lnTo>
                  <a:pt x="194" y="50"/>
                </a:lnTo>
                <a:lnTo>
                  <a:pt x="195" y="52"/>
                </a:lnTo>
                <a:lnTo>
                  <a:pt x="195" y="59"/>
                </a:lnTo>
                <a:lnTo>
                  <a:pt x="193" y="60"/>
                </a:lnTo>
                <a:lnTo>
                  <a:pt x="192" y="61"/>
                </a:lnTo>
                <a:lnTo>
                  <a:pt x="189" y="61"/>
                </a:lnTo>
                <a:lnTo>
                  <a:pt x="187" y="60"/>
                </a:lnTo>
                <a:lnTo>
                  <a:pt x="186" y="62"/>
                </a:lnTo>
                <a:lnTo>
                  <a:pt x="180" y="65"/>
                </a:lnTo>
                <a:lnTo>
                  <a:pt x="178" y="64"/>
                </a:lnTo>
                <a:lnTo>
                  <a:pt x="174" y="61"/>
                </a:lnTo>
                <a:lnTo>
                  <a:pt x="172" y="63"/>
                </a:lnTo>
                <a:lnTo>
                  <a:pt x="168" y="61"/>
                </a:lnTo>
                <a:lnTo>
                  <a:pt x="162" y="64"/>
                </a:lnTo>
                <a:lnTo>
                  <a:pt x="159" y="64"/>
                </a:lnTo>
                <a:lnTo>
                  <a:pt x="157" y="62"/>
                </a:lnTo>
                <a:lnTo>
                  <a:pt x="155" y="62"/>
                </a:lnTo>
                <a:lnTo>
                  <a:pt x="153" y="60"/>
                </a:lnTo>
                <a:lnTo>
                  <a:pt x="150" y="58"/>
                </a:lnTo>
                <a:lnTo>
                  <a:pt x="148" y="54"/>
                </a:lnTo>
                <a:lnTo>
                  <a:pt x="147" y="53"/>
                </a:lnTo>
                <a:lnTo>
                  <a:pt x="142" y="47"/>
                </a:lnTo>
                <a:lnTo>
                  <a:pt x="141" y="45"/>
                </a:lnTo>
                <a:lnTo>
                  <a:pt x="142" y="44"/>
                </a:lnTo>
                <a:lnTo>
                  <a:pt x="140" y="38"/>
                </a:lnTo>
                <a:lnTo>
                  <a:pt x="137" y="37"/>
                </a:lnTo>
                <a:lnTo>
                  <a:pt x="136" y="35"/>
                </a:lnTo>
                <a:lnTo>
                  <a:pt x="134" y="35"/>
                </a:lnTo>
                <a:lnTo>
                  <a:pt x="132" y="33"/>
                </a:lnTo>
                <a:lnTo>
                  <a:pt x="129" y="32"/>
                </a:lnTo>
                <a:lnTo>
                  <a:pt x="122" y="29"/>
                </a:lnTo>
                <a:lnTo>
                  <a:pt x="118" y="28"/>
                </a:lnTo>
                <a:lnTo>
                  <a:pt x="115" y="29"/>
                </a:lnTo>
                <a:lnTo>
                  <a:pt x="112" y="23"/>
                </a:lnTo>
                <a:lnTo>
                  <a:pt x="111" y="23"/>
                </a:lnTo>
                <a:lnTo>
                  <a:pt x="108" y="22"/>
                </a:lnTo>
                <a:lnTo>
                  <a:pt x="107" y="23"/>
                </a:lnTo>
                <a:lnTo>
                  <a:pt x="103" y="23"/>
                </a:lnTo>
                <a:lnTo>
                  <a:pt x="100" y="24"/>
                </a:lnTo>
                <a:lnTo>
                  <a:pt x="100" y="23"/>
                </a:lnTo>
                <a:lnTo>
                  <a:pt x="99" y="21"/>
                </a:lnTo>
                <a:lnTo>
                  <a:pt x="100" y="20"/>
                </a:lnTo>
                <a:lnTo>
                  <a:pt x="100" y="19"/>
                </a:lnTo>
                <a:lnTo>
                  <a:pt x="106" y="17"/>
                </a:lnTo>
                <a:lnTo>
                  <a:pt x="107" y="16"/>
                </a:lnTo>
                <a:lnTo>
                  <a:pt x="104" y="11"/>
                </a:lnTo>
                <a:lnTo>
                  <a:pt x="103" y="9"/>
                </a:lnTo>
                <a:lnTo>
                  <a:pt x="100" y="3"/>
                </a:lnTo>
                <a:lnTo>
                  <a:pt x="99" y="2"/>
                </a:lnTo>
                <a:lnTo>
                  <a:pt x="96" y="1"/>
                </a:lnTo>
                <a:lnTo>
                  <a:pt x="94" y="1"/>
                </a:lnTo>
                <a:lnTo>
                  <a:pt x="93" y="0"/>
                </a:lnTo>
                <a:lnTo>
                  <a:pt x="90" y="0"/>
                </a:lnTo>
                <a:lnTo>
                  <a:pt x="85" y="0"/>
                </a:lnTo>
                <a:lnTo>
                  <a:pt x="83" y="1"/>
                </a:lnTo>
                <a:lnTo>
                  <a:pt x="79" y="2"/>
                </a:lnTo>
                <a:lnTo>
                  <a:pt x="75" y="2"/>
                </a:lnTo>
                <a:lnTo>
                  <a:pt x="72" y="3"/>
                </a:lnTo>
                <a:lnTo>
                  <a:pt x="69" y="3"/>
                </a:lnTo>
                <a:lnTo>
                  <a:pt x="65" y="4"/>
                </a:lnTo>
                <a:lnTo>
                  <a:pt x="64" y="3"/>
                </a:lnTo>
                <a:lnTo>
                  <a:pt x="61" y="2"/>
                </a:lnTo>
                <a:lnTo>
                  <a:pt x="53" y="3"/>
                </a:lnTo>
                <a:lnTo>
                  <a:pt x="46" y="5"/>
                </a:lnTo>
                <a:lnTo>
                  <a:pt x="44" y="5"/>
                </a:lnTo>
                <a:lnTo>
                  <a:pt x="40" y="3"/>
                </a:lnTo>
                <a:lnTo>
                  <a:pt x="37" y="3"/>
                </a:lnTo>
                <a:lnTo>
                  <a:pt x="35" y="2"/>
                </a:lnTo>
                <a:lnTo>
                  <a:pt x="33" y="2"/>
                </a:lnTo>
                <a:lnTo>
                  <a:pt x="31" y="3"/>
                </a:lnTo>
                <a:lnTo>
                  <a:pt x="24" y="8"/>
                </a:lnTo>
                <a:lnTo>
                  <a:pt x="22" y="8"/>
                </a:lnTo>
                <a:lnTo>
                  <a:pt x="9" y="17"/>
                </a:lnTo>
                <a:lnTo>
                  <a:pt x="7" y="18"/>
                </a:lnTo>
                <a:lnTo>
                  <a:pt x="1" y="22"/>
                </a:lnTo>
                <a:lnTo>
                  <a:pt x="0" y="26"/>
                </a:lnTo>
                <a:lnTo>
                  <a:pt x="1" y="27"/>
                </a:lnTo>
                <a:lnTo>
                  <a:pt x="2" y="28"/>
                </a:lnTo>
                <a:lnTo>
                  <a:pt x="4" y="31"/>
                </a:lnTo>
                <a:lnTo>
                  <a:pt x="7" y="33"/>
                </a:lnTo>
                <a:lnTo>
                  <a:pt x="14" y="38"/>
                </a:lnTo>
                <a:lnTo>
                  <a:pt x="18" y="44"/>
                </a:lnTo>
                <a:lnTo>
                  <a:pt x="18" y="45"/>
                </a:lnTo>
                <a:lnTo>
                  <a:pt x="22" y="51"/>
                </a:lnTo>
                <a:lnTo>
                  <a:pt x="29" y="55"/>
                </a:lnTo>
                <a:lnTo>
                  <a:pt x="32" y="59"/>
                </a:lnTo>
                <a:lnTo>
                  <a:pt x="34" y="59"/>
                </a:lnTo>
                <a:lnTo>
                  <a:pt x="36" y="59"/>
                </a:lnTo>
                <a:lnTo>
                  <a:pt x="36" y="58"/>
                </a:lnTo>
                <a:lnTo>
                  <a:pt x="40" y="59"/>
                </a:lnTo>
                <a:lnTo>
                  <a:pt x="47" y="58"/>
                </a:lnTo>
                <a:lnTo>
                  <a:pt x="49" y="56"/>
                </a:lnTo>
                <a:lnTo>
                  <a:pt x="51" y="56"/>
                </a:lnTo>
                <a:lnTo>
                  <a:pt x="52" y="55"/>
                </a:lnTo>
                <a:lnTo>
                  <a:pt x="51" y="54"/>
                </a:lnTo>
                <a:lnTo>
                  <a:pt x="52" y="53"/>
                </a:lnTo>
                <a:lnTo>
                  <a:pt x="57" y="51"/>
                </a:lnTo>
                <a:lnTo>
                  <a:pt x="58" y="52"/>
                </a:lnTo>
                <a:lnTo>
                  <a:pt x="60" y="50"/>
                </a:lnTo>
                <a:lnTo>
                  <a:pt x="61" y="51"/>
                </a:lnTo>
                <a:lnTo>
                  <a:pt x="60" y="53"/>
                </a:lnTo>
                <a:lnTo>
                  <a:pt x="63" y="55"/>
                </a:lnTo>
                <a:lnTo>
                  <a:pt x="61" y="56"/>
                </a:lnTo>
                <a:lnTo>
                  <a:pt x="59" y="53"/>
                </a:lnTo>
                <a:lnTo>
                  <a:pt x="58" y="53"/>
                </a:lnTo>
                <a:lnTo>
                  <a:pt x="56" y="56"/>
                </a:lnTo>
                <a:lnTo>
                  <a:pt x="62" y="60"/>
                </a:lnTo>
                <a:lnTo>
                  <a:pt x="65" y="64"/>
                </a:lnTo>
                <a:lnTo>
                  <a:pt x="66" y="69"/>
                </a:lnTo>
                <a:lnTo>
                  <a:pt x="69" y="70"/>
                </a:lnTo>
                <a:lnTo>
                  <a:pt x="71" y="70"/>
                </a:lnTo>
                <a:lnTo>
                  <a:pt x="73" y="69"/>
                </a:lnTo>
                <a:lnTo>
                  <a:pt x="73" y="70"/>
                </a:lnTo>
                <a:lnTo>
                  <a:pt x="78" y="71"/>
                </a:lnTo>
                <a:lnTo>
                  <a:pt x="78" y="72"/>
                </a:lnTo>
                <a:lnTo>
                  <a:pt x="87" y="80"/>
                </a:lnTo>
                <a:lnTo>
                  <a:pt x="95" y="78"/>
                </a:lnTo>
                <a:lnTo>
                  <a:pt x="96" y="78"/>
                </a:lnTo>
                <a:lnTo>
                  <a:pt x="99" y="76"/>
                </a:lnTo>
                <a:lnTo>
                  <a:pt x="100" y="76"/>
                </a:lnTo>
                <a:lnTo>
                  <a:pt x="105" y="78"/>
                </a:lnTo>
                <a:lnTo>
                  <a:pt x="106" y="77"/>
                </a:lnTo>
                <a:lnTo>
                  <a:pt x="112" y="62"/>
                </a:lnTo>
                <a:lnTo>
                  <a:pt x="111" y="59"/>
                </a:lnTo>
                <a:lnTo>
                  <a:pt x="112" y="57"/>
                </a:lnTo>
                <a:lnTo>
                  <a:pt x="114" y="58"/>
                </a:lnTo>
                <a:lnTo>
                  <a:pt x="118" y="55"/>
                </a:lnTo>
                <a:lnTo>
                  <a:pt x="122" y="54"/>
                </a:lnTo>
                <a:lnTo>
                  <a:pt x="123" y="53"/>
                </a:lnTo>
                <a:lnTo>
                  <a:pt x="125" y="54"/>
                </a:lnTo>
                <a:lnTo>
                  <a:pt x="127" y="57"/>
                </a:lnTo>
                <a:lnTo>
                  <a:pt x="130" y="60"/>
                </a:lnTo>
                <a:lnTo>
                  <a:pt x="133" y="62"/>
                </a:lnTo>
                <a:lnTo>
                  <a:pt x="135" y="62"/>
                </a:lnTo>
                <a:lnTo>
                  <a:pt x="137" y="63"/>
                </a:lnTo>
                <a:lnTo>
                  <a:pt x="137" y="64"/>
                </a:lnTo>
                <a:lnTo>
                  <a:pt x="139" y="65"/>
                </a:lnTo>
                <a:lnTo>
                  <a:pt x="141" y="68"/>
                </a:lnTo>
                <a:lnTo>
                  <a:pt x="141" y="69"/>
                </a:lnTo>
                <a:lnTo>
                  <a:pt x="142" y="70"/>
                </a:lnTo>
                <a:lnTo>
                  <a:pt x="145" y="71"/>
                </a:lnTo>
                <a:lnTo>
                  <a:pt x="145" y="72"/>
                </a:lnTo>
                <a:lnTo>
                  <a:pt x="152" y="74"/>
                </a:lnTo>
                <a:lnTo>
                  <a:pt x="158" y="76"/>
                </a:lnTo>
                <a:lnTo>
                  <a:pt x="162" y="78"/>
                </a:lnTo>
                <a:lnTo>
                  <a:pt x="163" y="77"/>
                </a:lnTo>
                <a:lnTo>
                  <a:pt x="170" y="75"/>
                </a:lnTo>
                <a:lnTo>
                  <a:pt x="171" y="73"/>
                </a:lnTo>
                <a:lnTo>
                  <a:pt x="174" y="73"/>
                </a:lnTo>
                <a:lnTo>
                  <a:pt x="175" y="76"/>
                </a:lnTo>
                <a:lnTo>
                  <a:pt x="179" y="75"/>
                </a:lnTo>
                <a:lnTo>
                  <a:pt x="181" y="73"/>
                </a:lnTo>
                <a:lnTo>
                  <a:pt x="181" y="76"/>
                </a:lnTo>
                <a:lnTo>
                  <a:pt x="183" y="78"/>
                </a:lnTo>
                <a:lnTo>
                  <a:pt x="184" y="81"/>
                </a:lnTo>
                <a:lnTo>
                  <a:pt x="186" y="83"/>
                </a:lnTo>
                <a:lnTo>
                  <a:pt x="186" y="84"/>
                </a:lnTo>
                <a:lnTo>
                  <a:pt x="183" y="83"/>
                </a:lnTo>
                <a:lnTo>
                  <a:pt x="184" y="85"/>
                </a:lnTo>
                <a:lnTo>
                  <a:pt x="191" y="85"/>
                </a:lnTo>
                <a:lnTo>
                  <a:pt x="196" y="85"/>
                </a:lnTo>
                <a:lnTo>
                  <a:pt x="204" y="85"/>
                </a:lnTo>
                <a:lnTo>
                  <a:pt x="205" y="87"/>
                </a:lnTo>
                <a:lnTo>
                  <a:pt x="206" y="92"/>
                </a:lnTo>
                <a:lnTo>
                  <a:pt x="207" y="92"/>
                </a:lnTo>
                <a:lnTo>
                  <a:pt x="212" y="93"/>
                </a:lnTo>
                <a:lnTo>
                  <a:pt x="215" y="93"/>
                </a:lnTo>
                <a:lnTo>
                  <a:pt x="218" y="93"/>
                </a:lnTo>
                <a:lnTo>
                  <a:pt x="223" y="90"/>
                </a:lnTo>
                <a:lnTo>
                  <a:pt x="224" y="89"/>
                </a:lnTo>
                <a:lnTo>
                  <a:pt x="226" y="90"/>
                </a:lnTo>
                <a:lnTo>
                  <a:pt x="225" y="87"/>
                </a:lnTo>
                <a:lnTo>
                  <a:pt x="226" y="86"/>
                </a:lnTo>
                <a:lnTo>
                  <a:pt x="218" y="74"/>
                </a:lnTo>
                <a:lnTo>
                  <a:pt x="215" y="69"/>
                </a:lnTo>
                <a:lnTo>
                  <a:pt x="218" y="67"/>
                </a:lnTo>
                <a:lnTo>
                  <a:pt x="218" y="65"/>
                </a:lnTo>
                <a:lnTo>
                  <a:pt x="218" y="62"/>
                </a:lnTo>
                <a:lnTo>
                  <a:pt x="218" y="60"/>
                </a:lnTo>
                <a:lnTo>
                  <a:pt x="216" y="61"/>
                </a:lnTo>
                <a:lnTo>
                  <a:pt x="215" y="60"/>
                </a:lnTo>
                <a:lnTo>
                  <a:pt x="215" y="59"/>
                </a:lnTo>
                <a:lnTo>
                  <a:pt x="211" y="58"/>
                </a:lnTo>
                <a:lnTo>
                  <a:pt x="204" y="6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1" name="Freeform 99"/>
          <p:cNvSpPr>
            <a:spLocks/>
          </p:cNvSpPr>
          <p:nvPr/>
        </p:nvSpPr>
        <p:spPr bwMode="auto">
          <a:xfrm>
            <a:off x="3425825" y="3865563"/>
            <a:ext cx="509588" cy="241300"/>
          </a:xfrm>
          <a:custGeom>
            <a:avLst/>
            <a:gdLst>
              <a:gd name="T0" fmla="*/ 2147483646 w 163"/>
              <a:gd name="T1" fmla="*/ 2147483646 h 84"/>
              <a:gd name="T2" fmla="*/ 2147483646 w 163"/>
              <a:gd name="T3" fmla="*/ 2147483646 h 84"/>
              <a:gd name="T4" fmla="*/ 2147483646 w 163"/>
              <a:gd name="T5" fmla="*/ 2147483646 h 84"/>
              <a:gd name="T6" fmla="*/ 2147483646 w 163"/>
              <a:gd name="T7" fmla="*/ 2147483646 h 84"/>
              <a:gd name="T8" fmla="*/ 2147483646 w 163"/>
              <a:gd name="T9" fmla="*/ 2147483646 h 84"/>
              <a:gd name="T10" fmla="*/ 2147483646 w 163"/>
              <a:gd name="T11" fmla="*/ 2147483646 h 84"/>
              <a:gd name="T12" fmla="*/ 2147483646 w 163"/>
              <a:gd name="T13" fmla="*/ 2147483646 h 84"/>
              <a:gd name="T14" fmla="*/ 2147483646 w 163"/>
              <a:gd name="T15" fmla="*/ 2147483646 h 84"/>
              <a:gd name="T16" fmla="*/ 2147483646 w 163"/>
              <a:gd name="T17" fmla="*/ 2147483646 h 84"/>
              <a:gd name="T18" fmla="*/ 2147483646 w 163"/>
              <a:gd name="T19" fmla="*/ 2147483646 h 84"/>
              <a:gd name="T20" fmla="*/ 2147483646 w 163"/>
              <a:gd name="T21" fmla="*/ 2147483646 h 84"/>
              <a:gd name="T22" fmla="*/ 2147483646 w 163"/>
              <a:gd name="T23" fmla="*/ 2147483646 h 84"/>
              <a:gd name="T24" fmla="*/ 2147483646 w 163"/>
              <a:gd name="T25" fmla="*/ 2147483646 h 84"/>
              <a:gd name="T26" fmla="*/ 2147483646 w 163"/>
              <a:gd name="T27" fmla="*/ 2147483646 h 84"/>
              <a:gd name="T28" fmla="*/ 2147483646 w 163"/>
              <a:gd name="T29" fmla="*/ 2147483646 h 84"/>
              <a:gd name="T30" fmla="*/ 2147483646 w 163"/>
              <a:gd name="T31" fmla="*/ 2147483646 h 84"/>
              <a:gd name="T32" fmla="*/ 2147483646 w 163"/>
              <a:gd name="T33" fmla="*/ 2147483646 h 84"/>
              <a:gd name="T34" fmla="*/ 2147483646 w 163"/>
              <a:gd name="T35" fmla="*/ 2147483646 h 84"/>
              <a:gd name="T36" fmla="*/ 2147483646 w 163"/>
              <a:gd name="T37" fmla="*/ 2147483646 h 84"/>
              <a:gd name="T38" fmla="*/ 2147483646 w 163"/>
              <a:gd name="T39" fmla="*/ 2147483646 h 84"/>
              <a:gd name="T40" fmla="*/ 2147483646 w 163"/>
              <a:gd name="T41" fmla="*/ 2147483646 h 84"/>
              <a:gd name="T42" fmla="*/ 2147483646 w 163"/>
              <a:gd name="T43" fmla="*/ 2147483646 h 84"/>
              <a:gd name="T44" fmla="*/ 2147483646 w 163"/>
              <a:gd name="T45" fmla="*/ 2147483646 h 84"/>
              <a:gd name="T46" fmla="*/ 2147483646 w 163"/>
              <a:gd name="T47" fmla="*/ 2147483646 h 84"/>
              <a:gd name="T48" fmla="*/ 2147483646 w 163"/>
              <a:gd name="T49" fmla="*/ 2147483646 h 84"/>
              <a:gd name="T50" fmla="*/ 2147483646 w 163"/>
              <a:gd name="T51" fmla="*/ 2147483646 h 84"/>
              <a:gd name="T52" fmla="*/ 2147483646 w 163"/>
              <a:gd name="T53" fmla="*/ 2147483646 h 84"/>
              <a:gd name="T54" fmla="*/ 2147483646 w 163"/>
              <a:gd name="T55" fmla="*/ 2147483646 h 84"/>
              <a:gd name="T56" fmla="*/ 2147483646 w 163"/>
              <a:gd name="T57" fmla="*/ 2147483646 h 84"/>
              <a:gd name="T58" fmla="*/ 2147483646 w 163"/>
              <a:gd name="T59" fmla="*/ 2147483646 h 84"/>
              <a:gd name="T60" fmla="*/ 2147483646 w 163"/>
              <a:gd name="T61" fmla="*/ 2147483646 h 84"/>
              <a:gd name="T62" fmla="*/ 2147483646 w 163"/>
              <a:gd name="T63" fmla="*/ 2147483646 h 84"/>
              <a:gd name="T64" fmla="*/ 2147483646 w 163"/>
              <a:gd name="T65" fmla="*/ 2147483646 h 84"/>
              <a:gd name="T66" fmla="*/ 2147483646 w 163"/>
              <a:gd name="T67" fmla="*/ 2147483646 h 84"/>
              <a:gd name="T68" fmla="*/ 2147483646 w 163"/>
              <a:gd name="T69" fmla="*/ 2147483646 h 84"/>
              <a:gd name="T70" fmla="*/ 2147483646 w 163"/>
              <a:gd name="T71" fmla="*/ 2147483646 h 84"/>
              <a:gd name="T72" fmla="*/ 2147483646 w 163"/>
              <a:gd name="T73" fmla="*/ 2147483646 h 84"/>
              <a:gd name="T74" fmla="*/ 2147483646 w 163"/>
              <a:gd name="T75" fmla="*/ 2147483646 h 84"/>
              <a:gd name="T76" fmla="*/ 2147483646 w 163"/>
              <a:gd name="T77" fmla="*/ 2147483646 h 84"/>
              <a:gd name="T78" fmla="*/ 2147483646 w 163"/>
              <a:gd name="T79" fmla="*/ 2147483646 h 84"/>
              <a:gd name="T80" fmla="*/ 2147483646 w 163"/>
              <a:gd name="T81" fmla="*/ 2147483646 h 84"/>
              <a:gd name="T82" fmla="*/ 2147483646 w 163"/>
              <a:gd name="T83" fmla="*/ 2147483646 h 84"/>
              <a:gd name="T84" fmla="*/ 2147483646 w 163"/>
              <a:gd name="T85" fmla="*/ 2147483646 h 84"/>
              <a:gd name="T86" fmla="*/ 2147483646 w 163"/>
              <a:gd name="T87" fmla="*/ 2147483646 h 84"/>
              <a:gd name="T88" fmla="*/ 2147483646 w 163"/>
              <a:gd name="T89" fmla="*/ 2147483646 h 84"/>
              <a:gd name="T90" fmla="*/ 2147483646 w 163"/>
              <a:gd name="T91" fmla="*/ 2147483646 h 84"/>
              <a:gd name="T92" fmla="*/ 2147483646 w 163"/>
              <a:gd name="T93" fmla="*/ 2147483646 h 84"/>
              <a:gd name="T94" fmla="*/ 2147483646 w 163"/>
              <a:gd name="T95" fmla="*/ 2147483646 h 84"/>
              <a:gd name="T96" fmla="*/ 2147483646 w 163"/>
              <a:gd name="T97" fmla="*/ 2147483646 h 84"/>
              <a:gd name="T98" fmla="*/ 2147483646 w 163"/>
              <a:gd name="T99" fmla="*/ 2147483646 h 8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63" h="84">
                <a:moveTo>
                  <a:pt x="84" y="5"/>
                </a:moveTo>
                <a:lnTo>
                  <a:pt x="83" y="6"/>
                </a:lnTo>
                <a:lnTo>
                  <a:pt x="81" y="7"/>
                </a:lnTo>
                <a:lnTo>
                  <a:pt x="82" y="7"/>
                </a:lnTo>
                <a:lnTo>
                  <a:pt x="81" y="8"/>
                </a:lnTo>
                <a:lnTo>
                  <a:pt x="76" y="3"/>
                </a:lnTo>
                <a:lnTo>
                  <a:pt x="75" y="2"/>
                </a:lnTo>
                <a:lnTo>
                  <a:pt x="76" y="1"/>
                </a:lnTo>
                <a:lnTo>
                  <a:pt x="77" y="1"/>
                </a:lnTo>
                <a:lnTo>
                  <a:pt x="76" y="0"/>
                </a:lnTo>
                <a:lnTo>
                  <a:pt x="73" y="0"/>
                </a:lnTo>
                <a:lnTo>
                  <a:pt x="68" y="1"/>
                </a:lnTo>
                <a:lnTo>
                  <a:pt x="61" y="2"/>
                </a:lnTo>
                <a:lnTo>
                  <a:pt x="54" y="6"/>
                </a:lnTo>
                <a:lnTo>
                  <a:pt x="50" y="6"/>
                </a:lnTo>
                <a:lnTo>
                  <a:pt x="45" y="8"/>
                </a:lnTo>
                <a:lnTo>
                  <a:pt x="42" y="10"/>
                </a:lnTo>
                <a:lnTo>
                  <a:pt x="41" y="12"/>
                </a:lnTo>
                <a:lnTo>
                  <a:pt x="41" y="16"/>
                </a:lnTo>
                <a:lnTo>
                  <a:pt x="43" y="20"/>
                </a:lnTo>
                <a:lnTo>
                  <a:pt x="43" y="22"/>
                </a:lnTo>
                <a:lnTo>
                  <a:pt x="41" y="29"/>
                </a:lnTo>
                <a:lnTo>
                  <a:pt x="38" y="30"/>
                </a:lnTo>
                <a:lnTo>
                  <a:pt x="33" y="31"/>
                </a:lnTo>
                <a:lnTo>
                  <a:pt x="34" y="34"/>
                </a:lnTo>
                <a:lnTo>
                  <a:pt x="33" y="37"/>
                </a:lnTo>
                <a:lnTo>
                  <a:pt x="32" y="37"/>
                </a:lnTo>
                <a:lnTo>
                  <a:pt x="22" y="36"/>
                </a:lnTo>
                <a:lnTo>
                  <a:pt x="14" y="39"/>
                </a:lnTo>
                <a:lnTo>
                  <a:pt x="7" y="40"/>
                </a:lnTo>
                <a:lnTo>
                  <a:pt x="4" y="42"/>
                </a:lnTo>
                <a:lnTo>
                  <a:pt x="1" y="46"/>
                </a:lnTo>
                <a:lnTo>
                  <a:pt x="0" y="50"/>
                </a:lnTo>
                <a:lnTo>
                  <a:pt x="0" y="54"/>
                </a:lnTo>
                <a:lnTo>
                  <a:pt x="3" y="59"/>
                </a:lnTo>
                <a:lnTo>
                  <a:pt x="7" y="63"/>
                </a:lnTo>
                <a:lnTo>
                  <a:pt x="10" y="63"/>
                </a:lnTo>
                <a:lnTo>
                  <a:pt x="17" y="61"/>
                </a:lnTo>
                <a:lnTo>
                  <a:pt x="18" y="60"/>
                </a:lnTo>
                <a:lnTo>
                  <a:pt x="21" y="58"/>
                </a:lnTo>
                <a:lnTo>
                  <a:pt x="27" y="56"/>
                </a:lnTo>
                <a:lnTo>
                  <a:pt x="28" y="56"/>
                </a:lnTo>
                <a:lnTo>
                  <a:pt x="28" y="55"/>
                </a:lnTo>
                <a:lnTo>
                  <a:pt x="26" y="55"/>
                </a:lnTo>
                <a:lnTo>
                  <a:pt x="25" y="54"/>
                </a:lnTo>
                <a:lnTo>
                  <a:pt x="26" y="54"/>
                </a:lnTo>
                <a:lnTo>
                  <a:pt x="30" y="53"/>
                </a:lnTo>
                <a:lnTo>
                  <a:pt x="32" y="54"/>
                </a:lnTo>
                <a:lnTo>
                  <a:pt x="32" y="55"/>
                </a:lnTo>
                <a:lnTo>
                  <a:pt x="33" y="57"/>
                </a:lnTo>
                <a:lnTo>
                  <a:pt x="31" y="56"/>
                </a:lnTo>
                <a:lnTo>
                  <a:pt x="31" y="57"/>
                </a:lnTo>
                <a:lnTo>
                  <a:pt x="33" y="57"/>
                </a:lnTo>
                <a:lnTo>
                  <a:pt x="39" y="61"/>
                </a:lnTo>
                <a:lnTo>
                  <a:pt x="40" y="60"/>
                </a:lnTo>
                <a:lnTo>
                  <a:pt x="44" y="64"/>
                </a:lnTo>
                <a:lnTo>
                  <a:pt x="46" y="67"/>
                </a:lnTo>
                <a:lnTo>
                  <a:pt x="47" y="68"/>
                </a:lnTo>
                <a:lnTo>
                  <a:pt x="48" y="76"/>
                </a:lnTo>
                <a:lnTo>
                  <a:pt x="49" y="76"/>
                </a:lnTo>
                <a:lnTo>
                  <a:pt x="54" y="78"/>
                </a:lnTo>
                <a:lnTo>
                  <a:pt x="57" y="78"/>
                </a:lnTo>
                <a:lnTo>
                  <a:pt x="58" y="76"/>
                </a:lnTo>
                <a:lnTo>
                  <a:pt x="59" y="76"/>
                </a:lnTo>
                <a:lnTo>
                  <a:pt x="59" y="78"/>
                </a:lnTo>
                <a:lnTo>
                  <a:pt x="61" y="80"/>
                </a:lnTo>
                <a:lnTo>
                  <a:pt x="64" y="83"/>
                </a:lnTo>
                <a:lnTo>
                  <a:pt x="65" y="84"/>
                </a:lnTo>
                <a:lnTo>
                  <a:pt x="67" y="83"/>
                </a:lnTo>
                <a:lnTo>
                  <a:pt x="69" y="83"/>
                </a:lnTo>
                <a:lnTo>
                  <a:pt x="71" y="83"/>
                </a:lnTo>
                <a:lnTo>
                  <a:pt x="73" y="83"/>
                </a:lnTo>
                <a:lnTo>
                  <a:pt x="79" y="80"/>
                </a:lnTo>
                <a:lnTo>
                  <a:pt x="84" y="78"/>
                </a:lnTo>
                <a:lnTo>
                  <a:pt x="85" y="79"/>
                </a:lnTo>
                <a:lnTo>
                  <a:pt x="88" y="77"/>
                </a:lnTo>
                <a:lnTo>
                  <a:pt x="91" y="73"/>
                </a:lnTo>
                <a:lnTo>
                  <a:pt x="93" y="73"/>
                </a:lnTo>
                <a:lnTo>
                  <a:pt x="95" y="70"/>
                </a:lnTo>
                <a:lnTo>
                  <a:pt x="95" y="69"/>
                </a:lnTo>
                <a:lnTo>
                  <a:pt x="97" y="68"/>
                </a:lnTo>
                <a:lnTo>
                  <a:pt x="95" y="65"/>
                </a:lnTo>
                <a:lnTo>
                  <a:pt x="86" y="60"/>
                </a:lnTo>
                <a:lnTo>
                  <a:pt x="83" y="58"/>
                </a:lnTo>
                <a:lnTo>
                  <a:pt x="80" y="58"/>
                </a:lnTo>
                <a:lnTo>
                  <a:pt x="79" y="57"/>
                </a:lnTo>
                <a:lnTo>
                  <a:pt x="77" y="57"/>
                </a:lnTo>
                <a:lnTo>
                  <a:pt x="76" y="57"/>
                </a:lnTo>
                <a:lnTo>
                  <a:pt x="75" y="53"/>
                </a:lnTo>
                <a:lnTo>
                  <a:pt x="70" y="46"/>
                </a:lnTo>
                <a:lnTo>
                  <a:pt x="69" y="43"/>
                </a:lnTo>
                <a:lnTo>
                  <a:pt x="68" y="41"/>
                </a:lnTo>
                <a:lnTo>
                  <a:pt x="66" y="40"/>
                </a:lnTo>
                <a:lnTo>
                  <a:pt x="58" y="40"/>
                </a:lnTo>
                <a:lnTo>
                  <a:pt x="54" y="41"/>
                </a:lnTo>
                <a:lnTo>
                  <a:pt x="52" y="40"/>
                </a:lnTo>
                <a:lnTo>
                  <a:pt x="50" y="38"/>
                </a:lnTo>
                <a:lnTo>
                  <a:pt x="48" y="38"/>
                </a:lnTo>
                <a:lnTo>
                  <a:pt x="47" y="36"/>
                </a:lnTo>
                <a:lnTo>
                  <a:pt x="44" y="37"/>
                </a:lnTo>
                <a:lnTo>
                  <a:pt x="42" y="38"/>
                </a:lnTo>
                <a:lnTo>
                  <a:pt x="35" y="37"/>
                </a:lnTo>
                <a:lnTo>
                  <a:pt x="35" y="34"/>
                </a:lnTo>
                <a:lnTo>
                  <a:pt x="36" y="32"/>
                </a:lnTo>
                <a:lnTo>
                  <a:pt x="38" y="31"/>
                </a:lnTo>
                <a:lnTo>
                  <a:pt x="44" y="34"/>
                </a:lnTo>
                <a:lnTo>
                  <a:pt x="45" y="32"/>
                </a:lnTo>
                <a:lnTo>
                  <a:pt x="43" y="31"/>
                </a:lnTo>
                <a:lnTo>
                  <a:pt x="42" y="31"/>
                </a:lnTo>
                <a:lnTo>
                  <a:pt x="41" y="31"/>
                </a:lnTo>
                <a:lnTo>
                  <a:pt x="43" y="29"/>
                </a:lnTo>
                <a:lnTo>
                  <a:pt x="45" y="23"/>
                </a:lnTo>
                <a:lnTo>
                  <a:pt x="47" y="24"/>
                </a:lnTo>
                <a:lnTo>
                  <a:pt x="49" y="23"/>
                </a:lnTo>
                <a:lnTo>
                  <a:pt x="50" y="20"/>
                </a:lnTo>
                <a:lnTo>
                  <a:pt x="54" y="17"/>
                </a:lnTo>
                <a:lnTo>
                  <a:pt x="58" y="17"/>
                </a:lnTo>
                <a:lnTo>
                  <a:pt x="62" y="15"/>
                </a:lnTo>
                <a:lnTo>
                  <a:pt x="66" y="16"/>
                </a:lnTo>
                <a:lnTo>
                  <a:pt x="67" y="16"/>
                </a:lnTo>
                <a:lnTo>
                  <a:pt x="73" y="17"/>
                </a:lnTo>
                <a:lnTo>
                  <a:pt x="74" y="20"/>
                </a:lnTo>
                <a:lnTo>
                  <a:pt x="78" y="25"/>
                </a:lnTo>
                <a:lnTo>
                  <a:pt x="78" y="27"/>
                </a:lnTo>
                <a:lnTo>
                  <a:pt x="77" y="33"/>
                </a:lnTo>
                <a:lnTo>
                  <a:pt x="78" y="37"/>
                </a:lnTo>
                <a:lnTo>
                  <a:pt x="80" y="36"/>
                </a:lnTo>
                <a:lnTo>
                  <a:pt x="81" y="37"/>
                </a:lnTo>
                <a:lnTo>
                  <a:pt x="81" y="39"/>
                </a:lnTo>
                <a:lnTo>
                  <a:pt x="84" y="46"/>
                </a:lnTo>
                <a:lnTo>
                  <a:pt x="84" y="49"/>
                </a:lnTo>
                <a:lnTo>
                  <a:pt x="85" y="50"/>
                </a:lnTo>
                <a:lnTo>
                  <a:pt x="86" y="48"/>
                </a:lnTo>
                <a:lnTo>
                  <a:pt x="87" y="50"/>
                </a:lnTo>
                <a:lnTo>
                  <a:pt x="94" y="50"/>
                </a:lnTo>
                <a:lnTo>
                  <a:pt x="99" y="50"/>
                </a:lnTo>
                <a:lnTo>
                  <a:pt x="103" y="52"/>
                </a:lnTo>
                <a:lnTo>
                  <a:pt x="107" y="53"/>
                </a:lnTo>
                <a:lnTo>
                  <a:pt x="109" y="56"/>
                </a:lnTo>
                <a:lnTo>
                  <a:pt x="110" y="57"/>
                </a:lnTo>
                <a:lnTo>
                  <a:pt x="110" y="58"/>
                </a:lnTo>
                <a:lnTo>
                  <a:pt x="112" y="59"/>
                </a:lnTo>
                <a:lnTo>
                  <a:pt x="114" y="59"/>
                </a:lnTo>
                <a:lnTo>
                  <a:pt x="117" y="61"/>
                </a:lnTo>
                <a:lnTo>
                  <a:pt x="119" y="61"/>
                </a:lnTo>
                <a:lnTo>
                  <a:pt x="122" y="63"/>
                </a:lnTo>
                <a:lnTo>
                  <a:pt x="124" y="64"/>
                </a:lnTo>
                <a:lnTo>
                  <a:pt x="126" y="66"/>
                </a:lnTo>
                <a:lnTo>
                  <a:pt x="135" y="70"/>
                </a:lnTo>
                <a:lnTo>
                  <a:pt x="139" y="69"/>
                </a:lnTo>
                <a:lnTo>
                  <a:pt x="142" y="69"/>
                </a:lnTo>
                <a:lnTo>
                  <a:pt x="143" y="68"/>
                </a:lnTo>
                <a:lnTo>
                  <a:pt x="144" y="68"/>
                </a:lnTo>
                <a:lnTo>
                  <a:pt x="150" y="66"/>
                </a:lnTo>
                <a:lnTo>
                  <a:pt x="155" y="63"/>
                </a:lnTo>
                <a:lnTo>
                  <a:pt x="156" y="58"/>
                </a:lnTo>
                <a:lnTo>
                  <a:pt x="158" y="57"/>
                </a:lnTo>
                <a:lnTo>
                  <a:pt x="159" y="55"/>
                </a:lnTo>
                <a:lnTo>
                  <a:pt x="160" y="55"/>
                </a:lnTo>
                <a:lnTo>
                  <a:pt x="160" y="57"/>
                </a:lnTo>
                <a:lnTo>
                  <a:pt x="161" y="55"/>
                </a:lnTo>
                <a:lnTo>
                  <a:pt x="162" y="55"/>
                </a:lnTo>
                <a:lnTo>
                  <a:pt x="163" y="50"/>
                </a:lnTo>
                <a:lnTo>
                  <a:pt x="161" y="50"/>
                </a:lnTo>
                <a:lnTo>
                  <a:pt x="160" y="52"/>
                </a:lnTo>
                <a:lnTo>
                  <a:pt x="159" y="52"/>
                </a:lnTo>
                <a:lnTo>
                  <a:pt x="158" y="51"/>
                </a:lnTo>
                <a:lnTo>
                  <a:pt x="157" y="50"/>
                </a:lnTo>
                <a:lnTo>
                  <a:pt x="156" y="52"/>
                </a:lnTo>
                <a:lnTo>
                  <a:pt x="152" y="53"/>
                </a:lnTo>
                <a:lnTo>
                  <a:pt x="145" y="51"/>
                </a:lnTo>
                <a:lnTo>
                  <a:pt x="142" y="50"/>
                </a:lnTo>
                <a:lnTo>
                  <a:pt x="141" y="47"/>
                </a:lnTo>
                <a:lnTo>
                  <a:pt x="135" y="46"/>
                </a:lnTo>
                <a:lnTo>
                  <a:pt x="132" y="43"/>
                </a:lnTo>
                <a:lnTo>
                  <a:pt x="128" y="38"/>
                </a:lnTo>
                <a:lnTo>
                  <a:pt x="128" y="37"/>
                </a:lnTo>
                <a:lnTo>
                  <a:pt x="123" y="33"/>
                </a:lnTo>
                <a:lnTo>
                  <a:pt x="118" y="28"/>
                </a:lnTo>
                <a:lnTo>
                  <a:pt x="117" y="25"/>
                </a:lnTo>
                <a:lnTo>
                  <a:pt x="115" y="27"/>
                </a:lnTo>
                <a:lnTo>
                  <a:pt x="114" y="26"/>
                </a:lnTo>
                <a:lnTo>
                  <a:pt x="105" y="21"/>
                </a:lnTo>
                <a:lnTo>
                  <a:pt x="102" y="19"/>
                </a:lnTo>
                <a:lnTo>
                  <a:pt x="101" y="18"/>
                </a:lnTo>
                <a:lnTo>
                  <a:pt x="99" y="18"/>
                </a:lnTo>
                <a:lnTo>
                  <a:pt x="93" y="13"/>
                </a:lnTo>
                <a:lnTo>
                  <a:pt x="88" y="12"/>
                </a:lnTo>
                <a:lnTo>
                  <a:pt x="86" y="10"/>
                </a:lnTo>
                <a:lnTo>
                  <a:pt x="84" y="11"/>
                </a:lnTo>
                <a:lnTo>
                  <a:pt x="83" y="10"/>
                </a:lnTo>
                <a:lnTo>
                  <a:pt x="84" y="9"/>
                </a:lnTo>
                <a:lnTo>
                  <a:pt x="84" y="8"/>
                </a:lnTo>
                <a:lnTo>
                  <a:pt x="86" y="6"/>
                </a:lnTo>
                <a:lnTo>
                  <a:pt x="87" y="5"/>
                </a:lnTo>
                <a:lnTo>
                  <a:pt x="86" y="4"/>
                </a:lnTo>
                <a:lnTo>
                  <a:pt x="84" y="5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2" name="Freeform 100"/>
          <p:cNvSpPr>
            <a:spLocks/>
          </p:cNvSpPr>
          <p:nvPr/>
        </p:nvSpPr>
        <p:spPr bwMode="auto">
          <a:xfrm>
            <a:off x="3190875" y="4314825"/>
            <a:ext cx="622300" cy="222250"/>
          </a:xfrm>
          <a:custGeom>
            <a:avLst/>
            <a:gdLst>
              <a:gd name="T0" fmla="*/ 2147483646 w 199"/>
              <a:gd name="T1" fmla="*/ 2147483646 h 77"/>
              <a:gd name="T2" fmla="*/ 2147483646 w 199"/>
              <a:gd name="T3" fmla="*/ 2147483646 h 77"/>
              <a:gd name="T4" fmla="*/ 2147483646 w 199"/>
              <a:gd name="T5" fmla="*/ 2147483646 h 77"/>
              <a:gd name="T6" fmla="*/ 2147483646 w 199"/>
              <a:gd name="T7" fmla="*/ 2147483646 h 77"/>
              <a:gd name="T8" fmla="*/ 2147483646 w 199"/>
              <a:gd name="T9" fmla="*/ 2147483646 h 77"/>
              <a:gd name="T10" fmla="*/ 2147483646 w 199"/>
              <a:gd name="T11" fmla="*/ 2147483646 h 77"/>
              <a:gd name="T12" fmla="*/ 2147483646 w 199"/>
              <a:gd name="T13" fmla="*/ 2147483646 h 77"/>
              <a:gd name="T14" fmla="*/ 2147483646 w 199"/>
              <a:gd name="T15" fmla="*/ 2147483646 h 77"/>
              <a:gd name="T16" fmla="*/ 2147483646 w 199"/>
              <a:gd name="T17" fmla="*/ 2147483646 h 77"/>
              <a:gd name="T18" fmla="*/ 2147483646 w 199"/>
              <a:gd name="T19" fmla="*/ 2147483646 h 77"/>
              <a:gd name="T20" fmla="*/ 2147483646 w 199"/>
              <a:gd name="T21" fmla="*/ 2147483646 h 77"/>
              <a:gd name="T22" fmla="*/ 2147483646 w 199"/>
              <a:gd name="T23" fmla="*/ 2147483646 h 77"/>
              <a:gd name="T24" fmla="*/ 2147483646 w 199"/>
              <a:gd name="T25" fmla="*/ 2147483646 h 77"/>
              <a:gd name="T26" fmla="*/ 2147483646 w 199"/>
              <a:gd name="T27" fmla="*/ 2147483646 h 77"/>
              <a:gd name="T28" fmla="*/ 2147483646 w 199"/>
              <a:gd name="T29" fmla="*/ 2147483646 h 77"/>
              <a:gd name="T30" fmla="*/ 2147483646 w 199"/>
              <a:gd name="T31" fmla="*/ 2147483646 h 77"/>
              <a:gd name="T32" fmla="*/ 2147483646 w 199"/>
              <a:gd name="T33" fmla="*/ 2147483646 h 77"/>
              <a:gd name="T34" fmla="*/ 2147483646 w 199"/>
              <a:gd name="T35" fmla="*/ 2147483646 h 77"/>
              <a:gd name="T36" fmla="*/ 2147483646 w 199"/>
              <a:gd name="T37" fmla="*/ 2147483646 h 77"/>
              <a:gd name="T38" fmla="*/ 2147483646 w 199"/>
              <a:gd name="T39" fmla="*/ 2147483646 h 77"/>
              <a:gd name="T40" fmla="*/ 2147483646 w 199"/>
              <a:gd name="T41" fmla="*/ 2147483646 h 77"/>
              <a:gd name="T42" fmla="*/ 2147483646 w 199"/>
              <a:gd name="T43" fmla="*/ 2147483646 h 77"/>
              <a:gd name="T44" fmla="*/ 2147483646 w 199"/>
              <a:gd name="T45" fmla="*/ 2147483646 h 77"/>
              <a:gd name="T46" fmla="*/ 2147483646 w 199"/>
              <a:gd name="T47" fmla="*/ 2147483646 h 77"/>
              <a:gd name="T48" fmla="*/ 2147483646 w 199"/>
              <a:gd name="T49" fmla="*/ 2147483646 h 77"/>
              <a:gd name="T50" fmla="*/ 2147483646 w 199"/>
              <a:gd name="T51" fmla="*/ 2147483646 h 77"/>
              <a:gd name="T52" fmla="*/ 2147483646 w 199"/>
              <a:gd name="T53" fmla="*/ 2147483646 h 77"/>
              <a:gd name="T54" fmla="*/ 2147483646 w 199"/>
              <a:gd name="T55" fmla="*/ 2147483646 h 77"/>
              <a:gd name="T56" fmla="*/ 2147483646 w 199"/>
              <a:gd name="T57" fmla="*/ 2147483646 h 77"/>
              <a:gd name="T58" fmla="*/ 2147483646 w 199"/>
              <a:gd name="T59" fmla="*/ 2147483646 h 77"/>
              <a:gd name="T60" fmla="*/ 2147483646 w 199"/>
              <a:gd name="T61" fmla="*/ 2147483646 h 77"/>
              <a:gd name="T62" fmla="*/ 2147483646 w 199"/>
              <a:gd name="T63" fmla="*/ 2147483646 h 77"/>
              <a:gd name="T64" fmla="*/ 2147483646 w 199"/>
              <a:gd name="T65" fmla="*/ 2147483646 h 77"/>
              <a:gd name="T66" fmla="*/ 2147483646 w 199"/>
              <a:gd name="T67" fmla="*/ 2147483646 h 77"/>
              <a:gd name="T68" fmla="*/ 2147483646 w 199"/>
              <a:gd name="T69" fmla="*/ 2147483646 h 77"/>
              <a:gd name="T70" fmla="*/ 2147483646 w 199"/>
              <a:gd name="T71" fmla="*/ 2147483646 h 77"/>
              <a:gd name="T72" fmla="*/ 2147483646 w 199"/>
              <a:gd name="T73" fmla="*/ 2147483646 h 77"/>
              <a:gd name="T74" fmla="*/ 2147483646 w 199"/>
              <a:gd name="T75" fmla="*/ 2147483646 h 77"/>
              <a:gd name="T76" fmla="*/ 2147483646 w 199"/>
              <a:gd name="T77" fmla="*/ 2147483646 h 77"/>
              <a:gd name="T78" fmla="*/ 2147483646 w 199"/>
              <a:gd name="T79" fmla="*/ 2147483646 h 77"/>
              <a:gd name="T80" fmla="*/ 2147483646 w 199"/>
              <a:gd name="T81" fmla="*/ 2147483646 h 77"/>
              <a:gd name="T82" fmla="*/ 2147483646 w 199"/>
              <a:gd name="T83" fmla="*/ 2147483646 h 77"/>
              <a:gd name="T84" fmla="*/ 2147483646 w 199"/>
              <a:gd name="T85" fmla="*/ 2147483646 h 77"/>
              <a:gd name="T86" fmla="*/ 2147483646 w 199"/>
              <a:gd name="T87" fmla="*/ 2147483646 h 77"/>
              <a:gd name="T88" fmla="*/ 2147483646 w 199"/>
              <a:gd name="T89" fmla="*/ 2147483646 h 77"/>
              <a:gd name="T90" fmla="*/ 2147483646 w 199"/>
              <a:gd name="T91" fmla="*/ 2147483646 h 77"/>
              <a:gd name="T92" fmla="*/ 2147483646 w 199"/>
              <a:gd name="T93" fmla="*/ 2147483646 h 77"/>
              <a:gd name="T94" fmla="*/ 2147483646 w 199"/>
              <a:gd name="T95" fmla="*/ 2147483646 h 77"/>
              <a:gd name="T96" fmla="*/ 2147483646 w 199"/>
              <a:gd name="T97" fmla="*/ 2147483646 h 7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99" h="77">
                <a:moveTo>
                  <a:pt x="196" y="21"/>
                </a:moveTo>
                <a:lnTo>
                  <a:pt x="195" y="18"/>
                </a:lnTo>
                <a:lnTo>
                  <a:pt x="193" y="15"/>
                </a:lnTo>
                <a:lnTo>
                  <a:pt x="188" y="15"/>
                </a:lnTo>
                <a:lnTo>
                  <a:pt x="188" y="17"/>
                </a:lnTo>
                <a:lnTo>
                  <a:pt x="186" y="17"/>
                </a:lnTo>
                <a:lnTo>
                  <a:pt x="185" y="20"/>
                </a:lnTo>
                <a:lnTo>
                  <a:pt x="185" y="17"/>
                </a:lnTo>
                <a:lnTo>
                  <a:pt x="182" y="17"/>
                </a:lnTo>
                <a:lnTo>
                  <a:pt x="181" y="17"/>
                </a:lnTo>
                <a:lnTo>
                  <a:pt x="180" y="19"/>
                </a:lnTo>
                <a:lnTo>
                  <a:pt x="182" y="21"/>
                </a:lnTo>
                <a:lnTo>
                  <a:pt x="185" y="23"/>
                </a:lnTo>
                <a:lnTo>
                  <a:pt x="187" y="24"/>
                </a:lnTo>
                <a:lnTo>
                  <a:pt x="188" y="26"/>
                </a:lnTo>
                <a:lnTo>
                  <a:pt x="187" y="27"/>
                </a:lnTo>
                <a:lnTo>
                  <a:pt x="185" y="25"/>
                </a:lnTo>
                <a:lnTo>
                  <a:pt x="184" y="25"/>
                </a:lnTo>
                <a:lnTo>
                  <a:pt x="182" y="24"/>
                </a:lnTo>
                <a:lnTo>
                  <a:pt x="181" y="24"/>
                </a:lnTo>
                <a:lnTo>
                  <a:pt x="181" y="25"/>
                </a:lnTo>
                <a:lnTo>
                  <a:pt x="180" y="26"/>
                </a:lnTo>
                <a:lnTo>
                  <a:pt x="179" y="23"/>
                </a:lnTo>
                <a:lnTo>
                  <a:pt x="178" y="22"/>
                </a:lnTo>
                <a:lnTo>
                  <a:pt x="175" y="23"/>
                </a:lnTo>
                <a:lnTo>
                  <a:pt x="178" y="27"/>
                </a:lnTo>
                <a:lnTo>
                  <a:pt x="180" y="30"/>
                </a:lnTo>
                <a:lnTo>
                  <a:pt x="178" y="30"/>
                </a:lnTo>
                <a:lnTo>
                  <a:pt x="171" y="22"/>
                </a:lnTo>
                <a:lnTo>
                  <a:pt x="170" y="21"/>
                </a:lnTo>
                <a:lnTo>
                  <a:pt x="167" y="21"/>
                </a:lnTo>
                <a:lnTo>
                  <a:pt x="166" y="18"/>
                </a:lnTo>
                <a:lnTo>
                  <a:pt x="158" y="17"/>
                </a:lnTo>
                <a:lnTo>
                  <a:pt x="152" y="8"/>
                </a:lnTo>
                <a:lnTo>
                  <a:pt x="149" y="5"/>
                </a:lnTo>
                <a:lnTo>
                  <a:pt x="140" y="3"/>
                </a:lnTo>
                <a:lnTo>
                  <a:pt x="138" y="6"/>
                </a:lnTo>
                <a:lnTo>
                  <a:pt x="138" y="11"/>
                </a:lnTo>
                <a:lnTo>
                  <a:pt x="136" y="18"/>
                </a:lnTo>
                <a:lnTo>
                  <a:pt x="133" y="17"/>
                </a:lnTo>
                <a:lnTo>
                  <a:pt x="125" y="20"/>
                </a:lnTo>
                <a:lnTo>
                  <a:pt x="120" y="24"/>
                </a:lnTo>
                <a:lnTo>
                  <a:pt x="118" y="24"/>
                </a:lnTo>
                <a:lnTo>
                  <a:pt x="115" y="28"/>
                </a:lnTo>
                <a:lnTo>
                  <a:pt x="113" y="28"/>
                </a:lnTo>
                <a:lnTo>
                  <a:pt x="109" y="27"/>
                </a:lnTo>
                <a:lnTo>
                  <a:pt x="104" y="25"/>
                </a:lnTo>
                <a:lnTo>
                  <a:pt x="104" y="30"/>
                </a:lnTo>
                <a:lnTo>
                  <a:pt x="103" y="30"/>
                </a:lnTo>
                <a:lnTo>
                  <a:pt x="103" y="27"/>
                </a:lnTo>
                <a:lnTo>
                  <a:pt x="103" y="25"/>
                </a:lnTo>
                <a:lnTo>
                  <a:pt x="101" y="24"/>
                </a:lnTo>
                <a:lnTo>
                  <a:pt x="98" y="23"/>
                </a:lnTo>
                <a:lnTo>
                  <a:pt x="94" y="22"/>
                </a:lnTo>
                <a:lnTo>
                  <a:pt x="93" y="26"/>
                </a:lnTo>
                <a:lnTo>
                  <a:pt x="90" y="24"/>
                </a:lnTo>
                <a:lnTo>
                  <a:pt x="88" y="24"/>
                </a:lnTo>
                <a:lnTo>
                  <a:pt x="88" y="25"/>
                </a:lnTo>
                <a:lnTo>
                  <a:pt x="86" y="24"/>
                </a:lnTo>
                <a:lnTo>
                  <a:pt x="85" y="23"/>
                </a:lnTo>
                <a:lnTo>
                  <a:pt x="83" y="22"/>
                </a:lnTo>
                <a:lnTo>
                  <a:pt x="80" y="20"/>
                </a:lnTo>
                <a:lnTo>
                  <a:pt x="77" y="18"/>
                </a:lnTo>
                <a:lnTo>
                  <a:pt x="77" y="17"/>
                </a:lnTo>
                <a:lnTo>
                  <a:pt x="75" y="15"/>
                </a:lnTo>
                <a:lnTo>
                  <a:pt x="61" y="11"/>
                </a:lnTo>
                <a:lnTo>
                  <a:pt x="53" y="8"/>
                </a:lnTo>
                <a:lnTo>
                  <a:pt x="49" y="5"/>
                </a:lnTo>
                <a:lnTo>
                  <a:pt x="44" y="3"/>
                </a:lnTo>
                <a:lnTo>
                  <a:pt x="43" y="2"/>
                </a:lnTo>
                <a:lnTo>
                  <a:pt x="40" y="2"/>
                </a:lnTo>
                <a:lnTo>
                  <a:pt x="37" y="0"/>
                </a:lnTo>
                <a:lnTo>
                  <a:pt x="35" y="0"/>
                </a:lnTo>
                <a:lnTo>
                  <a:pt x="29" y="4"/>
                </a:lnTo>
                <a:lnTo>
                  <a:pt x="24" y="5"/>
                </a:lnTo>
                <a:lnTo>
                  <a:pt x="20" y="6"/>
                </a:lnTo>
                <a:lnTo>
                  <a:pt x="18" y="6"/>
                </a:lnTo>
                <a:lnTo>
                  <a:pt x="16" y="6"/>
                </a:lnTo>
                <a:lnTo>
                  <a:pt x="10" y="9"/>
                </a:lnTo>
                <a:lnTo>
                  <a:pt x="8" y="9"/>
                </a:lnTo>
                <a:lnTo>
                  <a:pt x="4" y="11"/>
                </a:lnTo>
                <a:lnTo>
                  <a:pt x="3" y="13"/>
                </a:lnTo>
                <a:lnTo>
                  <a:pt x="5" y="17"/>
                </a:lnTo>
                <a:lnTo>
                  <a:pt x="4" y="21"/>
                </a:lnTo>
                <a:lnTo>
                  <a:pt x="7" y="23"/>
                </a:lnTo>
                <a:lnTo>
                  <a:pt x="7" y="26"/>
                </a:lnTo>
                <a:lnTo>
                  <a:pt x="0" y="33"/>
                </a:lnTo>
                <a:lnTo>
                  <a:pt x="3" y="36"/>
                </a:lnTo>
                <a:lnTo>
                  <a:pt x="5" y="37"/>
                </a:lnTo>
                <a:lnTo>
                  <a:pt x="2" y="39"/>
                </a:lnTo>
                <a:lnTo>
                  <a:pt x="3" y="41"/>
                </a:lnTo>
                <a:lnTo>
                  <a:pt x="5" y="43"/>
                </a:lnTo>
                <a:lnTo>
                  <a:pt x="6" y="45"/>
                </a:lnTo>
                <a:lnTo>
                  <a:pt x="4" y="46"/>
                </a:lnTo>
                <a:lnTo>
                  <a:pt x="5" y="47"/>
                </a:lnTo>
                <a:lnTo>
                  <a:pt x="7" y="48"/>
                </a:lnTo>
                <a:lnTo>
                  <a:pt x="8" y="51"/>
                </a:lnTo>
                <a:lnTo>
                  <a:pt x="10" y="52"/>
                </a:lnTo>
                <a:lnTo>
                  <a:pt x="11" y="54"/>
                </a:lnTo>
                <a:lnTo>
                  <a:pt x="12" y="54"/>
                </a:lnTo>
                <a:lnTo>
                  <a:pt x="13" y="53"/>
                </a:lnTo>
                <a:lnTo>
                  <a:pt x="15" y="55"/>
                </a:lnTo>
                <a:lnTo>
                  <a:pt x="15" y="58"/>
                </a:lnTo>
                <a:lnTo>
                  <a:pt x="16" y="58"/>
                </a:lnTo>
                <a:lnTo>
                  <a:pt x="20" y="60"/>
                </a:lnTo>
                <a:lnTo>
                  <a:pt x="26" y="60"/>
                </a:lnTo>
                <a:lnTo>
                  <a:pt x="38" y="58"/>
                </a:lnTo>
                <a:lnTo>
                  <a:pt x="36" y="44"/>
                </a:lnTo>
                <a:lnTo>
                  <a:pt x="38" y="43"/>
                </a:lnTo>
                <a:lnTo>
                  <a:pt x="40" y="45"/>
                </a:lnTo>
                <a:lnTo>
                  <a:pt x="41" y="45"/>
                </a:lnTo>
                <a:lnTo>
                  <a:pt x="42" y="43"/>
                </a:lnTo>
                <a:lnTo>
                  <a:pt x="45" y="43"/>
                </a:lnTo>
                <a:lnTo>
                  <a:pt x="46" y="41"/>
                </a:lnTo>
                <a:lnTo>
                  <a:pt x="47" y="41"/>
                </a:lnTo>
                <a:lnTo>
                  <a:pt x="49" y="43"/>
                </a:lnTo>
                <a:lnTo>
                  <a:pt x="50" y="44"/>
                </a:lnTo>
                <a:lnTo>
                  <a:pt x="50" y="43"/>
                </a:lnTo>
                <a:lnTo>
                  <a:pt x="51" y="44"/>
                </a:lnTo>
                <a:lnTo>
                  <a:pt x="51" y="43"/>
                </a:lnTo>
                <a:lnTo>
                  <a:pt x="52" y="42"/>
                </a:lnTo>
                <a:lnTo>
                  <a:pt x="51" y="40"/>
                </a:lnTo>
                <a:lnTo>
                  <a:pt x="53" y="38"/>
                </a:lnTo>
                <a:lnTo>
                  <a:pt x="58" y="41"/>
                </a:lnTo>
                <a:lnTo>
                  <a:pt x="60" y="42"/>
                </a:lnTo>
                <a:lnTo>
                  <a:pt x="61" y="42"/>
                </a:lnTo>
                <a:lnTo>
                  <a:pt x="64" y="44"/>
                </a:lnTo>
                <a:lnTo>
                  <a:pt x="65" y="43"/>
                </a:lnTo>
                <a:lnTo>
                  <a:pt x="69" y="44"/>
                </a:lnTo>
                <a:lnTo>
                  <a:pt x="72" y="46"/>
                </a:lnTo>
                <a:lnTo>
                  <a:pt x="73" y="47"/>
                </a:lnTo>
                <a:lnTo>
                  <a:pt x="75" y="47"/>
                </a:lnTo>
                <a:lnTo>
                  <a:pt x="76" y="49"/>
                </a:lnTo>
                <a:lnTo>
                  <a:pt x="82" y="51"/>
                </a:lnTo>
                <a:lnTo>
                  <a:pt x="83" y="50"/>
                </a:lnTo>
                <a:lnTo>
                  <a:pt x="89" y="51"/>
                </a:lnTo>
                <a:lnTo>
                  <a:pt x="90" y="51"/>
                </a:lnTo>
                <a:lnTo>
                  <a:pt x="92" y="54"/>
                </a:lnTo>
                <a:lnTo>
                  <a:pt x="93" y="55"/>
                </a:lnTo>
                <a:lnTo>
                  <a:pt x="94" y="54"/>
                </a:lnTo>
                <a:lnTo>
                  <a:pt x="99" y="57"/>
                </a:lnTo>
                <a:lnTo>
                  <a:pt x="98" y="60"/>
                </a:lnTo>
                <a:lnTo>
                  <a:pt x="97" y="68"/>
                </a:lnTo>
                <a:lnTo>
                  <a:pt x="98" y="72"/>
                </a:lnTo>
                <a:lnTo>
                  <a:pt x="101" y="73"/>
                </a:lnTo>
                <a:lnTo>
                  <a:pt x="101" y="72"/>
                </a:lnTo>
                <a:lnTo>
                  <a:pt x="105" y="74"/>
                </a:lnTo>
                <a:lnTo>
                  <a:pt x="107" y="73"/>
                </a:lnTo>
                <a:lnTo>
                  <a:pt x="108" y="72"/>
                </a:lnTo>
                <a:lnTo>
                  <a:pt x="111" y="73"/>
                </a:lnTo>
                <a:lnTo>
                  <a:pt x="112" y="73"/>
                </a:lnTo>
                <a:lnTo>
                  <a:pt x="113" y="73"/>
                </a:lnTo>
                <a:lnTo>
                  <a:pt x="114" y="73"/>
                </a:lnTo>
                <a:lnTo>
                  <a:pt x="114" y="72"/>
                </a:lnTo>
                <a:lnTo>
                  <a:pt x="120" y="69"/>
                </a:lnTo>
                <a:lnTo>
                  <a:pt x="121" y="71"/>
                </a:lnTo>
                <a:lnTo>
                  <a:pt x="120" y="73"/>
                </a:lnTo>
                <a:lnTo>
                  <a:pt x="118" y="74"/>
                </a:lnTo>
                <a:lnTo>
                  <a:pt x="119" y="77"/>
                </a:lnTo>
                <a:lnTo>
                  <a:pt x="122" y="77"/>
                </a:lnTo>
                <a:lnTo>
                  <a:pt x="125" y="76"/>
                </a:lnTo>
                <a:lnTo>
                  <a:pt x="126" y="74"/>
                </a:lnTo>
                <a:lnTo>
                  <a:pt x="126" y="72"/>
                </a:lnTo>
                <a:lnTo>
                  <a:pt x="127" y="72"/>
                </a:lnTo>
                <a:lnTo>
                  <a:pt x="129" y="71"/>
                </a:lnTo>
                <a:lnTo>
                  <a:pt x="129" y="70"/>
                </a:lnTo>
                <a:lnTo>
                  <a:pt x="131" y="73"/>
                </a:lnTo>
                <a:lnTo>
                  <a:pt x="135" y="72"/>
                </a:lnTo>
                <a:lnTo>
                  <a:pt x="136" y="72"/>
                </a:lnTo>
                <a:lnTo>
                  <a:pt x="137" y="69"/>
                </a:lnTo>
                <a:lnTo>
                  <a:pt x="140" y="69"/>
                </a:lnTo>
                <a:lnTo>
                  <a:pt x="142" y="66"/>
                </a:lnTo>
                <a:lnTo>
                  <a:pt x="143" y="66"/>
                </a:lnTo>
                <a:lnTo>
                  <a:pt x="145" y="64"/>
                </a:lnTo>
                <a:lnTo>
                  <a:pt x="146" y="63"/>
                </a:lnTo>
                <a:lnTo>
                  <a:pt x="147" y="62"/>
                </a:lnTo>
                <a:lnTo>
                  <a:pt x="150" y="62"/>
                </a:lnTo>
                <a:lnTo>
                  <a:pt x="151" y="62"/>
                </a:lnTo>
                <a:lnTo>
                  <a:pt x="154" y="62"/>
                </a:lnTo>
                <a:lnTo>
                  <a:pt x="155" y="63"/>
                </a:lnTo>
                <a:lnTo>
                  <a:pt x="157" y="63"/>
                </a:lnTo>
                <a:lnTo>
                  <a:pt x="159" y="62"/>
                </a:lnTo>
                <a:lnTo>
                  <a:pt x="162" y="60"/>
                </a:lnTo>
                <a:lnTo>
                  <a:pt x="184" y="45"/>
                </a:lnTo>
                <a:lnTo>
                  <a:pt x="196" y="28"/>
                </a:lnTo>
                <a:lnTo>
                  <a:pt x="199" y="25"/>
                </a:lnTo>
                <a:lnTo>
                  <a:pt x="197" y="24"/>
                </a:lnTo>
                <a:lnTo>
                  <a:pt x="196" y="2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3" name="Freeform 101"/>
          <p:cNvSpPr>
            <a:spLocks/>
          </p:cNvSpPr>
          <p:nvPr/>
        </p:nvSpPr>
        <p:spPr bwMode="auto">
          <a:xfrm>
            <a:off x="4425950" y="3162300"/>
            <a:ext cx="1219200" cy="823913"/>
          </a:xfrm>
          <a:custGeom>
            <a:avLst/>
            <a:gdLst>
              <a:gd name="T0" fmla="*/ 2147483646 w 390"/>
              <a:gd name="T1" fmla="*/ 2147483646 h 286"/>
              <a:gd name="T2" fmla="*/ 2147483646 w 390"/>
              <a:gd name="T3" fmla="*/ 2147483646 h 286"/>
              <a:gd name="T4" fmla="*/ 2147483646 w 390"/>
              <a:gd name="T5" fmla="*/ 2147483646 h 286"/>
              <a:gd name="T6" fmla="*/ 2147483646 w 390"/>
              <a:gd name="T7" fmla="*/ 2147483646 h 286"/>
              <a:gd name="T8" fmla="*/ 2147483646 w 390"/>
              <a:gd name="T9" fmla="*/ 2147483646 h 286"/>
              <a:gd name="T10" fmla="*/ 2147483646 w 390"/>
              <a:gd name="T11" fmla="*/ 2147483646 h 286"/>
              <a:gd name="T12" fmla="*/ 2147483646 w 390"/>
              <a:gd name="T13" fmla="*/ 2147483646 h 286"/>
              <a:gd name="T14" fmla="*/ 2147483646 w 390"/>
              <a:gd name="T15" fmla="*/ 2147483646 h 286"/>
              <a:gd name="T16" fmla="*/ 2147483646 w 390"/>
              <a:gd name="T17" fmla="*/ 2147483646 h 286"/>
              <a:gd name="T18" fmla="*/ 2147483646 w 390"/>
              <a:gd name="T19" fmla="*/ 2147483646 h 286"/>
              <a:gd name="T20" fmla="*/ 2147483646 w 390"/>
              <a:gd name="T21" fmla="*/ 2147483646 h 286"/>
              <a:gd name="T22" fmla="*/ 2147483646 w 390"/>
              <a:gd name="T23" fmla="*/ 2147483646 h 286"/>
              <a:gd name="T24" fmla="*/ 2147483646 w 390"/>
              <a:gd name="T25" fmla="*/ 2147483646 h 286"/>
              <a:gd name="T26" fmla="*/ 2147483646 w 390"/>
              <a:gd name="T27" fmla="*/ 2147483646 h 286"/>
              <a:gd name="T28" fmla="*/ 2147483646 w 390"/>
              <a:gd name="T29" fmla="*/ 2147483646 h 286"/>
              <a:gd name="T30" fmla="*/ 2147483646 w 390"/>
              <a:gd name="T31" fmla="*/ 2147483646 h 286"/>
              <a:gd name="T32" fmla="*/ 2147483646 w 390"/>
              <a:gd name="T33" fmla="*/ 2147483646 h 286"/>
              <a:gd name="T34" fmla="*/ 2147483646 w 390"/>
              <a:gd name="T35" fmla="*/ 2147483646 h 286"/>
              <a:gd name="T36" fmla="*/ 2147483646 w 390"/>
              <a:gd name="T37" fmla="*/ 2147483646 h 286"/>
              <a:gd name="T38" fmla="*/ 2147483646 w 390"/>
              <a:gd name="T39" fmla="*/ 2147483646 h 286"/>
              <a:gd name="T40" fmla="*/ 2147483646 w 390"/>
              <a:gd name="T41" fmla="*/ 2147483646 h 286"/>
              <a:gd name="T42" fmla="*/ 2147483646 w 390"/>
              <a:gd name="T43" fmla="*/ 2147483646 h 286"/>
              <a:gd name="T44" fmla="*/ 2147483646 w 390"/>
              <a:gd name="T45" fmla="*/ 2147483646 h 286"/>
              <a:gd name="T46" fmla="*/ 2147483646 w 390"/>
              <a:gd name="T47" fmla="*/ 2147483646 h 286"/>
              <a:gd name="T48" fmla="*/ 2147483646 w 390"/>
              <a:gd name="T49" fmla="*/ 2147483646 h 286"/>
              <a:gd name="T50" fmla="*/ 2147483646 w 390"/>
              <a:gd name="T51" fmla="*/ 2147483646 h 286"/>
              <a:gd name="T52" fmla="*/ 2147483646 w 390"/>
              <a:gd name="T53" fmla="*/ 2147483646 h 286"/>
              <a:gd name="T54" fmla="*/ 2147483646 w 390"/>
              <a:gd name="T55" fmla="*/ 2147483646 h 286"/>
              <a:gd name="T56" fmla="*/ 2147483646 w 390"/>
              <a:gd name="T57" fmla="*/ 2147483646 h 286"/>
              <a:gd name="T58" fmla="*/ 2147483646 w 390"/>
              <a:gd name="T59" fmla="*/ 2147483646 h 286"/>
              <a:gd name="T60" fmla="*/ 2147483646 w 390"/>
              <a:gd name="T61" fmla="*/ 2147483646 h 286"/>
              <a:gd name="T62" fmla="*/ 2147483646 w 390"/>
              <a:gd name="T63" fmla="*/ 2147483646 h 286"/>
              <a:gd name="T64" fmla="*/ 2147483646 w 390"/>
              <a:gd name="T65" fmla="*/ 2147483646 h 286"/>
              <a:gd name="T66" fmla="*/ 2147483646 w 390"/>
              <a:gd name="T67" fmla="*/ 2147483646 h 286"/>
              <a:gd name="T68" fmla="*/ 2147483646 w 390"/>
              <a:gd name="T69" fmla="*/ 2147483646 h 286"/>
              <a:gd name="T70" fmla="*/ 2147483646 w 390"/>
              <a:gd name="T71" fmla="*/ 2147483646 h 286"/>
              <a:gd name="T72" fmla="*/ 2147483646 w 390"/>
              <a:gd name="T73" fmla="*/ 2147483646 h 286"/>
              <a:gd name="T74" fmla="*/ 2147483646 w 390"/>
              <a:gd name="T75" fmla="*/ 2147483646 h 286"/>
              <a:gd name="T76" fmla="*/ 2147483646 w 390"/>
              <a:gd name="T77" fmla="*/ 2147483646 h 286"/>
              <a:gd name="T78" fmla="*/ 2147483646 w 390"/>
              <a:gd name="T79" fmla="*/ 2147483646 h 286"/>
              <a:gd name="T80" fmla="*/ 2147483646 w 390"/>
              <a:gd name="T81" fmla="*/ 2147483646 h 286"/>
              <a:gd name="T82" fmla="*/ 2147483646 w 390"/>
              <a:gd name="T83" fmla="*/ 2147483646 h 286"/>
              <a:gd name="T84" fmla="*/ 2147483646 w 390"/>
              <a:gd name="T85" fmla="*/ 2147483646 h 286"/>
              <a:gd name="T86" fmla="*/ 2147483646 w 390"/>
              <a:gd name="T87" fmla="*/ 2147483646 h 286"/>
              <a:gd name="T88" fmla="*/ 2147483646 w 390"/>
              <a:gd name="T89" fmla="*/ 2147483646 h 286"/>
              <a:gd name="T90" fmla="*/ 2147483646 w 390"/>
              <a:gd name="T91" fmla="*/ 2147483646 h 286"/>
              <a:gd name="T92" fmla="*/ 2147483646 w 390"/>
              <a:gd name="T93" fmla="*/ 2147483646 h 286"/>
              <a:gd name="T94" fmla="*/ 2147483646 w 390"/>
              <a:gd name="T95" fmla="*/ 2147483646 h 286"/>
              <a:gd name="T96" fmla="*/ 2147483646 w 390"/>
              <a:gd name="T97" fmla="*/ 2147483646 h 286"/>
              <a:gd name="T98" fmla="*/ 2147483646 w 390"/>
              <a:gd name="T99" fmla="*/ 2147483646 h 286"/>
              <a:gd name="T100" fmla="*/ 2147483646 w 390"/>
              <a:gd name="T101" fmla="*/ 2147483646 h 286"/>
              <a:gd name="T102" fmla="*/ 2147483646 w 390"/>
              <a:gd name="T103" fmla="*/ 2147483646 h 286"/>
              <a:gd name="T104" fmla="*/ 2147483646 w 390"/>
              <a:gd name="T105" fmla="*/ 2147483646 h 286"/>
              <a:gd name="T106" fmla="*/ 2147483646 w 390"/>
              <a:gd name="T107" fmla="*/ 2147483646 h 286"/>
              <a:gd name="T108" fmla="*/ 2147483646 w 390"/>
              <a:gd name="T109" fmla="*/ 2147483646 h 286"/>
              <a:gd name="T110" fmla="*/ 2147483646 w 390"/>
              <a:gd name="T111" fmla="*/ 2147483646 h 286"/>
              <a:gd name="T112" fmla="*/ 2147483646 w 390"/>
              <a:gd name="T113" fmla="*/ 2147483646 h 286"/>
              <a:gd name="T114" fmla="*/ 2147483646 w 390"/>
              <a:gd name="T115" fmla="*/ 2147483646 h 28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90" h="286">
                <a:moveTo>
                  <a:pt x="389" y="196"/>
                </a:moveTo>
                <a:lnTo>
                  <a:pt x="389" y="192"/>
                </a:lnTo>
                <a:lnTo>
                  <a:pt x="389" y="190"/>
                </a:lnTo>
                <a:lnTo>
                  <a:pt x="384" y="189"/>
                </a:lnTo>
                <a:lnTo>
                  <a:pt x="385" y="188"/>
                </a:lnTo>
                <a:lnTo>
                  <a:pt x="382" y="186"/>
                </a:lnTo>
                <a:lnTo>
                  <a:pt x="378" y="182"/>
                </a:lnTo>
                <a:lnTo>
                  <a:pt x="375" y="181"/>
                </a:lnTo>
                <a:lnTo>
                  <a:pt x="374" y="179"/>
                </a:lnTo>
                <a:lnTo>
                  <a:pt x="371" y="177"/>
                </a:lnTo>
                <a:lnTo>
                  <a:pt x="363" y="173"/>
                </a:lnTo>
                <a:lnTo>
                  <a:pt x="357" y="173"/>
                </a:lnTo>
                <a:lnTo>
                  <a:pt x="357" y="167"/>
                </a:lnTo>
                <a:lnTo>
                  <a:pt x="358" y="165"/>
                </a:lnTo>
                <a:lnTo>
                  <a:pt x="359" y="163"/>
                </a:lnTo>
                <a:lnTo>
                  <a:pt x="358" y="162"/>
                </a:lnTo>
                <a:lnTo>
                  <a:pt x="367" y="160"/>
                </a:lnTo>
                <a:lnTo>
                  <a:pt x="370" y="158"/>
                </a:lnTo>
                <a:lnTo>
                  <a:pt x="371" y="156"/>
                </a:lnTo>
                <a:lnTo>
                  <a:pt x="370" y="156"/>
                </a:lnTo>
                <a:lnTo>
                  <a:pt x="369" y="154"/>
                </a:lnTo>
                <a:lnTo>
                  <a:pt x="371" y="152"/>
                </a:lnTo>
                <a:lnTo>
                  <a:pt x="371" y="153"/>
                </a:lnTo>
                <a:lnTo>
                  <a:pt x="372" y="152"/>
                </a:lnTo>
                <a:lnTo>
                  <a:pt x="373" y="146"/>
                </a:lnTo>
                <a:lnTo>
                  <a:pt x="360" y="143"/>
                </a:lnTo>
                <a:lnTo>
                  <a:pt x="357" y="141"/>
                </a:lnTo>
                <a:lnTo>
                  <a:pt x="354" y="141"/>
                </a:lnTo>
                <a:lnTo>
                  <a:pt x="350" y="140"/>
                </a:lnTo>
                <a:lnTo>
                  <a:pt x="350" y="137"/>
                </a:lnTo>
                <a:lnTo>
                  <a:pt x="352" y="136"/>
                </a:lnTo>
                <a:lnTo>
                  <a:pt x="351" y="127"/>
                </a:lnTo>
                <a:lnTo>
                  <a:pt x="346" y="123"/>
                </a:lnTo>
                <a:lnTo>
                  <a:pt x="344" y="125"/>
                </a:lnTo>
                <a:lnTo>
                  <a:pt x="342" y="124"/>
                </a:lnTo>
                <a:lnTo>
                  <a:pt x="338" y="127"/>
                </a:lnTo>
                <a:lnTo>
                  <a:pt x="337" y="126"/>
                </a:lnTo>
                <a:lnTo>
                  <a:pt x="336" y="123"/>
                </a:lnTo>
                <a:lnTo>
                  <a:pt x="334" y="121"/>
                </a:lnTo>
                <a:lnTo>
                  <a:pt x="331" y="121"/>
                </a:lnTo>
                <a:lnTo>
                  <a:pt x="327" y="122"/>
                </a:lnTo>
                <a:lnTo>
                  <a:pt x="320" y="122"/>
                </a:lnTo>
                <a:lnTo>
                  <a:pt x="315" y="122"/>
                </a:lnTo>
                <a:lnTo>
                  <a:pt x="312" y="123"/>
                </a:lnTo>
                <a:lnTo>
                  <a:pt x="308" y="121"/>
                </a:lnTo>
                <a:lnTo>
                  <a:pt x="306" y="115"/>
                </a:lnTo>
                <a:lnTo>
                  <a:pt x="304" y="115"/>
                </a:lnTo>
                <a:lnTo>
                  <a:pt x="301" y="111"/>
                </a:lnTo>
                <a:lnTo>
                  <a:pt x="297" y="108"/>
                </a:lnTo>
                <a:lnTo>
                  <a:pt x="294" y="100"/>
                </a:lnTo>
                <a:lnTo>
                  <a:pt x="280" y="99"/>
                </a:lnTo>
                <a:lnTo>
                  <a:pt x="281" y="103"/>
                </a:lnTo>
                <a:lnTo>
                  <a:pt x="281" y="106"/>
                </a:lnTo>
                <a:lnTo>
                  <a:pt x="276" y="107"/>
                </a:lnTo>
                <a:lnTo>
                  <a:pt x="269" y="106"/>
                </a:lnTo>
                <a:lnTo>
                  <a:pt x="267" y="104"/>
                </a:lnTo>
                <a:lnTo>
                  <a:pt x="262" y="106"/>
                </a:lnTo>
                <a:lnTo>
                  <a:pt x="257" y="106"/>
                </a:lnTo>
                <a:lnTo>
                  <a:pt x="251" y="106"/>
                </a:lnTo>
                <a:lnTo>
                  <a:pt x="248" y="103"/>
                </a:lnTo>
                <a:lnTo>
                  <a:pt x="242" y="103"/>
                </a:lnTo>
                <a:lnTo>
                  <a:pt x="240" y="104"/>
                </a:lnTo>
                <a:lnTo>
                  <a:pt x="241" y="107"/>
                </a:lnTo>
                <a:lnTo>
                  <a:pt x="239" y="108"/>
                </a:lnTo>
                <a:lnTo>
                  <a:pt x="238" y="106"/>
                </a:lnTo>
                <a:lnTo>
                  <a:pt x="236" y="106"/>
                </a:lnTo>
                <a:lnTo>
                  <a:pt x="234" y="103"/>
                </a:lnTo>
                <a:lnTo>
                  <a:pt x="235" y="101"/>
                </a:lnTo>
                <a:lnTo>
                  <a:pt x="236" y="97"/>
                </a:lnTo>
                <a:lnTo>
                  <a:pt x="234" y="97"/>
                </a:lnTo>
                <a:lnTo>
                  <a:pt x="231" y="97"/>
                </a:lnTo>
                <a:lnTo>
                  <a:pt x="231" y="94"/>
                </a:lnTo>
                <a:lnTo>
                  <a:pt x="229" y="93"/>
                </a:lnTo>
                <a:lnTo>
                  <a:pt x="229" y="90"/>
                </a:lnTo>
                <a:lnTo>
                  <a:pt x="227" y="89"/>
                </a:lnTo>
                <a:lnTo>
                  <a:pt x="224" y="83"/>
                </a:lnTo>
                <a:lnTo>
                  <a:pt x="224" y="80"/>
                </a:lnTo>
                <a:lnTo>
                  <a:pt x="220" y="79"/>
                </a:lnTo>
                <a:lnTo>
                  <a:pt x="220" y="77"/>
                </a:lnTo>
                <a:lnTo>
                  <a:pt x="219" y="74"/>
                </a:lnTo>
                <a:lnTo>
                  <a:pt x="216" y="74"/>
                </a:lnTo>
                <a:lnTo>
                  <a:pt x="217" y="71"/>
                </a:lnTo>
                <a:lnTo>
                  <a:pt x="218" y="66"/>
                </a:lnTo>
                <a:lnTo>
                  <a:pt x="217" y="61"/>
                </a:lnTo>
                <a:lnTo>
                  <a:pt x="222" y="59"/>
                </a:lnTo>
                <a:lnTo>
                  <a:pt x="221" y="57"/>
                </a:lnTo>
                <a:lnTo>
                  <a:pt x="218" y="56"/>
                </a:lnTo>
                <a:lnTo>
                  <a:pt x="222" y="54"/>
                </a:lnTo>
                <a:lnTo>
                  <a:pt x="226" y="52"/>
                </a:lnTo>
                <a:lnTo>
                  <a:pt x="229" y="50"/>
                </a:lnTo>
                <a:lnTo>
                  <a:pt x="229" y="45"/>
                </a:lnTo>
                <a:lnTo>
                  <a:pt x="230" y="41"/>
                </a:lnTo>
                <a:lnTo>
                  <a:pt x="226" y="41"/>
                </a:lnTo>
                <a:lnTo>
                  <a:pt x="226" y="38"/>
                </a:lnTo>
                <a:lnTo>
                  <a:pt x="226" y="35"/>
                </a:lnTo>
                <a:lnTo>
                  <a:pt x="227" y="32"/>
                </a:lnTo>
                <a:lnTo>
                  <a:pt x="226" y="31"/>
                </a:lnTo>
                <a:lnTo>
                  <a:pt x="224" y="27"/>
                </a:lnTo>
                <a:lnTo>
                  <a:pt x="223" y="20"/>
                </a:lnTo>
                <a:lnTo>
                  <a:pt x="223" y="18"/>
                </a:lnTo>
                <a:lnTo>
                  <a:pt x="215" y="14"/>
                </a:lnTo>
                <a:lnTo>
                  <a:pt x="214" y="11"/>
                </a:lnTo>
                <a:lnTo>
                  <a:pt x="211" y="6"/>
                </a:lnTo>
                <a:lnTo>
                  <a:pt x="207" y="5"/>
                </a:lnTo>
                <a:lnTo>
                  <a:pt x="203" y="6"/>
                </a:lnTo>
                <a:lnTo>
                  <a:pt x="193" y="16"/>
                </a:lnTo>
                <a:lnTo>
                  <a:pt x="190" y="13"/>
                </a:lnTo>
                <a:lnTo>
                  <a:pt x="188" y="15"/>
                </a:lnTo>
                <a:lnTo>
                  <a:pt x="184" y="17"/>
                </a:lnTo>
                <a:lnTo>
                  <a:pt x="182" y="11"/>
                </a:lnTo>
                <a:lnTo>
                  <a:pt x="178" y="5"/>
                </a:lnTo>
                <a:lnTo>
                  <a:pt x="174" y="1"/>
                </a:lnTo>
                <a:lnTo>
                  <a:pt x="172" y="0"/>
                </a:lnTo>
                <a:lnTo>
                  <a:pt x="172" y="1"/>
                </a:lnTo>
                <a:lnTo>
                  <a:pt x="172" y="3"/>
                </a:lnTo>
                <a:lnTo>
                  <a:pt x="171" y="7"/>
                </a:lnTo>
                <a:lnTo>
                  <a:pt x="169" y="10"/>
                </a:lnTo>
                <a:lnTo>
                  <a:pt x="167" y="19"/>
                </a:lnTo>
                <a:lnTo>
                  <a:pt x="165" y="22"/>
                </a:lnTo>
                <a:lnTo>
                  <a:pt x="164" y="24"/>
                </a:lnTo>
                <a:lnTo>
                  <a:pt x="163" y="23"/>
                </a:lnTo>
                <a:lnTo>
                  <a:pt x="164" y="20"/>
                </a:lnTo>
                <a:lnTo>
                  <a:pt x="162" y="24"/>
                </a:lnTo>
                <a:lnTo>
                  <a:pt x="163" y="25"/>
                </a:lnTo>
                <a:lnTo>
                  <a:pt x="163" y="26"/>
                </a:lnTo>
                <a:lnTo>
                  <a:pt x="163" y="29"/>
                </a:lnTo>
                <a:lnTo>
                  <a:pt x="160" y="32"/>
                </a:lnTo>
                <a:lnTo>
                  <a:pt x="149" y="43"/>
                </a:lnTo>
                <a:lnTo>
                  <a:pt x="139" y="50"/>
                </a:lnTo>
                <a:lnTo>
                  <a:pt x="138" y="49"/>
                </a:lnTo>
                <a:lnTo>
                  <a:pt x="136" y="51"/>
                </a:lnTo>
                <a:lnTo>
                  <a:pt x="131" y="53"/>
                </a:lnTo>
                <a:lnTo>
                  <a:pt x="126" y="58"/>
                </a:lnTo>
                <a:lnTo>
                  <a:pt x="121" y="60"/>
                </a:lnTo>
                <a:lnTo>
                  <a:pt x="117" y="58"/>
                </a:lnTo>
                <a:lnTo>
                  <a:pt x="119" y="61"/>
                </a:lnTo>
                <a:lnTo>
                  <a:pt x="117" y="62"/>
                </a:lnTo>
                <a:lnTo>
                  <a:pt x="116" y="63"/>
                </a:lnTo>
                <a:lnTo>
                  <a:pt x="112" y="69"/>
                </a:lnTo>
                <a:lnTo>
                  <a:pt x="108" y="72"/>
                </a:lnTo>
                <a:lnTo>
                  <a:pt x="106" y="74"/>
                </a:lnTo>
                <a:lnTo>
                  <a:pt x="105" y="77"/>
                </a:lnTo>
                <a:lnTo>
                  <a:pt x="102" y="85"/>
                </a:lnTo>
                <a:lnTo>
                  <a:pt x="100" y="92"/>
                </a:lnTo>
                <a:lnTo>
                  <a:pt x="97" y="94"/>
                </a:lnTo>
                <a:lnTo>
                  <a:pt x="91" y="94"/>
                </a:lnTo>
                <a:lnTo>
                  <a:pt x="89" y="95"/>
                </a:lnTo>
                <a:lnTo>
                  <a:pt x="87" y="96"/>
                </a:lnTo>
                <a:lnTo>
                  <a:pt x="86" y="96"/>
                </a:lnTo>
                <a:lnTo>
                  <a:pt x="85" y="97"/>
                </a:lnTo>
                <a:lnTo>
                  <a:pt x="83" y="96"/>
                </a:lnTo>
                <a:lnTo>
                  <a:pt x="82" y="98"/>
                </a:lnTo>
                <a:lnTo>
                  <a:pt x="76" y="99"/>
                </a:lnTo>
                <a:lnTo>
                  <a:pt x="75" y="100"/>
                </a:lnTo>
                <a:lnTo>
                  <a:pt x="74" y="100"/>
                </a:lnTo>
                <a:lnTo>
                  <a:pt x="71" y="101"/>
                </a:lnTo>
                <a:lnTo>
                  <a:pt x="70" y="101"/>
                </a:lnTo>
                <a:lnTo>
                  <a:pt x="67" y="99"/>
                </a:lnTo>
                <a:lnTo>
                  <a:pt x="64" y="111"/>
                </a:lnTo>
                <a:lnTo>
                  <a:pt x="75" y="120"/>
                </a:lnTo>
                <a:lnTo>
                  <a:pt x="74" y="123"/>
                </a:lnTo>
                <a:lnTo>
                  <a:pt x="73" y="126"/>
                </a:lnTo>
                <a:lnTo>
                  <a:pt x="71" y="129"/>
                </a:lnTo>
                <a:lnTo>
                  <a:pt x="76" y="130"/>
                </a:lnTo>
                <a:lnTo>
                  <a:pt x="79" y="131"/>
                </a:lnTo>
                <a:lnTo>
                  <a:pt x="82" y="132"/>
                </a:lnTo>
                <a:lnTo>
                  <a:pt x="84" y="133"/>
                </a:lnTo>
                <a:lnTo>
                  <a:pt x="84" y="136"/>
                </a:lnTo>
                <a:lnTo>
                  <a:pt x="88" y="137"/>
                </a:lnTo>
                <a:lnTo>
                  <a:pt x="88" y="139"/>
                </a:lnTo>
                <a:lnTo>
                  <a:pt x="89" y="140"/>
                </a:lnTo>
                <a:lnTo>
                  <a:pt x="91" y="142"/>
                </a:lnTo>
                <a:lnTo>
                  <a:pt x="90" y="143"/>
                </a:lnTo>
                <a:lnTo>
                  <a:pt x="88" y="144"/>
                </a:lnTo>
                <a:lnTo>
                  <a:pt x="87" y="147"/>
                </a:lnTo>
                <a:lnTo>
                  <a:pt x="89" y="147"/>
                </a:lnTo>
                <a:lnTo>
                  <a:pt x="90" y="148"/>
                </a:lnTo>
                <a:lnTo>
                  <a:pt x="86" y="149"/>
                </a:lnTo>
                <a:lnTo>
                  <a:pt x="86" y="150"/>
                </a:lnTo>
                <a:lnTo>
                  <a:pt x="87" y="151"/>
                </a:lnTo>
                <a:lnTo>
                  <a:pt x="85" y="152"/>
                </a:lnTo>
                <a:lnTo>
                  <a:pt x="85" y="156"/>
                </a:lnTo>
                <a:lnTo>
                  <a:pt x="83" y="158"/>
                </a:lnTo>
                <a:lnTo>
                  <a:pt x="82" y="158"/>
                </a:lnTo>
                <a:lnTo>
                  <a:pt x="80" y="161"/>
                </a:lnTo>
                <a:lnTo>
                  <a:pt x="83" y="165"/>
                </a:lnTo>
                <a:lnTo>
                  <a:pt x="90" y="164"/>
                </a:lnTo>
                <a:lnTo>
                  <a:pt x="91" y="162"/>
                </a:lnTo>
                <a:lnTo>
                  <a:pt x="94" y="162"/>
                </a:lnTo>
                <a:lnTo>
                  <a:pt x="96" y="160"/>
                </a:lnTo>
                <a:lnTo>
                  <a:pt x="95" y="159"/>
                </a:lnTo>
                <a:lnTo>
                  <a:pt x="95" y="158"/>
                </a:lnTo>
                <a:lnTo>
                  <a:pt x="97" y="158"/>
                </a:lnTo>
                <a:lnTo>
                  <a:pt x="97" y="155"/>
                </a:lnTo>
                <a:lnTo>
                  <a:pt x="96" y="155"/>
                </a:lnTo>
                <a:lnTo>
                  <a:pt x="96" y="153"/>
                </a:lnTo>
                <a:lnTo>
                  <a:pt x="98" y="152"/>
                </a:lnTo>
                <a:lnTo>
                  <a:pt x="99" y="152"/>
                </a:lnTo>
                <a:lnTo>
                  <a:pt x="100" y="153"/>
                </a:lnTo>
                <a:lnTo>
                  <a:pt x="101" y="160"/>
                </a:lnTo>
                <a:lnTo>
                  <a:pt x="102" y="159"/>
                </a:lnTo>
                <a:lnTo>
                  <a:pt x="102" y="167"/>
                </a:lnTo>
                <a:lnTo>
                  <a:pt x="101" y="172"/>
                </a:lnTo>
                <a:lnTo>
                  <a:pt x="102" y="175"/>
                </a:lnTo>
                <a:lnTo>
                  <a:pt x="106" y="177"/>
                </a:lnTo>
                <a:lnTo>
                  <a:pt x="106" y="184"/>
                </a:lnTo>
                <a:lnTo>
                  <a:pt x="108" y="187"/>
                </a:lnTo>
                <a:lnTo>
                  <a:pt x="109" y="189"/>
                </a:lnTo>
                <a:lnTo>
                  <a:pt x="112" y="191"/>
                </a:lnTo>
                <a:lnTo>
                  <a:pt x="113" y="192"/>
                </a:lnTo>
                <a:lnTo>
                  <a:pt x="114" y="196"/>
                </a:lnTo>
                <a:lnTo>
                  <a:pt x="117" y="199"/>
                </a:lnTo>
                <a:lnTo>
                  <a:pt x="115" y="203"/>
                </a:lnTo>
                <a:lnTo>
                  <a:pt x="116" y="206"/>
                </a:lnTo>
                <a:lnTo>
                  <a:pt x="112" y="209"/>
                </a:lnTo>
                <a:lnTo>
                  <a:pt x="107" y="207"/>
                </a:lnTo>
                <a:lnTo>
                  <a:pt x="98" y="202"/>
                </a:lnTo>
                <a:lnTo>
                  <a:pt x="90" y="198"/>
                </a:lnTo>
                <a:lnTo>
                  <a:pt x="85" y="196"/>
                </a:lnTo>
                <a:lnTo>
                  <a:pt x="77" y="195"/>
                </a:lnTo>
                <a:lnTo>
                  <a:pt x="73" y="197"/>
                </a:lnTo>
                <a:lnTo>
                  <a:pt x="70" y="199"/>
                </a:lnTo>
                <a:lnTo>
                  <a:pt x="65" y="201"/>
                </a:lnTo>
                <a:lnTo>
                  <a:pt x="59" y="201"/>
                </a:lnTo>
                <a:lnTo>
                  <a:pt x="58" y="203"/>
                </a:lnTo>
                <a:lnTo>
                  <a:pt x="55" y="206"/>
                </a:lnTo>
                <a:lnTo>
                  <a:pt x="53" y="208"/>
                </a:lnTo>
                <a:lnTo>
                  <a:pt x="52" y="211"/>
                </a:lnTo>
                <a:lnTo>
                  <a:pt x="51" y="214"/>
                </a:lnTo>
                <a:lnTo>
                  <a:pt x="51" y="216"/>
                </a:lnTo>
                <a:lnTo>
                  <a:pt x="51" y="219"/>
                </a:lnTo>
                <a:lnTo>
                  <a:pt x="52" y="224"/>
                </a:lnTo>
                <a:lnTo>
                  <a:pt x="53" y="229"/>
                </a:lnTo>
                <a:lnTo>
                  <a:pt x="53" y="235"/>
                </a:lnTo>
                <a:lnTo>
                  <a:pt x="53" y="238"/>
                </a:lnTo>
                <a:lnTo>
                  <a:pt x="53" y="242"/>
                </a:lnTo>
                <a:lnTo>
                  <a:pt x="52" y="244"/>
                </a:lnTo>
                <a:lnTo>
                  <a:pt x="51" y="247"/>
                </a:lnTo>
                <a:lnTo>
                  <a:pt x="50" y="250"/>
                </a:lnTo>
                <a:lnTo>
                  <a:pt x="48" y="252"/>
                </a:lnTo>
                <a:lnTo>
                  <a:pt x="45" y="254"/>
                </a:lnTo>
                <a:lnTo>
                  <a:pt x="43" y="256"/>
                </a:lnTo>
                <a:lnTo>
                  <a:pt x="34" y="260"/>
                </a:lnTo>
                <a:lnTo>
                  <a:pt x="33" y="260"/>
                </a:lnTo>
                <a:lnTo>
                  <a:pt x="31" y="260"/>
                </a:lnTo>
                <a:lnTo>
                  <a:pt x="30" y="259"/>
                </a:lnTo>
                <a:lnTo>
                  <a:pt x="29" y="258"/>
                </a:lnTo>
                <a:lnTo>
                  <a:pt x="26" y="257"/>
                </a:lnTo>
                <a:lnTo>
                  <a:pt x="25" y="257"/>
                </a:lnTo>
                <a:lnTo>
                  <a:pt x="23" y="257"/>
                </a:lnTo>
                <a:lnTo>
                  <a:pt x="19" y="257"/>
                </a:lnTo>
                <a:lnTo>
                  <a:pt x="16" y="259"/>
                </a:lnTo>
                <a:lnTo>
                  <a:pt x="12" y="260"/>
                </a:lnTo>
                <a:lnTo>
                  <a:pt x="5" y="264"/>
                </a:lnTo>
                <a:lnTo>
                  <a:pt x="0" y="268"/>
                </a:lnTo>
                <a:lnTo>
                  <a:pt x="5" y="271"/>
                </a:lnTo>
                <a:lnTo>
                  <a:pt x="9" y="273"/>
                </a:lnTo>
                <a:lnTo>
                  <a:pt x="8" y="277"/>
                </a:lnTo>
                <a:lnTo>
                  <a:pt x="9" y="279"/>
                </a:lnTo>
                <a:lnTo>
                  <a:pt x="5" y="283"/>
                </a:lnTo>
                <a:lnTo>
                  <a:pt x="6" y="285"/>
                </a:lnTo>
                <a:lnTo>
                  <a:pt x="15" y="283"/>
                </a:lnTo>
                <a:lnTo>
                  <a:pt x="26" y="283"/>
                </a:lnTo>
                <a:lnTo>
                  <a:pt x="33" y="286"/>
                </a:lnTo>
                <a:lnTo>
                  <a:pt x="38" y="284"/>
                </a:lnTo>
                <a:lnTo>
                  <a:pt x="44" y="285"/>
                </a:lnTo>
                <a:lnTo>
                  <a:pt x="50" y="283"/>
                </a:lnTo>
                <a:lnTo>
                  <a:pt x="58" y="278"/>
                </a:lnTo>
                <a:lnTo>
                  <a:pt x="61" y="269"/>
                </a:lnTo>
                <a:lnTo>
                  <a:pt x="66" y="258"/>
                </a:lnTo>
                <a:lnTo>
                  <a:pt x="70" y="254"/>
                </a:lnTo>
                <a:lnTo>
                  <a:pt x="75" y="259"/>
                </a:lnTo>
                <a:lnTo>
                  <a:pt x="80" y="260"/>
                </a:lnTo>
                <a:lnTo>
                  <a:pt x="84" y="258"/>
                </a:lnTo>
                <a:lnTo>
                  <a:pt x="88" y="252"/>
                </a:lnTo>
                <a:lnTo>
                  <a:pt x="93" y="254"/>
                </a:lnTo>
                <a:lnTo>
                  <a:pt x="97" y="257"/>
                </a:lnTo>
                <a:lnTo>
                  <a:pt x="100" y="257"/>
                </a:lnTo>
                <a:lnTo>
                  <a:pt x="103" y="253"/>
                </a:lnTo>
                <a:lnTo>
                  <a:pt x="107" y="253"/>
                </a:lnTo>
                <a:lnTo>
                  <a:pt x="112" y="252"/>
                </a:lnTo>
                <a:lnTo>
                  <a:pt x="117" y="256"/>
                </a:lnTo>
                <a:lnTo>
                  <a:pt x="121" y="256"/>
                </a:lnTo>
                <a:lnTo>
                  <a:pt x="124" y="260"/>
                </a:lnTo>
                <a:lnTo>
                  <a:pt x="127" y="264"/>
                </a:lnTo>
                <a:lnTo>
                  <a:pt x="132" y="266"/>
                </a:lnTo>
                <a:lnTo>
                  <a:pt x="134" y="268"/>
                </a:lnTo>
                <a:lnTo>
                  <a:pt x="136" y="271"/>
                </a:lnTo>
                <a:lnTo>
                  <a:pt x="142" y="272"/>
                </a:lnTo>
                <a:lnTo>
                  <a:pt x="145" y="275"/>
                </a:lnTo>
                <a:lnTo>
                  <a:pt x="146" y="278"/>
                </a:lnTo>
                <a:lnTo>
                  <a:pt x="150" y="279"/>
                </a:lnTo>
                <a:lnTo>
                  <a:pt x="156" y="279"/>
                </a:lnTo>
                <a:lnTo>
                  <a:pt x="159" y="278"/>
                </a:lnTo>
                <a:lnTo>
                  <a:pt x="165" y="277"/>
                </a:lnTo>
                <a:lnTo>
                  <a:pt x="172" y="278"/>
                </a:lnTo>
                <a:lnTo>
                  <a:pt x="173" y="276"/>
                </a:lnTo>
                <a:lnTo>
                  <a:pt x="173" y="275"/>
                </a:lnTo>
                <a:lnTo>
                  <a:pt x="172" y="273"/>
                </a:lnTo>
                <a:lnTo>
                  <a:pt x="172" y="271"/>
                </a:lnTo>
                <a:lnTo>
                  <a:pt x="175" y="271"/>
                </a:lnTo>
                <a:lnTo>
                  <a:pt x="177" y="270"/>
                </a:lnTo>
                <a:lnTo>
                  <a:pt x="179" y="271"/>
                </a:lnTo>
                <a:lnTo>
                  <a:pt x="182" y="276"/>
                </a:lnTo>
                <a:lnTo>
                  <a:pt x="183" y="277"/>
                </a:lnTo>
                <a:lnTo>
                  <a:pt x="183" y="280"/>
                </a:lnTo>
                <a:lnTo>
                  <a:pt x="186" y="280"/>
                </a:lnTo>
                <a:lnTo>
                  <a:pt x="187" y="282"/>
                </a:lnTo>
                <a:lnTo>
                  <a:pt x="187" y="283"/>
                </a:lnTo>
                <a:lnTo>
                  <a:pt x="190" y="283"/>
                </a:lnTo>
                <a:lnTo>
                  <a:pt x="191" y="283"/>
                </a:lnTo>
                <a:lnTo>
                  <a:pt x="191" y="282"/>
                </a:lnTo>
                <a:lnTo>
                  <a:pt x="194" y="282"/>
                </a:lnTo>
                <a:lnTo>
                  <a:pt x="194" y="281"/>
                </a:lnTo>
                <a:lnTo>
                  <a:pt x="194" y="280"/>
                </a:lnTo>
                <a:lnTo>
                  <a:pt x="195" y="280"/>
                </a:lnTo>
                <a:lnTo>
                  <a:pt x="198" y="277"/>
                </a:lnTo>
                <a:lnTo>
                  <a:pt x="199" y="277"/>
                </a:lnTo>
                <a:lnTo>
                  <a:pt x="202" y="275"/>
                </a:lnTo>
                <a:lnTo>
                  <a:pt x="202" y="273"/>
                </a:lnTo>
                <a:lnTo>
                  <a:pt x="200" y="272"/>
                </a:lnTo>
                <a:lnTo>
                  <a:pt x="200" y="271"/>
                </a:lnTo>
                <a:lnTo>
                  <a:pt x="202" y="268"/>
                </a:lnTo>
                <a:lnTo>
                  <a:pt x="198" y="268"/>
                </a:lnTo>
                <a:lnTo>
                  <a:pt x="198" y="264"/>
                </a:lnTo>
                <a:lnTo>
                  <a:pt x="199" y="264"/>
                </a:lnTo>
                <a:lnTo>
                  <a:pt x="194" y="259"/>
                </a:lnTo>
                <a:lnTo>
                  <a:pt x="193" y="258"/>
                </a:lnTo>
                <a:lnTo>
                  <a:pt x="192" y="257"/>
                </a:lnTo>
                <a:lnTo>
                  <a:pt x="194" y="257"/>
                </a:lnTo>
                <a:lnTo>
                  <a:pt x="192" y="254"/>
                </a:lnTo>
                <a:lnTo>
                  <a:pt x="195" y="249"/>
                </a:lnTo>
                <a:lnTo>
                  <a:pt x="197" y="250"/>
                </a:lnTo>
                <a:lnTo>
                  <a:pt x="201" y="251"/>
                </a:lnTo>
                <a:lnTo>
                  <a:pt x="202" y="252"/>
                </a:lnTo>
                <a:lnTo>
                  <a:pt x="206" y="250"/>
                </a:lnTo>
                <a:lnTo>
                  <a:pt x="207" y="249"/>
                </a:lnTo>
                <a:lnTo>
                  <a:pt x="210" y="246"/>
                </a:lnTo>
                <a:lnTo>
                  <a:pt x="211" y="247"/>
                </a:lnTo>
                <a:lnTo>
                  <a:pt x="212" y="246"/>
                </a:lnTo>
                <a:lnTo>
                  <a:pt x="216" y="243"/>
                </a:lnTo>
                <a:lnTo>
                  <a:pt x="216" y="242"/>
                </a:lnTo>
                <a:lnTo>
                  <a:pt x="217" y="241"/>
                </a:lnTo>
                <a:lnTo>
                  <a:pt x="218" y="238"/>
                </a:lnTo>
                <a:lnTo>
                  <a:pt x="225" y="244"/>
                </a:lnTo>
                <a:lnTo>
                  <a:pt x="228" y="245"/>
                </a:lnTo>
                <a:lnTo>
                  <a:pt x="235" y="245"/>
                </a:lnTo>
                <a:lnTo>
                  <a:pt x="241" y="247"/>
                </a:lnTo>
                <a:lnTo>
                  <a:pt x="241" y="246"/>
                </a:lnTo>
                <a:lnTo>
                  <a:pt x="240" y="242"/>
                </a:lnTo>
                <a:lnTo>
                  <a:pt x="241" y="240"/>
                </a:lnTo>
                <a:lnTo>
                  <a:pt x="236" y="237"/>
                </a:lnTo>
                <a:lnTo>
                  <a:pt x="236" y="234"/>
                </a:lnTo>
                <a:lnTo>
                  <a:pt x="234" y="231"/>
                </a:lnTo>
                <a:lnTo>
                  <a:pt x="229" y="229"/>
                </a:lnTo>
                <a:lnTo>
                  <a:pt x="227" y="229"/>
                </a:lnTo>
                <a:lnTo>
                  <a:pt x="228" y="228"/>
                </a:lnTo>
                <a:lnTo>
                  <a:pt x="229" y="226"/>
                </a:lnTo>
                <a:lnTo>
                  <a:pt x="229" y="227"/>
                </a:lnTo>
                <a:lnTo>
                  <a:pt x="230" y="225"/>
                </a:lnTo>
                <a:lnTo>
                  <a:pt x="232" y="227"/>
                </a:lnTo>
                <a:lnTo>
                  <a:pt x="238" y="224"/>
                </a:lnTo>
                <a:lnTo>
                  <a:pt x="239" y="224"/>
                </a:lnTo>
                <a:lnTo>
                  <a:pt x="241" y="226"/>
                </a:lnTo>
                <a:lnTo>
                  <a:pt x="242" y="225"/>
                </a:lnTo>
                <a:lnTo>
                  <a:pt x="243" y="227"/>
                </a:lnTo>
                <a:lnTo>
                  <a:pt x="246" y="229"/>
                </a:lnTo>
                <a:lnTo>
                  <a:pt x="246" y="230"/>
                </a:lnTo>
                <a:lnTo>
                  <a:pt x="245" y="231"/>
                </a:lnTo>
                <a:lnTo>
                  <a:pt x="245" y="232"/>
                </a:lnTo>
                <a:lnTo>
                  <a:pt x="248" y="235"/>
                </a:lnTo>
                <a:lnTo>
                  <a:pt x="252" y="237"/>
                </a:lnTo>
                <a:lnTo>
                  <a:pt x="255" y="237"/>
                </a:lnTo>
                <a:lnTo>
                  <a:pt x="256" y="236"/>
                </a:lnTo>
                <a:lnTo>
                  <a:pt x="259" y="236"/>
                </a:lnTo>
                <a:lnTo>
                  <a:pt x="262" y="238"/>
                </a:lnTo>
                <a:lnTo>
                  <a:pt x="263" y="237"/>
                </a:lnTo>
                <a:lnTo>
                  <a:pt x="265" y="234"/>
                </a:lnTo>
                <a:lnTo>
                  <a:pt x="267" y="235"/>
                </a:lnTo>
                <a:lnTo>
                  <a:pt x="271" y="238"/>
                </a:lnTo>
                <a:lnTo>
                  <a:pt x="273" y="244"/>
                </a:lnTo>
                <a:lnTo>
                  <a:pt x="274" y="243"/>
                </a:lnTo>
                <a:lnTo>
                  <a:pt x="275" y="242"/>
                </a:lnTo>
                <a:lnTo>
                  <a:pt x="281" y="243"/>
                </a:lnTo>
                <a:lnTo>
                  <a:pt x="284" y="244"/>
                </a:lnTo>
                <a:lnTo>
                  <a:pt x="285" y="246"/>
                </a:lnTo>
                <a:lnTo>
                  <a:pt x="285" y="249"/>
                </a:lnTo>
                <a:lnTo>
                  <a:pt x="287" y="249"/>
                </a:lnTo>
                <a:lnTo>
                  <a:pt x="289" y="249"/>
                </a:lnTo>
                <a:lnTo>
                  <a:pt x="291" y="249"/>
                </a:lnTo>
                <a:lnTo>
                  <a:pt x="292" y="250"/>
                </a:lnTo>
                <a:lnTo>
                  <a:pt x="294" y="251"/>
                </a:lnTo>
                <a:lnTo>
                  <a:pt x="295" y="251"/>
                </a:lnTo>
                <a:lnTo>
                  <a:pt x="294" y="248"/>
                </a:lnTo>
                <a:lnTo>
                  <a:pt x="295" y="248"/>
                </a:lnTo>
                <a:lnTo>
                  <a:pt x="294" y="245"/>
                </a:lnTo>
                <a:lnTo>
                  <a:pt x="296" y="242"/>
                </a:lnTo>
                <a:lnTo>
                  <a:pt x="291" y="238"/>
                </a:lnTo>
                <a:lnTo>
                  <a:pt x="291" y="234"/>
                </a:lnTo>
                <a:lnTo>
                  <a:pt x="294" y="236"/>
                </a:lnTo>
                <a:lnTo>
                  <a:pt x="296" y="236"/>
                </a:lnTo>
                <a:lnTo>
                  <a:pt x="300" y="238"/>
                </a:lnTo>
                <a:lnTo>
                  <a:pt x="301" y="240"/>
                </a:lnTo>
                <a:lnTo>
                  <a:pt x="305" y="238"/>
                </a:lnTo>
                <a:lnTo>
                  <a:pt x="308" y="242"/>
                </a:lnTo>
                <a:lnTo>
                  <a:pt x="310" y="242"/>
                </a:lnTo>
                <a:lnTo>
                  <a:pt x="311" y="241"/>
                </a:lnTo>
                <a:lnTo>
                  <a:pt x="312" y="241"/>
                </a:lnTo>
                <a:lnTo>
                  <a:pt x="316" y="239"/>
                </a:lnTo>
                <a:lnTo>
                  <a:pt x="319" y="234"/>
                </a:lnTo>
                <a:lnTo>
                  <a:pt x="322" y="234"/>
                </a:lnTo>
                <a:lnTo>
                  <a:pt x="326" y="230"/>
                </a:lnTo>
                <a:lnTo>
                  <a:pt x="327" y="230"/>
                </a:lnTo>
                <a:lnTo>
                  <a:pt x="328" y="230"/>
                </a:lnTo>
                <a:lnTo>
                  <a:pt x="329" y="231"/>
                </a:lnTo>
                <a:lnTo>
                  <a:pt x="330" y="231"/>
                </a:lnTo>
                <a:lnTo>
                  <a:pt x="330" y="230"/>
                </a:lnTo>
                <a:lnTo>
                  <a:pt x="333" y="228"/>
                </a:lnTo>
                <a:lnTo>
                  <a:pt x="335" y="227"/>
                </a:lnTo>
                <a:lnTo>
                  <a:pt x="344" y="224"/>
                </a:lnTo>
                <a:lnTo>
                  <a:pt x="346" y="224"/>
                </a:lnTo>
                <a:lnTo>
                  <a:pt x="347" y="223"/>
                </a:lnTo>
                <a:lnTo>
                  <a:pt x="354" y="219"/>
                </a:lnTo>
                <a:lnTo>
                  <a:pt x="357" y="218"/>
                </a:lnTo>
                <a:lnTo>
                  <a:pt x="357" y="219"/>
                </a:lnTo>
                <a:lnTo>
                  <a:pt x="360" y="219"/>
                </a:lnTo>
                <a:lnTo>
                  <a:pt x="360" y="221"/>
                </a:lnTo>
                <a:lnTo>
                  <a:pt x="362" y="221"/>
                </a:lnTo>
                <a:lnTo>
                  <a:pt x="362" y="223"/>
                </a:lnTo>
                <a:lnTo>
                  <a:pt x="366" y="225"/>
                </a:lnTo>
                <a:lnTo>
                  <a:pt x="366" y="226"/>
                </a:lnTo>
                <a:lnTo>
                  <a:pt x="370" y="223"/>
                </a:lnTo>
                <a:lnTo>
                  <a:pt x="373" y="221"/>
                </a:lnTo>
                <a:lnTo>
                  <a:pt x="373" y="219"/>
                </a:lnTo>
                <a:lnTo>
                  <a:pt x="374" y="219"/>
                </a:lnTo>
                <a:lnTo>
                  <a:pt x="374" y="218"/>
                </a:lnTo>
                <a:lnTo>
                  <a:pt x="377" y="218"/>
                </a:lnTo>
                <a:lnTo>
                  <a:pt x="380" y="213"/>
                </a:lnTo>
                <a:lnTo>
                  <a:pt x="380" y="212"/>
                </a:lnTo>
                <a:lnTo>
                  <a:pt x="382" y="210"/>
                </a:lnTo>
                <a:lnTo>
                  <a:pt x="382" y="206"/>
                </a:lnTo>
                <a:lnTo>
                  <a:pt x="383" y="203"/>
                </a:lnTo>
                <a:lnTo>
                  <a:pt x="386" y="201"/>
                </a:lnTo>
                <a:lnTo>
                  <a:pt x="389" y="201"/>
                </a:lnTo>
                <a:lnTo>
                  <a:pt x="390" y="200"/>
                </a:lnTo>
                <a:lnTo>
                  <a:pt x="390" y="197"/>
                </a:lnTo>
                <a:lnTo>
                  <a:pt x="389" y="19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4" name="Freeform 102"/>
          <p:cNvSpPr>
            <a:spLocks/>
          </p:cNvSpPr>
          <p:nvPr/>
        </p:nvSpPr>
        <p:spPr bwMode="auto">
          <a:xfrm>
            <a:off x="5135563" y="2454275"/>
            <a:ext cx="663575" cy="606425"/>
          </a:xfrm>
          <a:custGeom>
            <a:avLst/>
            <a:gdLst>
              <a:gd name="T0" fmla="*/ 2147483646 w 212"/>
              <a:gd name="T1" fmla="*/ 2147483646 h 210"/>
              <a:gd name="T2" fmla="*/ 2147483646 w 212"/>
              <a:gd name="T3" fmla="*/ 2147483646 h 210"/>
              <a:gd name="T4" fmla="*/ 2147483646 w 212"/>
              <a:gd name="T5" fmla="*/ 2147483646 h 210"/>
              <a:gd name="T6" fmla="*/ 2147483646 w 212"/>
              <a:gd name="T7" fmla="*/ 2147483646 h 210"/>
              <a:gd name="T8" fmla="*/ 2147483646 w 212"/>
              <a:gd name="T9" fmla="*/ 2147483646 h 210"/>
              <a:gd name="T10" fmla="*/ 2147483646 w 212"/>
              <a:gd name="T11" fmla="*/ 2147483646 h 210"/>
              <a:gd name="T12" fmla="*/ 2147483646 w 212"/>
              <a:gd name="T13" fmla="*/ 2147483646 h 210"/>
              <a:gd name="T14" fmla="*/ 2147483646 w 212"/>
              <a:gd name="T15" fmla="*/ 2147483646 h 210"/>
              <a:gd name="T16" fmla="*/ 2147483646 w 212"/>
              <a:gd name="T17" fmla="*/ 2147483646 h 210"/>
              <a:gd name="T18" fmla="*/ 2147483646 w 212"/>
              <a:gd name="T19" fmla="*/ 2147483646 h 210"/>
              <a:gd name="T20" fmla="*/ 2147483646 w 212"/>
              <a:gd name="T21" fmla="*/ 2147483646 h 210"/>
              <a:gd name="T22" fmla="*/ 2147483646 w 212"/>
              <a:gd name="T23" fmla="*/ 2147483646 h 210"/>
              <a:gd name="T24" fmla="*/ 2147483646 w 212"/>
              <a:gd name="T25" fmla="*/ 2147483646 h 210"/>
              <a:gd name="T26" fmla="*/ 2147483646 w 212"/>
              <a:gd name="T27" fmla="*/ 2147483646 h 210"/>
              <a:gd name="T28" fmla="*/ 2147483646 w 212"/>
              <a:gd name="T29" fmla="*/ 2147483646 h 210"/>
              <a:gd name="T30" fmla="*/ 2147483646 w 212"/>
              <a:gd name="T31" fmla="*/ 2147483646 h 210"/>
              <a:gd name="T32" fmla="*/ 2147483646 w 212"/>
              <a:gd name="T33" fmla="*/ 2147483646 h 210"/>
              <a:gd name="T34" fmla="*/ 2147483646 w 212"/>
              <a:gd name="T35" fmla="*/ 2147483646 h 210"/>
              <a:gd name="T36" fmla="*/ 2147483646 w 212"/>
              <a:gd name="T37" fmla="*/ 2147483646 h 210"/>
              <a:gd name="T38" fmla="*/ 2147483646 w 212"/>
              <a:gd name="T39" fmla="*/ 2147483646 h 210"/>
              <a:gd name="T40" fmla="*/ 2147483646 w 212"/>
              <a:gd name="T41" fmla="*/ 2147483646 h 210"/>
              <a:gd name="T42" fmla="*/ 2147483646 w 212"/>
              <a:gd name="T43" fmla="*/ 2147483646 h 210"/>
              <a:gd name="T44" fmla="*/ 2147483646 w 212"/>
              <a:gd name="T45" fmla="*/ 2147483646 h 210"/>
              <a:gd name="T46" fmla="*/ 2147483646 w 212"/>
              <a:gd name="T47" fmla="*/ 2147483646 h 210"/>
              <a:gd name="T48" fmla="*/ 2147483646 w 212"/>
              <a:gd name="T49" fmla="*/ 2147483646 h 210"/>
              <a:gd name="T50" fmla="*/ 2147483646 w 212"/>
              <a:gd name="T51" fmla="*/ 2147483646 h 210"/>
              <a:gd name="T52" fmla="*/ 2147483646 w 212"/>
              <a:gd name="T53" fmla="*/ 2147483646 h 210"/>
              <a:gd name="T54" fmla="*/ 2147483646 w 212"/>
              <a:gd name="T55" fmla="*/ 2147483646 h 210"/>
              <a:gd name="T56" fmla="*/ 2147483646 w 212"/>
              <a:gd name="T57" fmla="*/ 2147483646 h 210"/>
              <a:gd name="T58" fmla="*/ 2147483646 w 212"/>
              <a:gd name="T59" fmla="*/ 2147483646 h 210"/>
              <a:gd name="T60" fmla="*/ 2147483646 w 212"/>
              <a:gd name="T61" fmla="*/ 2147483646 h 210"/>
              <a:gd name="T62" fmla="*/ 2147483646 w 212"/>
              <a:gd name="T63" fmla="*/ 2147483646 h 210"/>
              <a:gd name="T64" fmla="*/ 2147483646 w 212"/>
              <a:gd name="T65" fmla="*/ 2147483646 h 210"/>
              <a:gd name="T66" fmla="*/ 2147483646 w 212"/>
              <a:gd name="T67" fmla="*/ 2147483646 h 210"/>
              <a:gd name="T68" fmla="*/ 2147483646 w 212"/>
              <a:gd name="T69" fmla="*/ 2147483646 h 210"/>
              <a:gd name="T70" fmla="*/ 2147483646 w 212"/>
              <a:gd name="T71" fmla="*/ 2147483646 h 210"/>
              <a:gd name="T72" fmla="*/ 2147483646 w 212"/>
              <a:gd name="T73" fmla="*/ 2147483646 h 210"/>
              <a:gd name="T74" fmla="*/ 2147483646 w 212"/>
              <a:gd name="T75" fmla="*/ 2147483646 h 210"/>
              <a:gd name="T76" fmla="*/ 2147483646 w 212"/>
              <a:gd name="T77" fmla="*/ 2147483646 h 210"/>
              <a:gd name="T78" fmla="*/ 2147483646 w 212"/>
              <a:gd name="T79" fmla="*/ 2147483646 h 210"/>
              <a:gd name="T80" fmla="*/ 2147483646 w 212"/>
              <a:gd name="T81" fmla="*/ 2147483646 h 210"/>
              <a:gd name="T82" fmla="*/ 2147483646 w 212"/>
              <a:gd name="T83" fmla="*/ 2147483646 h 210"/>
              <a:gd name="T84" fmla="*/ 2147483646 w 212"/>
              <a:gd name="T85" fmla="*/ 2147483646 h 210"/>
              <a:gd name="T86" fmla="*/ 2147483646 w 212"/>
              <a:gd name="T87" fmla="*/ 2147483646 h 210"/>
              <a:gd name="T88" fmla="*/ 2147483646 w 212"/>
              <a:gd name="T89" fmla="*/ 2147483646 h 210"/>
              <a:gd name="T90" fmla="*/ 2147483646 w 212"/>
              <a:gd name="T91" fmla="*/ 2147483646 h 210"/>
              <a:gd name="T92" fmla="*/ 2147483646 w 212"/>
              <a:gd name="T93" fmla="*/ 2147483646 h 21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12" h="210">
                <a:moveTo>
                  <a:pt x="52" y="51"/>
                </a:moveTo>
                <a:lnTo>
                  <a:pt x="52" y="64"/>
                </a:lnTo>
                <a:lnTo>
                  <a:pt x="66" y="83"/>
                </a:lnTo>
                <a:lnTo>
                  <a:pt x="59" y="98"/>
                </a:lnTo>
                <a:lnTo>
                  <a:pt x="46" y="107"/>
                </a:lnTo>
                <a:lnTo>
                  <a:pt x="40" y="101"/>
                </a:lnTo>
                <a:lnTo>
                  <a:pt x="30" y="100"/>
                </a:lnTo>
                <a:lnTo>
                  <a:pt x="23" y="106"/>
                </a:lnTo>
                <a:lnTo>
                  <a:pt x="18" y="114"/>
                </a:lnTo>
                <a:lnTo>
                  <a:pt x="9" y="119"/>
                </a:lnTo>
                <a:lnTo>
                  <a:pt x="0" y="126"/>
                </a:lnTo>
                <a:lnTo>
                  <a:pt x="2" y="130"/>
                </a:lnTo>
                <a:lnTo>
                  <a:pt x="4" y="133"/>
                </a:lnTo>
                <a:lnTo>
                  <a:pt x="7" y="136"/>
                </a:lnTo>
                <a:lnTo>
                  <a:pt x="11" y="140"/>
                </a:lnTo>
                <a:lnTo>
                  <a:pt x="14" y="144"/>
                </a:lnTo>
                <a:lnTo>
                  <a:pt x="18" y="148"/>
                </a:lnTo>
                <a:lnTo>
                  <a:pt x="15" y="152"/>
                </a:lnTo>
                <a:lnTo>
                  <a:pt x="11" y="156"/>
                </a:lnTo>
                <a:lnTo>
                  <a:pt x="7" y="160"/>
                </a:lnTo>
                <a:lnTo>
                  <a:pt x="2" y="162"/>
                </a:lnTo>
                <a:lnTo>
                  <a:pt x="1" y="164"/>
                </a:lnTo>
                <a:lnTo>
                  <a:pt x="1" y="167"/>
                </a:lnTo>
                <a:lnTo>
                  <a:pt x="4" y="172"/>
                </a:lnTo>
                <a:lnTo>
                  <a:pt x="7" y="178"/>
                </a:lnTo>
                <a:lnTo>
                  <a:pt x="8" y="184"/>
                </a:lnTo>
                <a:lnTo>
                  <a:pt x="11" y="187"/>
                </a:lnTo>
                <a:lnTo>
                  <a:pt x="15" y="188"/>
                </a:lnTo>
                <a:lnTo>
                  <a:pt x="18" y="190"/>
                </a:lnTo>
                <a:lnTo>
                  <a:pt x="19" y="187"/>
                </a:lnTo>
                <a:lnTo>
                  <a:pt x="26" y="188"/>
                </a:lnTo>
                <a:lnTo>
                  <a:pt x="28" y="190"/>
                </a:lnTo>
                <a:lnTo>
                  <a:pt x="31" y="192"/>
                </a:lnTo>
                <a:lnTo>
                  <a:pt x="33" y="192"/>
                </a:lnTo>
                <a:lnTo>
                  <a:pt x="35" y="192"/>
                </a:lnTo>
                <a:lnTo>
                  <a:pt x="37" y="193"/>
                </a:lnTo>
                <a:lnTo>
                  <a:pt x="40" y="192"/>
                </a:lnTo>
                <a:lnTo>
                  <a:pt x="43" y="191"/>
                </a:lnTo>
                <a:lnTo>
                  <a:pt x="44" y="192"/>
                </a:lnTo>
                <a:lnTo>
                  <a:pt x="44" y="195"/>
                </a:lnTo>
                <a:lnTo>
                  <a:pt x="49" y="197"/>
                </a:lnTo>
                <a:lnTo>
                  <a:pt x="52" y="200"/>
                </a:lnTo>
                <a:lnTo>
                  <a:pt x="55" y="204"/>
                </a:lnTo>
                <a:lnTo>
                  <a:pt x="55" y="206"/>
                </a:lnTo>
                <a:lnTo>
                  <a:pt x="57" y="210"/>
                </a:lnTo>
                <a:lnTo>
                  <a:pt x="60" y="209"/>
                </a:lnTo>
                <a:lnTo>
                  <a:pt x="63" y="208"/>
                </a:lnTo>
                <a:lnTo>
                  <a:pt x="68" y="207"/>
                </a:lnTo>
                <a:lnTo>
                  <a:pt x="70" y="209"/>
                </a:lnTo>
                <a:lnTo>
                  <a:pt x="74" y="210"/>
                </a:lnTo>
                <a:lnTo>
                  <a:pt x="75" y="207"/>
                </a:lnTo>
                <a:lnTo>
                  <a:pt x="77" y="207"/>
                </a:lnTo>
                <a:lnTo>
                  <a:pt x="79" y="208"/>
                </a:lnTo>
                <a:lnTo>
                  <a:pt x="83" y="208"/>
                </a:lnTo>
                <a:lnTo>
                  <a:pt x="86" y="210"/>
                </a:lnTo>
                <a:lnTo>
                  <a:pt x="86" y="204"/>
                </a:lnTo>
                <a:lnTo>
                  <a:pt x="86" y="199"/>
                </a:lnTo>
                <a:lnTo>
                  <a:pt x="93" y="192"/>
                </a:lnTo>
                <a:lnTo>
                  <a:pt x="108" y="188"/>
                </a:lnTo>
                <a:lnTo>
                  <a:pt x="128" y="197"/>
                </a:lnTo>
                <a:lnTo>
                  <a:pt x="128" y="205"/>
                </a:lnTo>
                <a:lnTo>
                  <a:pt x="132" y="205"/>
                </a:lnTo>
                <a:lnTo>
                  <a:pt x="131" y="204"/>
                </a:lnTo>
                <a:lnTo>
                  <a:pt x="134" y="202"/>
                </a:lnTo>
                <a:lnTo>
                  <a:pt x="138" y="198"/>
                </a:lnTo>
                <a:lnTo>
                  <a:pt x="141" y="197"/>
                </a:lnTo>
                <a:lnTo>
                  <a:pt x="142" y="196"/>
                </a:lnTo>
                <a:lnTo>
                  <a:pt x="144" y="197"/>
                </a:lnTo>
                <a:lnTo>
                  <a:pt x="144" y="196"/>
                </a:lnTo>
                <a:lnTo>
                  <a:pt x="146" y="195"/>
                </a:lnTo>
                <a:lnTo>
                  <a:pt x="148" y="195"/>
                </a:lnTo>
                <a:lnTo>
                  <a:pt x="149" y="195"/>
                </a:lnTo>
                <a:lnTo>
                  <a:pt x="152" y="195"/>
                </a:lnTo>
                <a:lnTo>
                  <a:pt x="152" y="196"/>
                </a:lnTo>
                <a:lnTo>
                  <a:pt x="155" y="197"/>
                </a:lnTo>
                <a:lnTo>
                  <a:pt x="156" y="197"/>
                </a:lnTo>
                <a:lnTo>
                  <a:pt x="158" y="195"/>
                </a:lnTo>
                <a:lnTo>
                  <a:pt x="161" y="196"/>
                </a:lnTo>
                <a:lnTo>
                  <a:pt x="165" y="195"/>
                </a:lnTo>
                <a:lnTo>
                  <a:pt x="166" y="195"/>
                </a:lnTo>
                <a:lnTo>
                  <a:pt x="167" y="195"/>
                </a:lnTo>
                <a:lnTo>
                  <a:pt x="168" y="195"/>
                </a:lnTo>
                <a:lnTo>
                  <a:pt x="173" y="195"/>
                </a:lnTo>
                <a:lnTo>
                  <a:pt x="176" y="196"/>
                </a:lnTo>
                <a:lnTo>
                  <a:pt x="176" y="198"/>
                </a:lnTo>
                <a:lnTo>
                  <a:pt x="178" y="199"/>
                </a:lnTo>
                <a:lnTo>
                  <a:pt x="180" y="199"/>
                </a:lnTo>
                <a:lnTo>
                  <a:pt x="182" y="199"/>
                </a:lnTo>
                <a:lnTo>
                  <a:pt x="185" y="199"/>
                </a:lnTo>
                <a:lnTo>
                  <a:pt x="186" y="198"/>
                </a:lnTo>
                <a:lnTo>
                  <a:pt x="189" y="198"/>
                </a:lnTo>
                <a:lnTo>
                  <a:pt x="189" y="196"/>
                </a:lnTo>
                <a:lnTo>
                  <a:pt x="193" y="198"/>
                </a:lnTo>
                <a:lnTo>
                  <a:pt x="196" y="198"/>
                </a:lnTo>
                <a:lnTo>
                  <a:pt x="196" y="199"/>
                </a:lnTo>
                <a:lnTo>
                  <a:pt x="204" y="201"/>
                </a:lnTo>
                <a:lnTo>
                  <a:pt x="207" y="197"/>
                </a:lnTo>
                <a:lnTo>
                  <a:pt x="208" y="185"/>
                </a:lnTo>
                <a:lnTo>
                  <a:pt x="209" y="160"/>
                </a:lnTo>
                <a:lnTo>
                  <a:pt x="210" y="136"/>
                </a:lnTo>
                <a:lnTo>
                  <a:pt x="212" y="131"/>
                </a:lnTo>
                <a:lnTo>
                  <a:pt x="212" y="130"/>
                </a:lnTo>
                <a:lnTo>
                  <a:pt x="210" y="130"/>
                </a:lnTo>
                <a:lnTo>
                  <a:pt x="210" y="126"/>
                </a:lnTo>
                <a:lnTo>
                  <a:pt x="209" y="122"/>
                </a:lnTo>
                <a:lnTo>
                  <a:pt x="207" y="117"/>
                </a:lnTo>
                <a:lnTo>
                  <a:pt x="195" y="117"/>
                </a:lnTo>
                <a:lnTo>
                  <a:pt x="201" y="102"/>
                </a:lnTo>
                <a:lnTo>
                  <a:pt x="195" y="100"/>
                </a:lnTo>
                <a:lnTo>
                  <a:pt x="191" y="95"/>
                </a:lnTo>
                <a:lnTo>
                  <a:pt x="182" y="82"/>
                </a:lnTo>
                <a:lnTo>
                  <a:pt x="181" y="78"/>
                </a:lnTo>
                <a:lnTo>
                  <a:pt x="169" y="66"/>
                </a:lnTo>
                <a:lnTo>
                  <a:pt x="157" y="54"/>
                </a:lnTo>
                <a:lnTo>
                  <a:pt x="156" y="53"/>
                </a:lnTo>
                <a:lnTo>
                  <a:pt x="144" y="42"/>
                </a:lnTo>
                <a:lnTo>
                  <a:pt x="132" y="30"/>
                </a:lnTo>
                <a:lnTo>
                  <a:pt x="126" y="30"/>
                </a:lnTo>
                <a:lnTo>
                  <a:pt x="119" y="31"/>
                </a:lnTo>
                <a:lnTo>
                  <a:pt x="111" y="35"/>
                </a:lnTo>
                <a:lnTo>
                  <a:pt x="108" y="30"/>
                </a:lnTo>
                <a:lnTo>
                  <a:pt x="106" y="27"/>
                </a:lnTo>
                <a:lnTo>
                  <a:pt x="104" y="22"/>
                </a:lnTo>
                <a:lnTo>
                  <a:pt x="99" y="21"/>
                </a:lnTo>
                <a:lnTo>
                  <a:pt x="98" y="18"/>
                </a:lnTo>
                <a:lnTo>
                  <a:pt x="94" y="15"/>
                </a:lnTo>
                <a:lnTo>
                  <a:pt x="93" y="11"/>
                </a:lnTo>
                <a:lnTo>
                  <a:pt x="88" y="3"/>
                </a:lnTo>
                <a:lnTo>
                  <a:pt x="83" y="2"/>
                </a:lnTo>
                <a:lnTo>
                  <a:pt x="78" y="1"/>
                </a:lnTo>
                <a:lnTo>
                  <a:pt x="74" y="0"/>
                </a:lnTo>
                <a:lnTo>
                  <a:pt x="70" y="3"/>
                </a:lnTo>
                <a:lnTo>
                  <a:pt x="68" y="6"/>
                </a:lnTo>
                <a:lnTo>
                  <a:pt x="63" y="9"/>
                </a:lnTo>
                <a:lnTo>
                  <a:pt x="59" y="14"/>
                </a:lnTo>
                <a:lnTo>
                  <a:pt x="55" y="19"/>
                </a:lnTo>
                <a:lnTo>
                  <a:pt x="52" y="31"/>
                </a:lnTo>
                <a:lnTo>
                  <a:pt x="51" y="36"/>
                </a:lnTo>
                <a:lnTo>
                  <a:pt x="47" y="43"/>
                </a:lnTo>
                <a:lnTo>
                  <a:pt x="41" y="41"/>
                </a:lnTo>
                <a:lnTo>
                  <a:pt x="39" y="46"/>
                </a:lnTo>
                <a:lnTo>
                  <a:pt x="52" y="5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5" name="Freeform 103"/>
          <p:cNvSpPr>
            <a:spLocks/>
          </p:cNvSpPr>
          <p:nvPr/>
        </p:nvSpPr>
        <p:spPr bwMode="auto">
          <a:xfrm>
            <a:off x="5157788" y="2166938"/>
            <a:ext cx="728662" cy="665162"/>
          </a:xfrm>
          <a:custGeom>
            <a:avLst/>
            <a:gdLst>
              <a:gd name="T0" fmla="*/ 2147483646 w 233"/>
              <a:gd name="T1" fmla="*/ 2147483646 h 231"/>
              <a:gd name="T2" fmla="*/ 2147483646 w 233"/>
              <a:gd name="T3" fmla="*/ 2147483646 h 231"/>
              <a:gd name="T4" fmla="*/ 2147483646 w 233"/>
              <a:gd name="T5" fmla="*/ 2147483646 h 231"/>
              <a:gd name="T6" fmla="*/ 2147483646 w 233"/>
              <a:gd name="T7" fmla="*/ 2147483646 h 231"/>
              <a:gd name="T8" fmla="*/ 2147483646 w 233"/>
              <a:gd name="T9" fmla="*/ 2147483646 h 231"/>
              <a:gd name="T10" fmla="*/ 2147483646 w 233"/>
              <a:gd name="T11" fmla="*/ 2147483646 h 231"/>
              <a:gd name="T12" fmla="*/ 2147483646 w 233"/>
              <a:gd name="T13" fmla="*/ 2147483646 h 231"/>
              <a:gd name="T14" fmla="*/ 2147483646 w 233"/>
              <a:gd name="T15" fmla="*/ 2147483646 h 231"/>
              <a:gd name="T16" fmla="*/ 2147483646 w 233"/>
              <a:gd name="T17" fmla="*/ 2147483646 h 231"/>
              <a:gd name="T18" fmla="*/ 2147483646 w 233"/>
              <a:gd name="T19" fmla="*/ 2147483646 h 231"/>
              <a:gd name="T20" fmla="*/ 2147483646 w 233"/>
              <a:gd name="T21" fmla="*/ 2147483646 h 231"/>
              <a:gd name="T22" fmla="*/ 2147483646 w 233"/>
              <a:gd name="T23" fmla="*/ 2147483646 h 231"/>
              <a:gd name="T24" fmla="*/ 2147483646 w 233"/>
              <a:gd name="T25" fmla="*/ 2147483646 h 231"/>
              <a:gd name="T26" fmla="*/ 2147483646 w 233"/>
              <a:gd name="T27" fmla="*/ 2147483646 h 231"/>
              <a:gd name="T28" fmla="*/ 2147483646 w 233"/>
              <a:gd name="T29" fmla="*/ 2147483646 h 231"/>
              <a:gd name="T30" fmla="*/ 2147483646 w 233"/>
              <a:gd name="T31" fmla="*/ 2147483646 h 231"/>
              <a:gd name="T32" fmla="*/ 2147483646 w 233"/>
              <a:gd name="T33" fmla="*/ 2147483646 h 231"/>
              <a:gd name="T34" fmla="*/ 2147483646 w 233"/>
              <a:gd name="T35" fmla="*/ 2147483646 h 231"/>
              <a:gd name="T36" fmla="*/ 2147483646 w 233"/>
              <a:gd name="T37" fmla="*/ 2147483646 h 231"/>
              <a:gd name="T38" fmla="*/ 2147483646 w 233"/>
              <a:gd name="T39" fmla="*/ 2147483646 h 231"/>
              <a:gd name="T40" fmla="*/ 2147483646 w 233"/>
              <a:gd name="T41" fmla="*/ 2147483646 h 231"/>
              <a:gd name="T42" fmla="*/ 2147483646 w 233"/>
              <a:gd name="T43" fmla="*/ 2147483646 h 231"/>
              <a:gd name="T44" fmla="*/ 2147483646 w 233"/>
              <a:gd name="T45" fmla="*/ 2147483646 h 231"/>
              <a:gd name="T46" fmla="*/ 2147483646 w 233"/>
              <a:gd name="T47" fmla="*/ 2147483646 h 231"/>
              <a:gd name="T48" fmla="*/ 2147483646 w 233"/>
              <a:gd name="T49" fmla="*/ 0 h 231"/>
              <a:gd name="T50" fmla="*/ 2147483646 w 233"/>
              <a:gd name="T51" fmla="*/ 2147483646 h 231"/>
              <a:gd name="T52" fmla="*/ 2147483646 w 233"/>
              <a:gd name="T53" fmla="*/ 2147483646 h 231"/>
              <a:gd name="T54" fmla="*/ 2147483646 w 233"/>
              <a:gd name="T55" fmla="*/ 2147483646 h 231"/>
              <a:gd name="T56" fmla="*/ 2147483646 w 233"/>
              <a:gd name="T57" fmla="*/ 2147483646 h 231"/>
              <a:gd name="T58" fmla="*/ 2147483646 w 233"/>
              <a:gd name="T59" fmla="*/ 2147483646 h 231"/>
              <a:gd name="T60" fmla="*/ 2147483646 w 233"/>
              <a:gd name="T61" fmla="*/ 2147483646 h 231"/>
              <a:gd name="T62" fmla="*/ 2147483646 w 233"/>
              <a:gd name="T63" fmla="*/ 2147483646 h 231"/>
              <a:gd name="T64" fmla="*/ 2147483646 w 233"/>
              <a:gd name="T65" fmla="*/ 2147483646 h 231"/>
              <a:gd name="T66" fmla="*/ 2147483646 w 233"/>
              <a:gd name="T67" fmla="*/ 2147483646 h 231"/>
              <a:gd name="T68" fmla="*/ 2147483646 w 233"/>
              <a:gd name="T69" fmla="*/ 2147483646 h 231"/>
              <a:gd name="T70" fmla="*/ 2147483646 w 233"/>
              <a:gd name="T71" fmla="*/ 2147483646 h 231"/>
              <a:gd name="T72" fmla="*/ 2147483646 w 233"/>
              <a:gd name="T73" fmla="*/ 2147483646 h 231"/>
              <a:gd name="T74" fmla="*/ 2147483646 w 233"/>
              <a:gd name="T75" fmla="*/ 2147483646 h 231"/>
              <a:gd name="T76" fmla="*/ 2147483646 w 233"/>
              <a:gd name="T77" fmla="*/ 2147483646 h 231"/>
              <a:gd name="T78" fmla="*/ 2147483646 w 233"/>
              <a:gd name="T79" fmla="*/ 2147483646 h 231"/>
              <a:gd name="T80" fmla="*/ 2147483646 w 233"/>
              <a:gd name="T81" fmla="*/ 2147483646 h 231"/>
              <a:gd name="T82" fmla="*/ 2147483646 w 233"/>
              <a:gd name="T83" fmla="*/ 2147483646 h 231"/>
              <a:gd name="T84" fmla="*/ 2147483646 w 233"/>
              <a:gd name="T85" fmla="*/ 2147483646 h 231"/>
              <a:gd name="T86" fmla="*/ 2147483646 w 233"/>
              <a:gd name="T87" fmla="*/ 2147483646 h 231"/>
              <a:gd name="T88" fmla="*/ 2147483646 w 233"/>
              <a:gd name="T89" fmla="*/ 2147483646 h 231"/>
              <a:gd name="T90" fmla="*/ 2147483646 w 233"/>
              <a:gd name="T91" fmla="*/ 2147483646 h 231"/>
              <a:gd name="T92" fmla="*/ 2147483646 w 233"/>
              <a:gd name="T93" fmla="*/ 2147483646 h 231"/>
              <a:gd name="T94" fmla="*/ 2147483646 w 233"/>
              <a:gd name="T95" fmla="*/ 2147483646 h 231"/>
              <a:gd name="T96" fmla="*/ 2147483646 w 233"/>
              <a:gd name="T97" fmla="*/ 2147483646 h 231"/>
              <a:gd name="T98" fmla="*/ 2147483646 w 233"/>
              <a:gd name="T99" fmla="*/ 2147483646 h 231"/>
              <a:gd name="T100" fmla="*/ 2147483646 w 233"/>
              <a:gd name="T101" fmla="*/ 2147483646 h 231"/>
              <a:gd name="T102" fmla="*/ 2147483646 w 233"/>
              <a:gd name="T103" fmla="*/ 2147483646 h 231"/>
              <a:gd name="T104" fmla="*/ 2147483646 w 233"/>
              <a:gd name="T105" fmla="*/ 2147483646 h 231"/>
              <a:gd name="T106" fmla="*/ 2147483646 w 233"/>
              <a:gd name="T107" fmla="*/ 2147483646 h 231"/>
              <a:gd name="T108" fmla="*/ 2147483646 w 233"/>
              <a:gd name="T109" fmla="*/ 2147483646 h 231"/>
              <a:gd name="T110" fmla="*/ 2147483646 w 233"/>
              <a:gd name="T111" fmla="*/ 2147483646 h 231"/>
              <a:gd name="T112" fmla="*/ 2147483646 w 233"/>
              <a:gd name="T113" fmla="*/ 2147483646 h 231"/>
              <a:gd name="T114" fmla="*/ 2147483646 w 233"/>
              <a:gd name="T115" fmla="*/ 2147483646 h 231"/>
              <a:gd name="T116" fmla="*/ 2147483646 w 233"/>
              <a:gd name="T117" fmla="*/ 2147483646 h 231"/>
              <a:gd name="T118" fmla="*/ 2147483646 w 233"/>
              <a:gd name="T119" fmla="*/ 2147483646 h 231"/>
              <a:gd name="T120" fmla="*/ 2147483646 w 233"/>
              <a:gd name="T121" fmla="*/ 2147483646 h 23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33" h="231">
                <a:moveTo>
                  <a:pt x="232" y="165"/>
                </a:moveTo>
                <a:lnTo>
                  <a:pt x="231" y="163"/>
                </a:lnTo>
                <a:lnTo>
                  <a:pt x="229" y="147"/>
                </a:lnTo>
                <a:lnTo>
                  <a:pt x="228" y="138"/>
                </a:lnTo>
                <a:lnTo>
                  <a:pt x="228" y="130"/>
                </a:lnTo>
                <a:lnTo>
                  <a:pt x="228" y="126"/>
                </a:lnTo>
                <a:lnTo>
                  <a:pt x="224" y="123"/>
                </a:lnTo>
                <a:lnTo>
                  <a:pt x="225" y="122"/>
                </a:lnTo>
                <a:lnTo>
                  <a:pt x="223" y="121"/>
                </a:lnTo>
                <a:lnTo>
                  <a:pt x="223" y="116"/>
                </a:lnTo>
                <a:lnTo>
                  <a:pt x="225" y="113"/>
                </a:lnTo>
                <a:lnTo>
                  <a:pt x="225" y="110"/>
                </a:lnTo>
                <a:lnTo>
                  <a:pt x="226" y="108"/>
                </a:lnTo>
                <a:lnTo>
                  <a:pt x="226" y="106"/>
                </a:lnTo>
                <a:lnTo>
                  <a:pt x="228" y="103"/>
                </a:lnTo>
                <a:lnTo>
                  <a:pt x="229" y="103"/>
                </a:lnTo>
                <a:lnTo>
                  <a:pt x="230" y="99"/>
                </a:lnTo>
                <a:lnTo>
                  <a:pt x="230" y="97"/>
                </a:lnTo>
                <a:lnTo>
                  <a:pt x="230" y="96"/>
                </a:lnTo>
                <a:lnTo>
                  <a:pt x="231" y="94"/>
                </a:lnTo>
                <a:lnTo>
                  <a:pt x="230" y="89"/>
                </a:lnTo>
                <a:lnTo>
                  <a:pt x="229" y="85"/>
                </a:lnTo>
                <a:lnTo>
                  <a:pt x="229" y="82"/>
                </a:lnTo>
                <a:lnTo>
                  <a:pt x="228" y="82"/>
                </a:lnTo>
                <a:lnTo>
                  <a:pt x="226" y="82"/>
                </a:lnTo>
                <a:lnTo>
                  <a:pt x="218" y="78"/>
                </a:lnTo>
                <a:lnTo>
                  <a:pt x="217" y="79"/>
                </a:lnTo>
                <a:lnTo>
                  <a:pt x="215" y="79"/>
                </a:lnTo>
                <a:lnTo>
                  <a:pt x="208" y="77"/>
                </a:lnTo>
                <a:lnTo>
                  <a:pt x="206" y="76"/>
                </a:lnTo>
                <a:lnTo>
                  <a:pt x="203" y="74"/>
                </a:lnTo>
                <a:lnTo>
                  <a:pt x="200" y="71"/>
                </a:lnTo>
                <a:lnTo>
                  <a:pt x="201" y="67"/>
                </a:lnTo>
                <a:lnTo>
                  <a:pt x="200" y="62"/>
                </a:lnTo>
                <a:lnTo>
                  <a:pt x="200" y="60"/>
                </a:lnTo>
                <a:lnTo>
                  <a:pt x="201" y="60"/>
                </a:lnTo>
                <a:lnTo>
                  <a:pt x="204" y="57"/>
                </a:lnTo>
                <a:lnTo>
                  <a:pt x="203" y="56"/>
                </a:lnTo>
                <a:lnTo>
                  <a:pt x="200" y="57"/>
                </a:lnTo>
                <a:lnTo>
                  <a:pt x="199" y="59"/>
                </a:lnTo>
                <a:lnTo>
                  <a:pt x="193" y="59"/>
                </a:lnTo>
                <a:lnTo>
                  <a:pt x="189" y="58"/>
                </a:lnTo>
                <a:lnTo>
                  <a:pt x="187" y="58"/>
                </a:lnTo>
                <a:lnTo>
                  <a:pt x="185" y="57"/>
                </a:lnTo>
                <a:lnTo>
                  <a:pt x="184" y="56"/>
                </a:lnTo>
                <a:lnTo>
                  <a:pt x="182" y="55"/>
                </a:lnTo>
                <a:lnTo>
                  <a:pt x="179" y="54"/>
                </a:lnTo>
                <a:lnTo>
                  <a:pt x="178" y="54"/>
                </a:lnTo>
                <a:lnTo>
                  <a:pt x="168" y="50"/>
                </a:lnTo>
                <a:lnTo>
                  <a:pt x="168" y="48"/>
                </a:lnTo>
                <a:lnTo>
                  <a:pt x="168" y="47"/>
                </a:lnTo>
                <a:lnTo>
                  <a:pt x="160" y="41"/>
                </a:lnTo>
                <a:lnTo>
                  <a:pt x="160" y="40"/>
                </a:lnTo>
                <a:lnTo>
                  <a:pt x="160" y="38"/>
                </a:lnTo>
                <a:lnTo>
                  <a:pt x="160" y="36"/>
                </a:lnTo>
                <a:lnTo>
                  <a:pt x="160" y="34"/>
                </a:lnTo>
                <a:lnTo>
                  <a:pt x="159" y="34"/>
                </a:lnTo>
                <a:lnTo>
                  <a:pt x="159" y="33"/>
                </a:lnTo>
                <a:lnTo>
                  <a:pt x="158" y="28"/>
                </a:lnTo>
                <a:lnTo>
                  <a:pt x="158" y="27"/>
                </a:lnTo>
                <a:lnTo>
                  <a:pt x="157" y="27"/>
                </a:lnTo>
                <a:lnTo>
                  <a:pt x="157" y="25"/>
                </a:lnTo>
                <a:lnTo>
                  <a:pt x="155" y="22"/>
                </a:lnTo>
                <a:lnTo>
                  <a:pt x="155" y="20"/>
                </a:lnTo>
                <a:lnTo>
                  <a:pt x="155" y="15"/>
                </a:lnTo>
                <a:lnTo>
                  <a:pt x="156" y="10"/>
                </a:lnTo>
                <a:lnTo>
                  <a:pt x="149" y="5"/>
                </a:lnTo>
                <a:lnTo>
                  <a:pt x="146" y="4"/>
                </a:lnTo>
                <a:lnTo>
                  <a:pt x="145" y="3"/>
                </a:lnTo>
                <a:lnTo>
                  <a:pt x="141" y="1"/>
                </a:lnTo>
                <a:lnTo>
                  <a:pt x="137" y="4"/>
                </a:lnTo>
                <a:lnTo>
                  <a:pt x="129" y="0"/>
                </a:lnTo>
                <a:lnTo>
                  <a:pt x="126" y="0"/>
                </a:lnTo>
                <a:lnTo>
                  <a:pt x="115" y="2"/>
                </a:lnTo>
                <a:lnTo>
                  <a:pt x="103" y="5"/>
                </a:lnTo>
                <a:lnTo>
                  <a:pt x="100" y="7"/>
                </a:lnTo>
                <a:lnTo>
                  <a:pt x="94" y="11"/>
                </a:lnTo>
                <a:lnTo>
                  <a:pt x="88" y="13"/>
                </a:lnTo>
                <a:lnTo>
                  <a:pt x="83" y="14"/>
                </a:lnTo>
                <a:lnTo>
                  <a:pt x="77" y="15"/>
                </a:lnTo>
                <a:lnTo>
                  <a:pt x="66" y="16"/>
                </a:lnTo>
                <a:lnTo>
                  <a:pt x="63" y="17"/>
                </a:lnTo>
                <a:lnTo>
                  <a:pt x="55" y="19"/>
                </a:lnTo>
                <a:lnTo>
                  <a:pt x="53" y="19"/>
                </a:lnTo>
                <a:lnTo>
                  <a:pt x="48" y="19"/>
                </a:lnTo>
                <a:lnTo>
                  <a:pt x="40" y="23"/>
                </a:lnTo>
                <a:lnTo>
                  <a:pt x="32" y="28"/>
                </a:lnTo>
                <a:lnTo>
                  <a:pt x="30" y="26"/>
                </a:lnTo>
                <a:lnTo>
                  <a:pt x="20" y="21"/>
                </a:lnTo>
                <a:lnTo>
                  <a:pt x="9" y="24"/>
                </a:lnTo>
                <a:lnTo>
                  <a:pt x="9" y="23"/>
                </a:lnTo>
                <a:lnTo>
                  <a:pt x="9" y="24"/>
                </a:lnTo>
                <a:lnTo>
                  <a:pt x="8" y="23"/>
                </a:lnTo>
                <a:lnTo>
                  <a:pt x="6" y="22"/>
                </a:lnTo>
                <a:lnTo>
                  <a:pt x="5" y="22"/>
                </a:lnTo>
                <a:lnTo>
                  <a:pt x="1" y="32"/>
                </a:lnTo>
                <a:lnTo>
                  <a:pt x="0" y="37"/>
                </a:lnTo>
                <a:lnTo>
                  <a:pt x="2" y="43"/>
                </a:lnTo>
                <a:lnTo>
                  <a:pt x="7" y="45"/>
                </a:lnTo>
                <a:lnTo>
                  <a:pt x="12" y="47"/>
                </a:lnTo>
                <a:lnTo>
                  <a:pt x="17" y="49"/>
                </a:lnTo>
                <a:lnTo>
                  <a:pt x="23" y="50"/>
                </a:lnTo>
                <a:lnTo>
                  <a:pt x="26" y="52"/>
                </a:lnTo>
                <a:lnTo>
                  <a:pt x="26" y="62"/>
                </a:lnTo>
                <a:lnTo>
                  <a:pt x="28" y="64"/>
                </a:lnTo>
                <a:lnTo>
                  <a:pt x="24" y="67"/>
                </a:lnTo>
                <a:lnTo>
                  <a:pt x="23" y="70"/>
                </a:lnTo>
                <a:lnTo>
                  <a:pt x="20" y="70"/>
                </a:lnTo>
                <a:lnTo>
                  <a:pt x="19" y="74"/>
                </a:lnTo>
                <a:lnTo>
                  <a:pt x="19" y="77"/>
                </a:lnTo>
                <a:lnTo>
                  <a:pt x="17" y="80"/>
                </a:lnTo>
                <a:lnTo>
                  <a:pt x="16" y="82"/>
                </a:lnTo>
                <a:lnTo>
                  <a:pt x="15" y="86"/>
                </a:lnTo>
                <a:lnTo>
                  <a:pt x="11" y="89"/>
                </a:lnTo>
                <a:lnTo>
                  <a:pt x="12" y="92"/>
                </a:lnTo>
                <a:lnTo>
                  <a:pt x="14" y="95"/>
                </a:lnTo>
                <a:lnTo>
                  <a:pt x="14" y="99"/>
                </a:lnTo>
                <a:lnTo>
                  <a:pt x="11" y="102"/>
                </a:lnTo>
                <a:lnTo>
                  <a:pt x="7" y="105"/>
                </a:lnTo>
                <a:lnTo>
                  <a:pt x="6" y="109"/>
                </a:lnTo>
                <a:lnTo>
                  <a:pt x="4" y="113"/>
                </a:lnTo>
                <a:lnTo>
                  <a:pt x="3" y="118"/>
                </a:lnTo>
                <a:lnTo>
                  <a:pt x="3" y="126"/>
                </a:lnTo>
                <a:lnTo>
                  <a:pt x="8" y="133"/>
                </a:lnTo>
                <a:lnTo>
                  <a:pt x="22" y="134"/>
                </a:lnTo>
                <a:lnTo>
                  <a:pt x="26" y="136"/>
                </a:lnTo>
                <a:lnTo>
                  <a:pt x="30" y="140"/>
                </a:lnTo>
                <a:lnTo>
                  <a:pt x="34" y="141"/>
                </a:lnTo>
                <a:lnTo>
                  <a:pt x="40" y="143"/>
                </a:lnTo>
                <a:lnTo>
                  <a:pt x="44" y="136"/>
                </a:lnTo>
                <a:lnTo>
                  <a:pt x="45" y="131"/>
                </a:lnTo>
                <a:lnTo>
                  <a:pt x="48" y="119"/>
                </a:lnTo>
                <a:lnTo>
                  <a:pt x="52" y="114"/>
                </a:lnTo>
                <a:lnTo>
                  <a:pt x="56" y="109"/>
                </a:lnTo>
                <a:lnTo>
                  <a:pt x="61" y="106"/>
                </a:lnTo>
                <a:lnTo>
                  <a:pt x="63" y="103"/>
                </a:lnTo>
                <a:lnTo>
                  <a:pt x="67" y="100"/>
                </a:lnTo>
                <a:lnTo>
                  <a:pt x="71" y="101"/>
                </a:lnTo>
                <a:lnTo>
                  <a:pt x="76" y="102"/>
                </a:lnTo>
                <a:lnTo>
                  <a:pt x="81" y="103"/>
                </a:lnTo>
                <a:lnTo>
                  <a:pt x="86" y="111"/>
                </a:lnTo>
                <a:lnTo>
                  <a:pt x="87" y="115"/>
                </a:lnTo>
                <a:lnTo>
                  <a:pt x="91" y="118"/>
                </a:lnTo>
                <a:lnTo>
                  <a:pt x="92" y="121"/>
                </a:lnTo>
                <a:lnTo>
                  <a:pt x="97" y="122"/>
                </a:lnTo>
                <a:lnTo>
                  <a:pt x="99" y="127"/>
                </a:lnTo>
                <a:lnTo>
                  <a:pt x="101" y="130"/>
                </a:lnTo>
                <a:lnTo>
                  <a:pt x="104" y="135"/>
                </a:lnTo>
                <a:lnTo>
                  <a:pt x="112" y="131"/>
                </a:lnTo>
                <a:lnTo>
                  <a:pt x="119" y="130"/>
                </a:lnTo>
                <a:lnTo>
                  <a:pt x="125" y="130"/>
                </a:lnTo>
                <a:lnTo>
                  <a:pt x="137" y="142"/>
                </a:lnTo>
                <a:lnTo>
                  <a:pt x="149" y="153"/>
                </a:lnTo>
                <a:lnTo>
                  <a:pt x="150" y="154"/>
                </a:lnTo>
                <a:lnTo>
                  <a:pt x="162" y="166"/>
                </a:lnTo>
                <a:lnTo>
                  <a:pt x="174" y="178"/>
                </a:lnTo>
                <a:lnTo>
                  <a:pt x="175" y="182"/>
                </a:lnTo>
                <a:lnTo>
                  <a:pt x="184" y="195"/>
                </a:lnTo>
                <a:lnTo>
                  <a:pt x="188" y="200"/>
                </a:lnTo>
                <a:lnTo>
                  <a:pt x="194" y="202"/>
                </a:lnTo>
                <a:lnTo>
                  <a:pt x="188" y="217"/>
                </a:lnTo>
                <a:lnTo>
                  <a:pt x="200" y="217"/>
                </a:lnTo>
                <a:lnTo>
                  <a:pt x="202" y="222"/>
                </a:lnTo>
                <a:lnTo>
                  <a:pt x="203" y="226"/>
                </a:lnTo>
                <a:lnTo>
                  <a:pt x="203" y="230"/>
                </a:lnTo>
                <a:lnTo>
                  <a:pt x="205" y="230"/>
                </a:lnTo>
                <a:lnTo>
                  <a:pt x="205" y="231"/>
                </a:lnTo>
                <a:lnTo>
                  <a:pt x="207" y="226"/>
                </a:lnTo>
                <a:lnTo>
                  <a:pt x="206" y="224"/>
                </a:lnTo>
                <a:lnTo>
                  <a:pt x="211" y="216"/>
                </a:lnTo>
                <a:lnTo>
                  <a:pt x="219" y="202"/>
                </a:lnTo>
                <a:lnTo>
                  <a:pt x="224" y="192"/>
                </a:lnTo>
                <a:lnTo>
                  <a:pt x="227" y="184"/>
                </a:lnTo>
                <a:lnTo>
                  <a:pt x="228" y="178"/>
                </a:lnTo>
                <a:lnTo>
                  <a:pt x="232" y="170"/>
                </a:lnTo>
                <a:lnTo>
                  <a:pt x="233" y="167"/>
                </a:lnTo>
                <a:lnTo>
                  <a:pt x="232" y="165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6" name="Freeform 104"/>
          <p:cNvSpPr>
            <a:spLocks/>
          </p:cNvSpPr>
          <p:nvPr/>
        </p:nvSpPr>
        <p:spPr bwMode="auto">
          <a:xfrm>
            <a:off x="5613400" y="1976438"/>
            <a:ext cx="41275" cy="31750"/>
          </a:xfrm>
          <a:custGeom>
            <a:avLst/>
            <a:gdLst>
              <a:gd name="T0" fmla="*/ 2147483646 w 13"/>
              <a:gd name="T1" fmla="*/ 2147483646 h 11"/>
              <a:gd name="T2" fmla="*/ 2147483646 w 13"/>
              <a:gd name="T3" fmla="*/ 2147483646 h 11"/>
              <a:gd name="T4" fmla="*/ 2147483646 w 13"/>
              <a:gd name="T5" fmla="*/ 2147483646 h 11"/>
              <a:gd name="T6" fmla="*/ 2147483646 w 13"/>
              <a:gd name="T7" fmla="*/ 2147483646 h 11"/>
              <a:gd name="T8" fmla="*/ 2147483646 w 13"/>
              <a:gd name="T9" fmla="*/ 2147483646 h 11"/>
              <a:gd name="T10" fmla="*/ 2147483646 w 13"/>
              <a:gd name="T11" fmla="*/ 2147483646 h 11"/>
              <a:gd name="T12" fmla="*/ 2147483646 w 13"/>
              <a:gd name="T13" fmla="*/ 0 h 11"/>
              <a:gd name="T14" fmla="*/ 2147483646 w 13"/>
              <a:gd name="T15" fmla="*/ 0 h 11"/>
              <a:gd name="T16" fmla="*/ 2147483646 w 13"/>
              <a:gd name="T17" fmla="*/ 2147483646 h 11"/>
              <a:gd name="T18" fmla="*/ 0 w 13"/>
              <a:gd name="T19" fmla="*/ 2147483646 h 11"/>
              <a:gd name="T20" fmla="*/ 2147483646 w 13"/>
              <a:gd name="T21" fmla="*/ 2147483646 h 11"/>
              <a:gd name="T22" fmla="*/ 2147483646 w 13"/>
              <a:gd name="T23" fmla="*/ 2147483646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3" h="11">
                <a:moveTo>
                  <a:pt x="3" y="9"/>
                </a:moveTo>
                <a:lnTo>
                  <a:pt x="5" y="11"/>
                </a:lnTo>
                <a:lnTo>
                  <a:pt x="8" y="11"/>
                </a:lnTo>
                <a:lnTo>
                  <a:pt x="10" y="8"/>
                </a:lnTo>
                <a:lnTo>
                  <a:pt x="13" y="6"/>
                </a:lnTo>
                <a:lnTo>
                  <a:pt x="12" y="4"/>
                </a:lnTo>
                <a:lnTo>
                  <a:pt x="6" y="0"/>
                </a:lnTo>
                <a:lnTo>
                  <a:pt x="4" y="0"/>
                </a:lnTo>
                <a:lnTo>
                  <a:pt x="3" y="3"/>
                </a:lnTo>
                <a:lnTo>
                  <a:pt x="0" y="5"/>
                </a:lnTo>
                <a:lnTo>
                  <a:pt x="1" y="7"/>
                </a:lnTo>
                <a:lnTo>
                  <a:pt x="3" y="9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7" name="Freeform 105"/>
          <p:cNvSpPr>
            <a:spLocks/>
          </p:cNvSpPr>
          <p:nvPr/>
        </p:nvSpPr>
        <p:spPr bwMode="auto">
          <a:xfrm>
            <a:off x="5616575" y="2032000"/>
            <a:ext cx="14288" cy="7938"/>
          </a:xfrm>
          <a:custGeom>
            <a:avLst/>
            <a:gdLst>
              <a:gd name="T0" fmla="*/ 0 w 4"/>
              <a:gd name="T1" fmla="*/ 2147483646 h 3"/>
              <a:gd name="T2" fmla="*/ 2147483646 w 4"/>
              <a:gd name="T3" fmla="*/ 2147483646 h 3"/>
              <a:gd name="T4" fmla="*/ 2147483646 w 4"/>
              <a:gd name="T5" fmla="*/ 2147483646 h 3"/>
              <a:gd name="T6" fmla="*/ 2147483646 w 4"/>
              <a:gd name="T7" fmla="*/ 2147483646 h 3"/>
              <a:gd name="T8" fmla="*/ 2147483646 w 4"/>
              <a:gd name="T9" fmla="*/ 2147483646 h 3"/>
              <a:gd name="T10" fmla="*/ 2147483646 w 4"/>
              <a:gd name="T11" fmla="*/ 0 h 3"/>
              <a:gd name="T12" fmla="*/ 2147483646 w 4"/>
              <a:gd name="T13" fmla="*/ 0 h 3"/>
              <a:gd name="T14" fmla="*/ 0 w 4"/>
              <a:gd name="T15" fmla="*/ 2147483646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4" y="3"/>
                </a:lnTo>
                <a:lnTo>
                  <a:pt x="4" y="0"/>
                </a:lnTo>
                <a:lnTo>
                  <a:pt x="3" y="0"/>
                </a:lnTo>
                <a:lnTo>
                  <a:pt x="0" y="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8" name="Freeform 106"/>
          <p:cNvSpPr>
            <a:spLocks/>
          </p:cNvSpPr>
          <p:nvPr/>
        </p:nvSpPr>
        <p:spPr bwMode="auto">
          <a:xfrm>
            <a:off x="5489575" y="2011363"/>
            <a:ext cx="107950" cy="69850"/>
          </a:xfrm>
          <a:custGeom>
            <a:avLst/>
            <a:gdLst>
              <a:gd name="T0" fmla="*/ 2147483646 w 35"/>
              <a:gd name="T1" fmla="*/ 2147483646 h 24"/>
              <a:gd name="T2" fmla="*/ 2147483646 w 35"/>
              <a:gd name="T3" fmla="*/ 2147483646 h 24"/>
              <a:gd name="T4" fmla="*/ 2147483646 w 35"/>
              <a:gd name="T5" fmla="*/ 2147483646 h 24"/>
              <a:gd name="T6" fmla="*/ 2147483646 w 35"/>
              <a:gd name="T7" fmla="*/ 2147483646 h 24"/>
              <a:gd name="T8" fmla="*/ 2147483646 w 35"/>
              <a:gd name="T9" fmla="*/ 2147483646 h 24"/>
              <a:gd name="T10" fmla="*/ 2147483646 w 35"/>
              <a:gd name="T11" fmla="*/ 2147483646 h 24"/>
              <a:gd name="T12" fmla="*/ 2147483646 w 35"/>
              <a:gd name="T13" fmla="*/ 2147483646 h 24"/>
              <a:gd name="T14" fmla="*/ 2147483646 w 35"/>
              <a:gd name="T15" fmla="*/ 2147483646 h 24"/>
              <a:gd name="T16" fmla="*/ 2147483646 w 35"/>
              <a:gd name="T17" fmla="*/ 2147483646 h 24"/>
              <a:gd name="T18" fmla="*/ 2147483646 w 35"/>
              <a:gd name="T19" fmla="*/ 2147483646 h 24"/>
              <a:gd name="T20" fmla="*/ 2147483646 w 35"/>
              <a:gd name="T21" fmla="*/ 2147483646 h 24"/>
              <a:gd name="T22" fmla="*/ 2147483646 w 35"/>
              <a:gd name="T23" fmla="*/ 2147483646 h 24"/>
              <a:gd name="T24" fmla="*/ 2147483646 w 35"/>
              <a:gd name="T25" fmla="*/ 2147483646 h 24"/>
              <a:gd name="T26" fmla="*/ 2147483646 w 35"/>
              <a:gd name="T27" fmla="*/ 2147483646 h 24"/>
              <a:gd name="T28" fmla="*/ 2147483646 w 35"/>
              <a:gd name="T29" fmla="*/ 2147483646 h 24"/>
              <a:gd name="T30" fmla="*/ 2147483646 w 35"/>
              <a:gd name="T31" fmla="*/ 2147483646 h 24"/>
              <a:gd name="T32" fmla="*/ 2147483646 w 35"/>
              <a:gd name="T33" fmla="*/ 2147483646 h 24"/>
              <a:gd name="T34" fmla="*/ 2147483646 w 35"/>
              <a:gd name="T35" fmla="*/ 2147483646 h 24"/>
              <a:gd name="T36" fmla="*/ 2147483646 w 35"/>
              <a:gd name="T37" fmla="*/ 2147483646 h 24"/>
              <a:gd name="T38" fmla="*/ 2147483646 w 35"/>
              <a:gd name="T39" fmla="*/ 2147483646 h 24"/>
              <a:gd name="T40" fmla="*/ 2147483646 w 35"/>
              <a:gd name="T41" fmla="*/ 2147483646 h 24"/>
              <a:gd name="T42" fmla="*/ 2147483646 w 35"/>
              <a:gd name="T43" fmla="*/ 2147483646 h 24"/>
              <a:gd name="T44" fmla="*/ 2147483646 w 35"/>
              <a:gd name="T45" fmla="*/ 0 h 24"/>
              <a:gd name="T46" fmla="*/ 2147483646 w 35"/>
              <a:gd name="T47" fmla="*/ 2147483646 h 24"/>
              <a:gd name="T48" fmla="*/ 2147483646 w 35"/>
              <a:gd name="T49" fmla="*/ 2147483646 h 24"/>
              <a:gd name="T50" fmla="*/ 2147483646 w 35"/>
              <a:gd name="T51" fmla="*/ 2147483646 h 24"/>
              <a:gd name="T52" fmla="*/ 0 w 35"/>
              <a:gd name="T53" fmla="*/ 2147483646 h 24"/>
              <a:gd name="T54" fmla="*/ 0 w 35"/>
              <a:gd name="T55" fmla="*/ 2147483646 h 24"/>
              <a:gd name="T56" fmla="*/ 0 w 35"/>
              <a:gd name="T57" fmla="*/ 2147483646 h 24"/>
              <a:gd name="T58" fmla="*/ 2147483646 w 35"/>
              <a:gd name="T59" fmla="*/ 2147483646 h 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35" h="24">
                <a:moveTo>
                  <a:pt x="2" y="17"/>
                </a:moveTo>
                <a:lnTo>
                  <a:pt x="8" y="21"/>
                </a:lnTo>
                <a:lnTo>
                  <a:pt x="16" y="21"/>
                </a:lnTo>
                <a:lnTo>
                  <a:pt x="18" y="21"/>
                </a:lnTo>
                <a:lnTo>
                  <a:pt x="20" y="24"/>
                </a:lnTo>
                <a:lnTo>
                  <a:pt x="23" y="23"/>
                </a:lnTo>
                <a:lnTo>
                  <a:pt x="23" y="22"/>
                </a:lnTo>
                <a:lnTo>
                  <a:pt x="23" y="21"/>
                </a:lnTo>
                <a:lnTo>
                  <a:pt x="21" y="19"/>
                </a:lnTo>
                <a:lnTo>
                  <a:pt x="20" y="19"/>
                </a:lnTo>
                <a:lnTo>
                  <a:pt x="19" y="17"/>
                </a:lnTo>
                <a:lnTo>
                  <a:pt x="17" y="15"/>
                </a:lnTo>
                <a:lnTo>
                  <a:pt x="14" y="14"/>
                </a:lnTo>
                <a:lnTo>
                  <a:pt x="16" y="13"/>
                </a:lnTo>
                <a:lnTo>
                  <a:pt x="18" y="13"/>
                </a:lnTo>
                <a:lnTo>
                  <a:pt x="21" y="11"/>
                </a:lnTo>
                <a:lnTo>
                  <a:pt x="24" y="9"/>
                </a:lnTo>
                <a:lnTo>
                  <a:pt x="31" y="9"/>
                </a:lnTo>
                <a:lnTo>
                  <a:pt x="35" y="8"/>
                </a:lnTo>
                <a:lnTo>
                  <a:pt x="35" y="7"/>
                </a:lnTo>
                <a:lnTo>
                  <a:pt x="32" y="6"/>
                </a:lnTo>
                <a:lnTo>
                  <a:pt x="27" y="4"/>
                </a:lnTo>
                <a:lnTo>
                  <a:pt x="19" y="0"/>
                </a:lnTo>
                <a:lnTo>
                  <a:pt x="17" y="1"/>
                </a:lnTo>
                <a:lnTo>
                  <a:pt x="11" y="5"/>
                </a:lnTo>
                <a:lnTo>
                  <a:pt x="2" y="9"/>
                </a:lnTo>
                <a:lnTo>
                  <a:pt x="0" y="10"/>
                </a:lnTo>
                <a:lnTo>
                  <a:pt x="0" y="13"/>
                </a:lnTo>
                <a:lnTo>
                  <a:pt x="0" y="14"/>
                </a:lnTo>
                <a:lnTo>
                  <a:pt x="2" y="1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29" name="Freeform 107"/>
          <p:cNvSpPr>
            <a:spLocks/>
          </p:cNvSpPr>
          <p:nvPr/>
        </p:nvSpPr>
        <p:spPr bwMode="auto">
          <a:xfrm>
            <a:off x="5430838" y="2082800"/>
            <a:ext cx="26987" cy="15875"/>
          </a:xfrm>
          <a:custGeom>
            <a:avLst/>
            <a:gdLst>
              <a:gd name="T0" fmla="*/ 2147483646 w 9"/>
              <a:gd name="T1" fmla="*/ 2147483646 h 5"/>
              <a:gd name="T2" fmla="*/ 2147483646 w 9"/>
              <a:gd name="T3" fmla="*/ 2147483646 h 5"/>
              <a:gd name="T4" fmla="*/ 2147483646 w 9"/>
              <a:gd name="T5" fmla="*/ 2147483646 h 5"/>
              <a:gd name="T6" fmla="*/ 2147483646 w 9"/>
              <a:gd name="T7" fmla="*/ 2147483646 h 5"/>
              <a:gd name="T8" fmla="*/ 2147483646 w 9"/>
              <a:gd name="T9" fmla="*/ 2147483646 h 5"/>
              <a:gd name="T10" fmla="*/ 2147483646 w 9"/>
              <a:gd name="T11" fmla="*/ 2147483646 h 5"/>
              <a:gd name="T12" fmla="*/ 2147483646 w 9"/>
              <a:gd name="T13" fmla="*/ 2147483646 h 5"/>
              <a:gd name="T14" fmla="*/ 2147483646 w 9"/>
              <a:gd name="T15" fmla="*/ 2147483646 h 5"/>
              <a:gd name="T16" fmla="*/ 2147483646 w 9"/>
              <a:gd name="T17" fmla="*/ 2147483646 h 5"/>
              <a:gd name="T18" fmla="*/ 2147483646 w 9"/>
              <a:gd name="T19" fmla="*/ 2147483646 h 5"/>
              <a:gd name="T20" fmla="*/ 2147483646 w 9"/>
              <a:gd name="T21" fmla="*/ 2147483646 h 5"/>
              <a:gd name="T22" fmla="*/ 2147483646 w 9"/>
              <a:gd name="T23" fmla="*/ 0 h 5"/>
              <a:gd name="T24" fmla="*/ 2147483646 w 9"/>
              <a:gd name="T25" fmla="*/ 0 h 5"/>
              <a:gd name="T26" fmla="*/ 2147483646 w 9"/>
              <a:gd name="T27" fmla="*/ 0 h 5"/>
              <a:gd name="T28" fmla="*/ 0 w 9"/>
              <a:gd name="T29" fmla="*/ 0 h 5"/>
              <a:gd name="T30" fmla="*/ 0 w 9"/>
              <a:gd name="T31" fmla="*/ 2147483646 h 5"/>
              <a:gd name="T32" fmla="*/ 0 w 9"/>
              <a:gd name="T33" fmla="*/ 2147483646 h 5"/>
              <a:gd name="T34" fmla="*/ 2147483646 w 9"/>
              <a:gd name="T35" fmla="*/ 2147483646 h 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9" h="5">
                <a:moveTo>
                  <a:pt x="2" y="3"/>
                </a:moveTo>
                <a:lnTo>
                  <a:pt x="2" y="3"/>
                </a:lnTo>
                <a:lnTo>
                  <a:pt x="1" y="4"/>
                </a:lnTo>
                <a:lnTo>
                  <a:pt x="2" y="5"/>
                </a:lnTo>
                <a:lnTo>
                  <a:pt x="3" y="5"/>
                </a:lnTo>
                <a:lnTo>
                  <a:pt x="5" y="5"/>
                </a:lnTo>
                <a:lnTo>
                  <a:pt x="5" y="4"/>
                </a:lnTo>
                <a:lnTo>
                  <a:pt x="4" y="4"/>
                </a:lnTo>
                <a:lnTo>
                  <a:pt x="4" y="3"/>
                </a:lnTo>
                <a:lnTo>
                  <a:pt x="5" y="3"/>
                </a:lnTo>
                <a:lnTo>
                  <a:pt x="6" y="1"/>
                </a:lnTo>
                <a:lnTo>
                  <a:pt x="9" y="0"/>
                </a:lnTo>
                <a:lnTo>
                  <a:pt x="7" y="0"/>
                </a:ln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0" name="Freeform 108"/>
          <p:cNvSpPr>
            <a:spLocks/>
          </p:cNvSpPr>
          <p:nvPr/>
        </p:nvSpPr>
        <p:spPr bwMode="auto">
          <a:xfrm>
            <a:off x="5127625" y="2128838"/>
            <a:ext cx="146050" cy="65087"/>
          </a:xfrm>
          <a:custGeom>
            <a:avLst/>
            <a:gdLst>
              <a:gd name="T0" fmla="*/ 2147483646 w 47"/>
              <a:gd name="T1" fmla="*/ 2147483646 h 22"/>
              <a:gd name="T2" fmla="*/ 2147483646 w 47"/>
              <a:gd name="T3" fmla="*/ 2147483646 h 22"/>
              <a:gd name="T4" fmla="*/ 2147483646 w 47"/>
              <a:gd name="T5" fmla="*/ 2147483646 h 22"/>
              <a:gd name="T6" fmla="*/ 2147483646 w 47"/>
              <a:gd name="T7" fmla="*/ 2147483646 h 22"/>
              <a:gd name="T8" fmla="*/ 2147483646 w 47"/>
              <a:gd name="T9" fmla="*/ 2147483646 h 22"/>
              <a:gd name="T10" fmla="*/ 2147483646 w 47"/>
              <a:gd name="T11" fmla="*/ 2147483646 h 22"/>
              <a:gd name="T12" fmla="*/ 2147483646 w 47"/>
              <a:gd name="T13" fmla="*/ 2147483646 h 22"/>
              <a:gd name="T14" fmla="*/ 2147483646 w 47"/>
              <a:gd name="T15" fmla="*/ 2147483646 h 22"/>
              <a:gd name="T16" fmla="*/ 2147483646 w 47"/>
              <a:gd name="T17" fmla="*/ 2147483646 h 22"/>
              <a:gd name="T18" fmla="*/ 2147483646 w 47"/>
              <a:gd name="T19" fmla="*/ 2147483646 h 22"/>
              <a:gd name="T20" fmla="*/ 2147483646 w 47"/>
              <a:gd name="T21" fmla="*/ 2147483646 h 22"/>
              <a:gd name="T22" fmla="*/ 2147483646 w 47"/>
              <a:gd name="T23" fmla="*/ 2147483646 h 22"/>
              <a:gd name="T24" fmla="*/ 2147483646 w 47"/>
              <a:gd name="T25" fmla="*/ 2147483646 h 22"/>
              <a:gd name="T26" fmla="*/ 2147483646 w 47"/>
              <a:gd name="T27" fmla="*/ 2147483646 h 22"/>
              <a:gd name="T28" fmla="*/ 2147483646 w 47"/>
              <a:gd name="T29" fmla="*/ 2147483646 h 22"/>
              <a:gd name="T30" fmla="*/ 2147483646 w 47"/>
              <a:gd name="T31" fmla="*/ 2147483646 h 22"/>
              <a:gd name="T32" fmla="*/ 2147483646 w 47"/>
              <a:gd name="T33" fmla="*/ 2147483646 h 22"/>
              <a:gd name="T34" fmla="*/ 2147483646 w 47"/>
              <a:gd name="T35" fmla="*/ 2147483646 h 22"/>
              <a:gd name="T36" fmla="*/ 2147483646 w 47"/>
              <a:gd name="T37" fmla="*/ 2147483646 h 22"/>
              <a:gd name="T38" fmla="*/ 2147483646 w 47"/>
              <a:gd name="T39" fmla="*/ 2147483646 h 22"/>
              <a:gd name="T40" fmla="*/ 2147483646 w 47"/>
              <a:gd name="T41" fmla="*/ 2147483646 h 22"/>
              <a:gd name="T42" fmla="*/ 2147483646 w 47"/>
              <a:gd name="T43" fmla="*/ 2147483646 h 22"/>
              <a:gd name="T44" fmla="*/ 2147483646 w 47"/>
              <a:gd name="T45" fmla="*/ 2147483646 h 22"/>
              <a:gd name="T46" fmla="*/ 2147483646 w 47"/>
              <a:gd name="T47" fmla="*/ 0 h 22"/>
              <a:gd name="T48" fmla="*/ 2147483646 w 47"/>
              <a:gd name="T49" fmla="*/ 0 h 22"/>
              <a:gd name="T50" fmla="*/ 2147483646 w 47"/>
              <a:gd name="T51" fmla="*/ 2147483646 h 22"/>
              <a:gd name="T52" fmla="*/ 2147483646 w 47"/>
              <a:gd name="T53" fmla="*/ 2147483646 h 22"/>
              <a:gd name="T54" fmla="*/ 2147483646 w 47"/>
              <a:gd name="T55" fmla="*/ 2147483646 h 22"/>
              <a:gd name="T56" fmla="*/ 0 w 47"/>
              <a:gd name="T57" fmla="*/ 2147483646 h 22"/>
              <a:gd name="T58" fmla="*/ 2147483646 w 47"/>
              <a:gd name="T59" fmla="*/ 2147483646 h 22"/>
              <a:gd name="T60" fmla="*/ 2147483646 w 47"/>
              <a:gd name="T61" fmla="*/ 2147483646 h 2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7" h="22">
                <a:moveTo>
                  <a:pt x="3" y="16"/>
                </a:moveTo>
                <a:lnTo>
                  <a:pt x="3" y="17"/>
                </a:lnTo>
                <a:lnTo>
                  <a:pt x="2" y="20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5" y="20"/>
                </a:lnTo>
                <a:lnTo>
                  <a:pt x="6" y="17"/>
                </a:lnTo>
                <a:lnTo>
                  <a:pt x="8" y="16"/>
                </a:lnTo>
                <a:lnTo>
                  <a:pt x="9" y="14"/>
                </a:lnTo>
                <a:lnTo>
                  <a:pt x="10" y="14"/>
                </a:lnTo>
                <a:lnTo>
                  <a:pt x="18" y="13"/>
                </a:lnTo>
                <a:lnTo>
                  <a:pt x="28" y="12"/>
                </a:lnTo>
                <a:lnTo>
                  <a:pt x="32" y="10"/>
                </a:lnTo>
                <a:lnTo>
                  <a:pt x="33" y="9"/>
                </a:lnTo>
                <a:lnTo>
                  <a:pt x="34" y="7"/>
                </a:lnTo>
                <a:lnTo>
                  <a:pt x="40" y="6"/>
                </a:lnTo>
                <a:lnTo>
                  <a:pt x="41" y="5"/>
                </a:lnTo>
                <a:lnTo>
                  <a:pt x="44" y="4"/>
                </a:lnTo>
                <a:lnTo>
                  <a:pt x="45" y="3"/>
                </a:lnTo>
                <a:lnTo>
                  <a:pt x="47" y="2"/>
                </a:lnTo>
                <a:lnTo>
                  <a:pt x="47" y="1"/>
                </a:lnTo>
                <a:lnTo>
                  <a:pt x="43" y="0"/>
                </a:lnTo>
                <a:lnTo>
                  <a:pt x="37" y="0"/>
                </a:lnTo>
                <a:lnTo>
                  <a:pt x="7" y="5"/>
                </a:lnTo>
                <a:lnTo>
                  <a:pt x="3" y="8"/>
                </a:lnTo>
                <a:lnTo>
                  <a:pt x="1" y="13"/>
                </a:lnTo>
                <a:lnTo>
                  <a:pt x="0" y="16"/>
                </a:lnTo>
                <a:lnTo>
                  <a:pt x="1" y="17"/>
                </a:lnTo>
                <a:lnTo>
                  <a:pt x="3" y="1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1" name="Freeform 109"/>
          <p:cNvSpPr>
            <a:spLocks/>
          </p:cNvSpPr>
          <p:nvPr/>
        </p:nvSpPr>
        <p:spPr bwMode="auto">
          <a:xfrm>
            <a:off x="4754563" y="3940175"/>
            <a:ext cx="474662" cy="1077913"/>
          </a:xfrm>
          <a:custGeom>
            <a:avLst/>
            <a:gdLst>
              <a:gd name="T0" fmla="*/ 2147483646 w 152"/>
              <a:gd name="T1" fmla="*/ 2147483646 h 374"/>
              <a:gd name="T2" fmla="*/ 2147483646 w 152"/>
              <a:gd name="T3" fmla="*/ 2147483646 h 374"/>
              <a:gd name="T4" fmla="*/ 2147483646 w 152"/>
              <a:gd name="T5" fmla="*/ 2147483646 h 374"/>
              <a:gd name="T6" fmla="*/ 2147483646 w 152"/>
              <a:gd name="T7" fmla="*/ 2147483646 h 374"/>
              <a:gd name="T8" fmla="*/ 2147483646 w 152"/>
              <a:gd name="T9" fmla="*/ 2147483646 h 374"/>
              <a:gd name="T10" fmla="*/ 2147483646 w 152"/>
              <a:gd name="T11" fmla="*/ 2147483646 h 374"/>
              <a:gd name="T12" fmla="*/ 2147483646 w 152"/>
              <a:gd name="T13" fmla="*/ 2147483646 h 374"/>
              <a:gd name="T14" fmla="*/ 2147483646 w 152"/>
              <a:gd name="T15" fmla="*/ 2147483646 h 374"/>
              <a:gd name="T16" fmla="*/ 2147483646 w 152"/>
              <a:gd name="T17" fmla="*/ 2147483646 h 374"/>
              <a:gd name="T18" fmla="*/ 2147483646 w 152"/>
              <a:gd name="T19" fmla="*/ 2147483646 h 374"/>
              <a:gd name="T20" fmla="*/ 2147483646 w 152"/>
              <a:gd name="T21" fmla="*/ 2147483646 h 374"/>
              <a:gd name="T22" fmla="*/ 2147483646 w 152"/>
              <a:gd name="T23" fmla="*/ 2147483646 h 374"/>
              <a:gd name="T24" fmla="*/ 2147483646 w 152"/>
              <a:gd name="T25" fmla="*/ 2147483646 h 374"/>
              <a:gd name="T26" fmla="*/ 2147483646 w 152"/>
              <a:gd name="T27" fmla="*/ 2147483646 h 374"/>
              <a:gd name="T28" fmla="*/ 2147483646 w 152"/>
              <a:gd name="T29" fmla="*/ 2147483646 h 374"/>
              <a:gd name="T30" fmla="*/ 2147483646 w 152"/>
              <a:gd name="T31" fmla="*/ 2147483646 h 374"/>
              <a:gd name="T32" fmla="*/ 2147483646 w 152"/>
              <a:gd name="T33" fmla="*/ 2147483646 h 374"/>
              <a:gd name="T34" fmla="*/ 2147483646 w 152"/>
              <a:gd name="T35" fmla="*/ 2147483646 h 374"/>
              <a:gd name="T36" fmla="*/ 2147483646 w 152"/>
              <a:gd name="T37" fmla="*/ 2147483646 h 374"/>
              <a:gd name="T38" fmla="*/ 2147483646 w 152"/>
              <a:gd name="T39" fmla="*/ 2147483646 h 374"/>
              <a:gd name="T40" fmla="*/ 2147483646 w 152"/>
              <a:gd name="T41" fmla="*/ 2147483646 h 374"/>
              <a:gd name="T42" fmla="*/ 2147483646 w 152"/>
              <a:gd name="T43" fmla="*/ 2147483646 h 374"/>
              <a:gd name="T44" fmla="*/ 2147483646 w 152"/>
              <a:gd name="T45" fmla="*/ 2147483646 h 374"/>
              <a:gd name="T46" fmla="*/ 2147483646 w 152"/>
              <a:gd name="T47" fmla="*/ 2147483646 h 374"/>
              <a:gd name="T48" fmla="*/ 2147483646 w 152"/>
              <a:gd name="T49" fmla="*/ 2147483646 h 374"/>
              <a:gd name="T50" fmla="*/ 2147483646 w 152"/>
              <a:gd name="T51" fmla="*/ 2147483646 h 374"/>
              <a:gd name="T52" fmla="*/ 2147483646 w 152"/>
              <a:gd name="T53" fmla="*/ 2147483646 h 374"/>
              <a:gd name="T54" fmla="*/ 2147483646 w 152"/>
              <a:gd name="T55" fmla="*/ 2147483646 h 374"/>
              <a:gd name="T56" fmla="*/ 2147483646 w 152"/>
              <a:gd name="T57" fmla="*/ 2147483646 h 374"/>
              <a:gd name="T58" fmla="*/ 2147483646 w 152"/>
              <a:gd name="T59" fmla="*/ 2147483646 h 374"/>
              <a:gd name="T60" fmla="*/ 2147483646 w 152"/>
              <a:gd name="T61" fmla="*/ 2147483646 h 374"/>
              <a:gd name="T62" fmla="*/ 2147483646 w 152"/>
              <a:gd name="T63" fmla="*/ 2147483646 h 374"/>
              <a:gd name="T64" fmla="*/ 2147483646 w 152"/>
              <a:gd name="T65" fmla="*/ 2147483646 h 374"/>
              <a:gd name="T66" fmla="*/ 2147483646 w 152"/>
              <a:gd name="T67" fmla="*/ 2147483646 h 374"/>
              <a:gd name="T68" fmla="*/ 2147483646 w 152"/>
              <a:gd name="T69" fmla="*/ 2147483646 h 374"/>
              <a:gd name="T70" fmla="*/ 2147483646 w 152"/>
              <a:gd name="T71" fmla="*/ 2147483646 h 374"/>
              <a:gd name="T72" fmla="*/ 2147483646 w 152"/>
              <a:gd name="T73" fmla="*/ 2147483646 h 374"/>
              <a:gd name="T74" fmla="*/ 2147483646 w 152"/>
              <a:gd name="T75" fmla="*/ 2147483646 h 374"/>
              <a:gd name="T76" fmla="*/ 2147483646 w 152"/>
              <a:gd name="T77" fmla="*/ 2147483646 h 374"/>
              <a:gd name="T78" fmla="*/ 2147483646 w 152"/>
              <a:gd name="T79" fmla="*/ 2147483646 h 374"/>
              <a:gd name="T80" fmla="*/ 2147483646 w 152"/>
              <a:gd name="T81" fmla="*/ 2147483646 h 374"/>
              <a:gd name="T82" fmla="*/ 2147483646 w 152"/>
              <a:gd name="T83" fmla="*/ 2147483646 h 374"/>
              <a:gd name="T84" fmla="*/ 2147483646 w 152"/>
              <a:gd name="T85" fmla="*/ 2147483646 h 374"/>
              <a:gd name="T86" fmla="*/ 2147483646 w 152"/>
              <a:gd name="T87" fmla="*/ 2147483646 h 374"/>
              <a:gd name="T88" fmla="*/ 2147483646 w 152"/>
              <a:gd name="T89" fmla="*/ 2147483646 h 374"/>
              <a:gd name="T90" fmla="*/ 2147483646 w 152"/>
              <a:gd name="T91" fmla="*/ 2147483646 h 374"/>
              <a:gd name="T92" fmla="*/ 2147483646 w 152"/>
              <a:gd name="T93" fmla="*/ 2147483646 h 374"/>
              <a:gd name="T94" fmla="*/ 2147483646 w 152"/>
              <a:gd name="T95" fmla="*/ 2147483646 h 374"/>
              <a:gd name="T96" fmla="*/ 2147483646 w 152"/>
              <a:gd name="T97" fmla="*/ 2147483646 h 374"/>
              <a:gd name="T98" fmla="*/ 2147483646 w 152"/>
              <a:gd name="T99" fmla="*/ 2147483646 h 374"/>
              <a:gd name="T100" fmla="*/ 2147483646 w 152"/>
              <a:gd name="T101" fmla="*/ 2147483646 h 374"/>
              <a:gd name="T102" fmla="*/ 2147483646 w 152"/>
              <a:gd name="T103" fmla="*/ 2147483646 h 374"/>
              <a:gd name="T104" fmla="*/ 2147483646 w 152"/>
              <a:gd name="T105" fmla="*/ 2147483646 h 374"/>
              <a:gd name="T106" fmla="*/ 2147483646 w 152"/>
              <a:gd name="T107" fmla="*/ 2147483646 h 374"/>
              <a:gd name="T108" fmla="*/ 2147483646 w 152"/>
              <a:gd name="T109" fmla="*/ 2147483646 h 374"/>
              <a:gd name="T110" fmla="*/ 2147483646 w 152"/>
              <a:gd name="T111" fmla="*/ 2147483646 h 37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52" h="374">
                <a:moveTo>
                  <a:pt x="86" y="13"/>
                </a:moveTo>
                <a:lnTo>
                  <a:pt x="85" y="13"/>
                </a:lnTo>
                <a:lnTo>
                  <a:pt x="82" y="13"/>
                </a:lnTo>
                <a:lnTo>
                  <a:pt x="82" y="12"/>
                </a:lnTo>
                <a:lnTo>
                  <a:pt x="81" y="10"/>
                </a:lnTo>
                <a:lnTo>
                  <a:pt x="78" y="10"/>
                </a:lnTo>
                <a:lnTo>
                  <a:pt x="78" y="7"/>
                </a:lnTo>
                <a:lnTo>
                  <a:pt x="77" y="6"/>
                </a:lnTo>
                <a:lnTo>
                  <a:pt x="74" y="1"/>
                </a:lnTo>
                <a:lnTo>
                  <a:pt x="72" y="0"/>
                </a:lnTo>
                <a:lnTo>
                  <a:pt x="70" y="1"/>
                </a:lnTo>
                <a:lnTo>
                  <a:pt x="67" y="1"/>
                </a:lnTo>
                <a:lnTo>
                  <a:pt x="67" y="3"/>
                </a:lnTo>
                <a:lnTo>
                  <a:pt x="68" y="5"/>
                </a:lnTo>
                <a:lnTo>
                  <a:pt x="68" y="6"/>
                </a:lnTo>
                <a:lnTo>
                  <a:pt x="67" y="8"/>
                </a:lnTo>
                <a:lnTo>
                  <a:pt x="70" y="9"/>
                </a:lnTo>
                <a:lnTo>
                  <a:pt x="71" y="14"/>
                </a:lnTo>
                <a:lnTo>
                  <a:pt x="73" y="20"/>
                </a:lnTo>
                <a:lnTo>
                  <a:pt x="76" y="22"/>
                </a:lnTo>
                <a:lnTo>
                  <a:pt x="81" y="23"/>
                </a:lnTo>
                <a:lnTo>
                  <a:pt x="86" y="24"/>
                </a:lnTo>
                <a:lnTo>
                  <a:pt x="89" y="27"/>
                </a:lnTo>
                <a:lnTo>
                  <a:pt x="89" y="35"/>
                </a:lnTo>
                <a:lnTo>
                  <a:pt x="88" y="39"/>
                </a:lnTo>
                <a:lnTo>
                  <a:pt x="92" y="40"/>
                </a:lnTo>
                <a:lnTo>
                  <a:pt x="91" y="47"/>
                </a:lnTo>
                <a:lnTo>
                  <a:pt x="97" y="52"/>
                </a:lnTo>
                <a:lnTo>
                  <a:pt x="102" y="58"/>
                </a:lnTo>
                <a:lnTo>
                  <a:pt x="106" y="70"/>
                </a:lnTo>
                <a:lnTo>
                  <a:pt x="108" y="78"/>
                </a:lnTo>
                <a:lnTo>
                  <a:pt x="106" y="78"/>
                </a:lnTo>
                <a:lnTo>
                  <a:pt x="103" y="80"/>
                </a:lnTo>
                <a:lnTo>
                  <a:pt x="100" y="76"/>
                </a:lnTo>
                <a:lnTo>
                  <a:pt x="97" y="74"/>
                </a:lnTo>
                <a:lnTo>
                  <a:pt x="85" y="79"/>
                </a:lnTo>
                <a:lnTo>
                  <a:pt x="75" y="81"/>
                </a:lnTo>
                <a:lnTo>
                  <a:pt x="70" y="78"/>
                </a:lnTo>
                <a:lnTo>
                  <a:pt x="60" y="76"/>
                </a:lnTo>
                <a:lnTo>
                  <a:pt x="63" y="98"/>
                </a:lnTo>
                <a:lnTo>
                  <a:pt x="66" y="104"/>
                </a:lnTo>
                <a:lnTo>
                  <a:pt x="69" y="120"/>
                </a:lnTo>
                <a:lnTo>
                  <a:pt x="82" y="140"/>
                </a:lnTo>
                <a:lnTo>
                  <a:pt x="69" y="152"/>
                </a:lnTo>
                <a:lnTo>
                  <a:pt x="41" y="160"/>
                </a:lnTo>
                <a:lnTo>
                  <a:pt x="26" y="168"/>
                </a:lnTo>
                <a:lnTo>
                  <a:pt x="16" y="183"/>
                </a:lnTo>
                <a:lnTo>
                  <a:pt x="15" y="198"/>
                </a:lnTo>
                <a:lnTo>
                  <a:pt x="7" y="200"/>
                </a:lnTo>
                <a:lnTo>
                  <a:pt x="3" y="201"/>
                </a:lnTo>
                <a:lnTo>
                  <a:pt x="0" y="201"/>
                </a:lnTo>
                <a:lnTo>
                  <a:pt x="0" y="203"/>
                </a:lnTo>
                <a:lnTo>
                  <a:pt x="2" y="203"/>
                </a:lnTo>
                <a:lnTo>
                  <a:pt x="19" y="211"/>
                </a:lnTo>
                <a:lnTo>
                  <a:pt x="21" y="212"/>
                </a:lnTo>
                <a:lnTo>
                  <a:pt x="22" y="213"/>
                </a:lnTo>
                <a:lnTo>
                  <a:pt x="21" y="213"/>
                </a:lnTo>
                <a:lnTo>
                  <a:pt x="22" y="216"/>
                </a:lnTo>
                <a:lnTo>
                  <a:pt x="22" y="217"/>
                </a:lnTo>
                <a:lnTo>
                  <a:pt x="24" y="216"/>
                </a:lnTo>
                <a:lnTo>
                  <a:pt x="26" y="216"/>
                </a:lnTo>
                <a:lnTo>
                  <a:pt x="27" y="217"/>
                </a:lnTo>
                <a:lnTo>
                  <a:pt x="29" y="216"/>
                </a:lnTo>
                <a:lnTo>
                  <a:pt x="31" y="217"/>
                </a:lnTo>
                <a:lnTo>
                  <a:pt x="32" y="217"/>
                </a:lnTo>
                <a:lnTo>
                  <a:pt x="34" y="217"/>
                </a:lnTo>
                <a:lnTo>
                  <a:pt x="34" y="218"/>
                </a:lnTo>
                <a:lnTo>
                  <a:pt x="35" y="217"/>
                </a:lnTo>
                <a:lnTo>
                  <a:pt x="41" y="216"/>
                </a:lnTo>
                <a:lnTo>
                  <a:pt x="42" y="215"/>
                </a:lnTo>
                <a:lnTo>
                  <a:pt x="47" y="217"/>
                </a:lnTo>
                <a:lnTo>
                  <a:pt x="49" y="218"/>
                </a:lnTo>
                <a:lnTo>
                  <a:pt x="49" y="220"/>
                </a:lnTo>
                <a:lnTo>
                  <a:pt x="50" y="221"/>
                </a:lnTo>
                <a:lnTo>
                  <a:pt x="48" y="222"/>
                </a:lnTo>
                <a:lnTo>
                  <a:pt x="48" y="223"/>
                </a:lnTo>
                <a:lnTo>
                  <a:pt x="50" y="223"/>
                </a:lnTo>
                <a:lnTo>
                  <a:pt x="50" y="224"/>
                </a:lnTo>
                <a:lnTo>
                  <a:pt x="50" y="225"/>
                </a:lnTo>
                <a:lnTo>
                  <a:pt x="49" y="227"/>
                </a:lnTo>
                <a:lnTo>
                  <a:pt x="50" y="228"/>
                </a:lnTo>
                <a:lnTo>
                  <a:pt x="51" y="228"/>
                </a:lnTo>
                <a:lnTo>
                  <a:pt x="53" y="226"/>
                </a:lnTo>
                <a:lnTo>
                  <a:pt x="55" y="226"/>
                </a:lnTo>
                <a:lnTo>
                  <a:pt x="56" y="224"/>
                </a:lnTo>
                <a:lnTo>
                  <a:pt x="59" y="225"/>
                </a:lnTo>
                <a:lnTo>
                  <a:pt x="60" y="222"/>
                </a:lnTo>
                <a:lnTo>
                  <a:pt x="61" y="223"/>
                </a:lnTo>
                <a:lnTo>
                  <a:pt x="63" y="225"/>
                </a:lnTo>
                <a:lnTo>
                  <a:pt x="63" y="226"/>
                </a:lnTo>
                <a:lnTo>
                  <a:pt x="63" y="228"/>
                </a:lnTo>
                <a:lnTo>
                  <a:pt x="67" y="230"/>
                </a:lnTo>
                <a:lnTo>
                  <a:pt x="67" y="231"/>
                </a:lnTo>
                <a:lnTo>
                  <a:pt x="66" y="233"/>
                </a:lnTo>
                <a:lnTo>
                  <a:pt x="64" y="236"/>
                </a:lnTo>
                <a:lnTo>
                  <a:pt x="61" y="237"/>
                </a:lnTo>
                <a:lnTo>
                  <a:pt x="59" y="238"/>
                </a:lnTo>
                <a:lnTo>
                  <a:pt x="58" y="240"/>
                </a:lnTo>
                <a:lnTo>
                  <a:pt x="57" y="242"/>
                </a:lnTo>
                <a:lnTo>
                  <a:pt x="57" y="244"/>
                </a:lnTo>
                <a:lnTo>
                  <a:pt x="62" y="245"/>
                </a:lnTo>
                <a:lnTo>
                  <a:pt x="63" y="247"/>
                </a:lnTo>
                <a:lnTo>
                  <a:pt x="62" y="249"/>
                </a:lnTo>
                <a:lnTo>
                  <a:pt x="60" y="250"/>
                </a:lnTo>
                <a:lnTo>
                  <a:pt x="58" y="249"/>
                </a:lnTo>
                <a:lnTo>
                  <a:pt x="57" y="249"/>
                </a:lnTo>
                <a:lnTo>
                  <a:pt x="55" y="249"/>
                </a:lnTo>
                <a:lnTo>
                  <a:pt x="54" y="251"/>
                </a:lnTo>
                <a:lnTo>
                  <a:pt x="56" y="254"/>
                </a:lnTo>
                <a:lnTo>
                  <a:pt x="56" y="255"/>
                </a:lnTo>
                <a:lnTo>
                  <a:pt x="55" y="256"/>
                </a:lnTo>
                <a:lnTo>
                  <a:pt x="54" y="257"/>
                </a:lnTo>
                <a:lnTo>
                  <a:pt x="55" y="260"/>
                </a:lnTo>
                <a:lnTo>
                  <a:pt x="55" y="262"/>
                </a:lnTo>
                <a:lnTo>
                  <a:pt x="53" y="262"/>
                </a:lnTo>
                <a:lnTo>
                  <a:pt x="50" y="261"/>
                </a:lnTo>
                <a:lnTo>
                  <a:pt x="49" y="261"/>
                </a:lnTo>
                <a:lnTo>
                  <a:pt x="48" y="266"/>
                </a:lnTo>
                <a:lnTo>
                  <a:pt x="45" y="271"/>
                </a:lnTo>
                <a:lnTo>
                  <a:pt x="46" y="272"/>
                </a:lnTo>
                <a:lnTo>
                  <a:pt x="49" y="274"/>
                </a:lnTo>
                <a:lnTo>
                  <a:pt x="49" y="276"/>
                </a:lnTo>
                <a:lnTo>
                  <a:pt x="48" y="280"/>
                </a:lnTo>
                <a:lnTo>
                  <a:pt x="48" y="283"/>
                </a:lnTo>
                <a:lnTo>
                  <a:pt x="47" y="285"/>
                </a:lnTo>
                <a:lnTo>
                  <a:pt x="44" y="290"/>
                </a:lnTo>
                <a:lnTo>
                  <a:pt x="41" y="291"/>
                </a:lnTo>
                <a:lnTo>
                  <a:pt x="40" y="294"/>
                </a:lnTo>
                <a:lnTo>
                  <a:pt x="37" y="297"/>
                </a:lnTo>
                <a:lnTo>
                  <a:pt x="37" y="299"/>
                </a:lnTo>
                <a:lnTo>
                  <a:pt x="39" y="300"/>
                </a:lnTo>
                <a:lnTo>
                  <a:pt x="40" y="299"/>
                </a:lnTo>
                <a:lnTo>
                  <a:pt x="42" y="298"/>
                </a:lnTo>
                <a:lnTo>
                  <a:pt x="44" y="298"/>
                </a:lnTo>
                <a:lnTo>
                  <a:pt x="45" y="299"/>
                </a:lnTo>
                <a:lnTo>
                  <a:pt x="46" y="300"/>
                </a:lnTo>
                <a:lnTo>
                  <a:pt x="45" y="301"/>
                </a:lnTo>
                <a:lnTo>
                  <a:pt x="44" y="302"/>
                </a:lnTo>
                <a:lnTo>
                  <a:pt x="43" y="303"/>
                </a:lnTo>
                <a:lnTo>
                  <a:pt x="42" y="307"/>
                </a:lnTo>
                <a:lnTo>
                  <a:pt x="39" y="311"/>
                </a:lnTo>
                <a:lnTo>
                  <a:pt x="38" y="315"/>
                </a:lnTo>
                <a:lnTo>
                  <a:pt x="38" y="316"/>
                </a:lnTo>
                <a:lnTo>
                  <a:pt x="36" y="317"/>
                </a:lnTo>
                <a:lnTo>
                  <a:pt x="34" y="316"/>
                </a:lnTo>
                <a:lnTo>
                  <a:pt x="32" y="316"/>
                </a:lnTo>
                <a:lnTo>
                  <a:pt x="32" y="317"/>
                </a:lnTo>
                <a:lnTo>
                  <a:pt x="31" y="320"/>
                </a:lnTo>
                <a:lnTo>
                  <a:pt x="31" y="322"/>
                </a:lnTo>
                <a:lnTo>
                  <a:pt x="28" y="325"/>
                </a:lnTo>
                <a:lnTo>
                  <a:pt x="27" y="327"/>
                </a:lnTo>
                <a:lnTo>
                  <a:pt x="26" y="326"/>
                </a:lnTo>
                <a:lnTo>
                  <a:pt x="23" y="329"/>
                </a:lnTo>
                <a:lnTo>
                  <a:pt x="20" y="330"/>
                </a:lnTo>
                <a:lnTo>
                  <a:pt x="21" y="331"/>
                </a:lnTo>
                <a:lnTo>
                  <a:pt x="19" y="333"/>
                </a:lnTo>
                <a:lnTo>
                  <a:pt x="20" y="334"/>
                </a:lnTo>
                <a:lnTo>
                  <a:pt x="18" y="337"/>
                </a:lnTo>
                <a:lnTo>
                  <a:pt x="19" y="338"/>
                </a:lnTo>
                <a:lnTo>
                  <a:pt x="18" y="339"/>
                </a:lnTo>
                <a:lnTo>
                  <a:pt x="19" y="341"/>
                </a:lnTo>
                <a:lnTo>
                  <a:pt x="20" y="342"/>
                </a:lnTo>
                <a:lnTo>
                  <a:pt x="20" y="343"/>
                </a:lnTo>
                <a:lnTo>
                  <a:pt x="21" y="345"/>
                </a:lnTo>
                <a:lnTo>
                  <a:pt x="21" y="346"/>
                </a:lnTo>
                <a:lnTo>
                  <a:pt x="22" y="348"/>
                </a:lnTo>
                <a:lnTo>
                  <a:pt x="22" y="349"/>
                </a:lnTo>
                <a:lnTo>
                  <a:pt x="25" y="350"/>
                </a:lnTo>
                <a:lnTo>
                  <a:pt x="26" y="350"/>
                </a:lnTo>
                <a:lnTo>
                  <a:pt x="27" y="351"/>
                </a:lnTo>
                <a:lnTo>
                  <a:pt x="27" y="350"/>
                </a:lnTo>
                <a:lnTo>
                  <a:pt x="28" y="352"/>
                </a:lnTo>
                <a:lnTo>
                  <a:pt x="29" y="352"/>
                </a:lnTo>
                <a:lnTo>
                  <a:pt x="31" y="352"/>
                </a:lnTo>
                <a:lnTo>
                  <a:pt x="32" y="354"/>
                </a:lnTo>
                <a:lnTo>
                  <a:pt x="30" y="358"/>
                </a:lnTo>
                <a:lnTo>
                  <a:pt x="33" y="363"/>
                </a:lnTo>
                <a:lnTo>
                  <a:pt x="31" y="367"/>
                </a:lnTo>
                <a:lnTo>
                  <a:pt x="29" y="369"/>
                </a:lnTo>
                <a:lnTo>
                  <a:pt x="29" y="371"/>
                </a:lnTo>
                <a:lnTo>
                  <a:pt x="30" y="371"/>
                </a:lnTo>
                <a:lnTo>
                  <a:pt x="30" y="372"/>
                </a:lnTo>
                <a:lnTo>
                  <a:pt x="31" y="373"/>
                </a:lnTo>
                <a:lnTo>
                  <a:pt x="33" y="372"/>
                </a:lnTo>
                <a:lnTo>
                  <a:pt x="33" y="371"/>
                </a:lnTo>
                <a:lnTo>
                  <a:pt x="36" y="371"/>
                </a:lnTo>
                <a:lnTo>
                  <a:pt x="37" y="369"/>
                </a:lnTo>
                <a:lnTo>
                  <a:pt x="39" y="371"/>
                </a:lnTo>
                <a:lnTo>
                  <a:pt x="42" y="371"/>
                </a:lnTo>
                <a:lnTo>
                  <a:pt x="42" y="369"/>
                </a:lnTo>
                <a:lnTo>
                  <a:pt x="44" y="366"/>
                </a:lnTo>
                <a:lnTo>
                  <a:pt x="48" y="363"/>
                </a:lnTo>
                <a:lnTo>
                  <a:pt x="50" y="362"/>
                </a:lnTo>
                <a:lnTo>
                  <a:pt x="52" y="367"/>
                </a:lnTo>
                <a:lnTo>
                  <a:pt x="53" y="368"/>
                </a:lnTo>
                <a:lnTo>
                  <a:pt x="54" y="367"/>
                </a:lnTo>
                <a:lnTo>
                  <a:pt x="58" y="371"/>
                </a:lnTo>
                <a:lnTo>
                  <a:pt x="61" y="371"/>
                </a:lnTo>
                <a:lnTo>
                  <a:pt x="63" y="371"/>
                </a:lnTo>
                <a:lnTo>
                  <a:pt x="66" y="369"/>
                </a:lnTo>
                <a:lnTo>
                  <a:pt x="67" y="373"/>
                </a:lnTo>
                <a:lnTo>
                  <a:pt x="70" y="370"/>
                </a:lnTo>
                <a:lnTo>
                  <a:pt x="75" y="367"/>
                </a:lnTo>
                <a:lnTo>
                  <a:pt x="76" y="370"/>
                </a:lnTo>
                <a:lnTo>
                  <a:pt x="76" y="371"/>
                </a:lnTo>
                <a:lnTo>
                  <a:pt x="77" y="372"/>
                </a:lnTo>
                <a:lnTo>
                  <a:pt x="79" y="374"/>
                </a:lnTo>
                <a:lnTo>
                  <a:pt x="80" y="372"/>
                </a:lnTo>
                <a:lnTo>
                  <a:pt x="82" y="372"/>
                </a:lnTo>
                <a:lnTo>
                  <a:pt x="82" y="374"/>
                </a:lnTo>
                <a:lnTo>
                  <a:pt x="87" y="371"/>
                </a:lnTo>
                <a:lnTo>
                  <a:pt x="92" y="370"/>
                </a:lnTo>
                <a:lnTo>
                  <a:pt x="95" y="371"/>
                </a:lnTo>
                <a:lnTo>
                  <a:pt x="96" y="372"/>
                </a:lnTo>
                <a:lnTo>
                  <a:pt x="97" y="373"/>
                </a:lnTo>
                <a:lnTo>
                  <a:pt x="104" y="372"/>
                </a:lnTo>
                <a:lnTo>
                  <a:pt x="107" y="372"/>
                </a:lnTo>
                <a:lnTo>
                  <a:pt x="106" y="369"/>
                </a:lnTo>
                <a:lnTo>
                  <a:pt x="108" y="365"/>
                </a:lnTo>
                <a:lnTo>
                  <a:pt x="107" y="364"/>
                </a:lnTo>
                <a:lnTo>
                  <a:pt x="103" y="363"/>
                </a:lnTo>
                <a:lnTo>
                  <a:pt x="100" y="360"/>
                </a:lnTo>
                <a:lnTo>
                  <a:pt x="96" y="357"/>
                </a:lnTo>
                <a:lnTo>
                  <a:pt x="96" y="356"/>
                </a:lnTo>
                <a:lnTo>
                  <a:pt x="96" y="355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2" y="355"/>
                </a:lnTo>
                <a:lnTo>
                  <a:pt x="106" y="351"/>
                </a:lnTo>
                <a:lnTo>
                  <a:pt x="107" y="349"/>
                </a:lnTo>
                <a:lnTo>
                  <a:pt x="107" y="348"/>
                </a:lnTo>
                <a:lnTo>
                  <a:pt x="106" y="347"/>
                </a:lnTo>
                <a:lnTo>
                  <a:pt x="107" y="345"/>
                </a:lnTo>
                <a:lnTo>
                  <a:pt x="105" y="345"/>
                </a:lnTo>
                <a:lnTo>
                  <a:pt x="105" y="341"/>
                </a:lnTo>
                <a:lnTo>
                  <a:pt x="106" y="339"/>
                </a:lnTo>
                <a:lnTo>
                  <a:pt x="108" y="338"/>
                </a:lnTo>
                <a:lnTo>
                  <a:pt x="109" y="337"/>
                </a:lnTo>
                <a:lnTo>
                  <a:pt x="112" y="337"/>
                </a:lnTo>
                <a:lnTo>
                  <a:pt x="113" y="336"/>
                </a:lnTo>
                <a:lnTo>
                  <a:pt x="114" y="335"/>
                </a:lnTo>
                <a:lnTo>
                  <a:pt x="114" y="337"/>
                </a:lnTo>
                <a:lnTo>
                  <a:pt x="116" y="337"/>
                </a:lnTo>
                <a:lnTo>
                  <a:pt x="118" y="338"/>
                </a:lnTo>
                <a:lnTo>
                  <a:pt x="119" y="334"/>
                </a:lnTo>
                <a:lnTo>
                  <a:pt x="121" y="332"/>
                </a:lnTo>
                <a:lnTo>
                  <a:pt x="121" y="329"/>
                </a:lnTo>
                <a:lnTo>
                  <a:pt x="121" y="326"/>
                </a:lnTo>
                <a:lnTo>
                  <a:pt x="120" y="326"/>
                </a:lnTo>
                <a:lnTo>
                  <a:pt x="118" y="322"/>
                </a:lnTo>
                <a:lnTo>
                  <a:pt x="120" y="318"/>
                </a:lnTo>
                <a:lnTo>
                  <a:pt x="119" y="317"/>
                </a:lnTo>
                <a:lnTo>
                  <a:pt x="123" y="312"/>
                </a:lnTo>
                <a:lnTo>
                  <a:pt x="122" y="312"/>
                </a:lnTo>
                <a:lnTo>
                  <a:pt x="118" y="311"/>
                </a:lnTo>
                <a:lnTo>
                  <a:pt x="117" y="311"/>
                </a:lnTo>
                <a:lnTo>
                  <a:pt x="114" y="311"/>
                </a:lnTo>
                <a:lnTo>
                  <a:pt x="114" y="310"/>
                </a:lnTo>
                <a:lnTo>
                  <a:pt x="110" y="308"/>
                </a:lnTo>
                <a:lnTo>
                  <a:pt x="106" y="307"/>
                </a:lnTo>
                <a:lnTo>
                  <a:pt x="104" y="302"/>
                </a:lnTo>
                <a:lnTo>
                  <a:pt x="105" y="300"/>
                </a:lnTo>
                <a:lnTo>
                  <a:pt x="103" y="299"/>
                </a:lnTo>
                <a:lnTo>
                  <a:pt x="103" y="298"/>
                </a:lnTo>
                <a:lnTo>
                  <a:pt x="104" y="297"/>
                </a:lnTo>
                <a:lnTo>
                  <a:pt x="107" y="289"/>
                </a:lnTo>
                <a:lnTo>
                  <a:pt x="105" y="289"/>
                </a:lnTo>
                <a:lnTo>
                  <a:pt x="97" y="289"/>
                </a:lnTo>
                <a:lnTo>
                  <a:pt x="96" y="290"/>
                </a:lnTo>
                <a:lnTo>
                  <a:pt x="93" y="290"/>
                </a:lnTo>
                <a:lnTo>
                  <a:pt x="91" y="289"/>
                </a:lnTo>
                <a:lnTo>
                  <a:pt x="91" y="287"/>
                </a:lnTo>
                <a:lnTo>
                  <a:pt x="88" y="288"/>
                </a:lnTo>
                <a:lnTo>
                  <a:pt x="86" y="289"/>
                </a:lnTo>
                <a:lnTo>
                  <a:pt x="83" y="291"/>
                </a:lnTo>
                <a:lnTo>
                  <a:pt x="81" y="291"/>
                </a:lnTo>
                <a:lnTo>
                  <a:pt x="80" y="292"/>
                </a:lnTo>
                <a:lnTo>
                  <a:pt x="77" y="292"/>
                </a:lnTo>
                <a:lnTo>
                  <a:pt x="77" y="290"/>
                </a:lnTo>
                <a:lnTo>
                  <a:pt x="79" y="288"/>
                </a:lnTo>
                <a:lnTo>
                  <a:pt x="79" y="282"/>
                </a:lnTo>
                <a:lnTo>
                  <a:pt x="77" y="282"/>
                </a:lnTo>
                <a:lnTo>
                  <a:pt x="77" y="279"/>
                </a:lnTo>
                <a:lnTo>
                  <a:pt x="74" y="278"/>
                </a:lnTo>
                <a:lnTo>
                  <a:pt x="72" y="274"/>
                </a:lnTo>
                <a:lnTo>
                  <a:pt x="72" y="273"/>
                </a:lnTo>
                <a:lnTo>
                  <a:pt x="73" y="270"/>
                </a:lnTo>
                <a:lnTo>
                  <a:pt x="72" y="269"/>
                </a:lnTo>
                <a:lnTo>
                  <a:pt x="70" y="266"/>
                </a:lnTo>
                <a:lnTo>
                  <a:pt x="70" y="265"/>
                </a:lnTo>
                <a:lnTo>
                  <a:pt x="76" y="264"/>
                </a:lnTo>
                <a:lnTo>
                  <a:pt x="77" y="263"/>
                </a:lnTo>
                <a:lnTo>
                  <a:pt x="81" y="259"/>
                </a:lnTo>
                <a:lnTo>
                  <a:pt x="82" y="260"/>
                </a:lnTo>
                <a:lnTo>
                  <a:pt x="84" y="266"/>
                </a:lnTo>
                <a:lnTo>
                  <a:pt x="86" y="268"/>
                </a:lnTo>
                <a:lnTo>
                  <a:pt x="87" y="270"/>
                </a:lnTo>
                <a:lnTo>
                  <a:pt x="89" y="270"/>
                </a:lnTo>
                <a:lnTo>
                  <a:pt x="91" y="270"/>
                </a:lnTo>
                <a:lnTo>
                  <a:pt x="92" y="269"/>
                </a:lnTo>
                <a:lnTo>
                  <a:pt x="92" y="268"/>
                </a:lnTo>
                <a:lnTo>
                  <a:pt x="94" y="266"/>
                </a:lnTo>
                <a:lnTo>
                  <a:pt x="94" y="263"/>
                </a:lnTo>
                <a:lnTo>
                  <a:pt x="94" y="261"/>
                </a:lnTo>
                <a:lnTo>
                  <a:pt x="96" y="258"/>
                </a:lnTo>
                <a:lnTo>
                  <a:pt x="96" y="257"/>
                </a:lnTo>
                <a:lnTo>
                  <a:pt x="98" y="256"/>
                </a:lnTo>
                <a:lnTo>
                  <a:pt x="100" y="252"/>
                </a:lnTo>
                <a:lnTo>
                  <a:pt x="103" y="250"/>
                </a:lnTo>
                <a:lnTo>
                  <a:pt x="105" y="249"/>
                </a:lnTo>
                <a:lnTo>
                  <a:pt x="109" y="248"/>
                </a:lnTo>
                <a:lnTo>
                  <a:pt x="111" y="246"/>
                </a:lnTo>
                <a:lnTo>
                  <a:pt x="114" y="242"/>
                </a:lnTo>
                <a:lnTo>
                  <a:pt x="117" y="240"/>
                </a:lnTo>
                <a:lnTo>
                  <a:pt x="118" y="240"/>
                </a:lnTo>
                <a:lnTo>
                  <a:pt x="119" y="237"/>
                </a:lnTo>
                <a:lnTo>
                  <a:pt x="120" y="237"/>
                </a:lnTo>
                <a:lnTo>
                  <a:pt x="121" y="237"/>
                </a:lnTo>
                <a:lnTo>
                  <a:pt x="120" y="237"/>
                </a:lnTo>
                <a:lnTo>
                  <a:pt x="121" y="237"/>
                </a:lnTo>
                <a:lnTo>
                  <a:pt x="122" y="234"/>
                </a:lnTo>
                <a:lnTo>
                  <a:pt x="128" y="232"/>
                </a:lnTo>
                <a:lnTo>
                  <a:pt x="129" y="230"/>
                </a:lnTo>
                <a:lnTo>
                  <a:pt x="132" y="230"/>
                </a:lnTo>
                <a:lnTo>
                  <a:pt x="134" y="229"/>
                </a:lnTo>
                <a:lnTo>
                  <a:pt x="136" y="229"/>
                </a:lnTo>
                <a:lnTo>
                  <a:pt x="138" y="228"/>
                </a:lnTo>
                <a:lnTo>
                  <a:pt x="138" y="227"/>
                </a:lnTo>
                <a:lnTo>
                  <a:pt x="140" y="225"/>
                </a:lnTo>
                <a:lnTo>
                  <a:pt x="134" y="221"/>
                </a:lnTo>
                <a:lnTo>
                  <a:pt x="133" y="220"/>
                </a:lnTo>
                <a:lnTo>
                  <a:pt x="135" y="218"/>
                </a:lnTo>
                <a:lnTo>
                  <a:pt x="142" y="215"/>
                </a:lnTo>
                <a:lnTo>
                  <a:pt x="138" y="212"/>
                </a:lnTo>
                <a:lnTo>
                  <a:pt x="128" y="218"/>
                </a:lnTo>
                <a:lnTo>
                  <a:pt x="127" y="218"/>
                </a:lnTo>
                <a:lnTo>
                  <a:pt x="126" y="219"/>
                </a:lnTo>
                <a:lnTo>
                  <a:pt x="123" y="221"/>
                </a:lnTo>
                <a:lnTo>
                  <a:pt x="119" y="221"/>
                </a:lnTo>
                <a:lnTo>
                  <a:pt x="118" y="218"/>
                </a:lnTo>
                <a:lnTo>
                  <a:pt x="117" y="217"/>
                </a:lnTo>
                <a:lnTo>
                  <a:pt x="116" y="206"/>
                </a:lnTo>
                <a:lnTo>
                  <a:pt x="116" y="203"/>
                </a:lnTo>
                <a:lnTo>
                  <a:pt x="119" y="202"/>
                </a:lnTo>
                <a:lnTo>
                  <a:pt x="120" y="202"/>
                </a:lnTo>
                <a:lnTo>
                  <a:pt x="120" y="201"/>
                </a:lnTo>
                <a:lnTo>
                  <a:pt x="117" y="195"/>
                </a:lnTo>
                <a:lnTo>
                  <a:pt x="120" y="193"/>
                </a:lnTo>
                <a:lnTo>
                  <a:pt x="129" y="183"/>
                </a:lnTo>
                <a:lnTo>
                  <a:pt x="129" y="181"/>
                </a:lnTo>
                <a:lnTo>
                  <a:pt x="129" y="180"/>
                </a:lnTo>
                <a:lnTo>
                  <a:pt x="135" y="172"/>
                </a:lnTo>
                <a:lnTo>
                  <a:pt x="136" y="168"/>
                </a:lnTo>
                <a:lnTo>
                  <a:pt x="137" y="166"/>
                </a:lnTo>
                <a:lnTo>
                  <a:pt x="139" y="163"/>
                </a:lnTo>
                <a:lnTo>
                  <a:pt x="138" y="162"/>
                </a:lnTo>
                <a:lnTo>
                  <a:pt x="141" y="162"/>
                </a:lnTo>
                <a:lnTo>
                  <a:pt x="144" y="161"/>
                </a:lnTo>
                <a:lnTo>
                  <a:pt x="144" y="159"/>
                </a:lnTo>
                <a:lnTo>
                  <a:pt x="152" y="151"/>
                </a:lnTo>
                <a:lnTo>
                  <a:pt x="151" y="149"/>
                </a:lnTo>
                <a:lnTo>
                  <a:pt x="149" y="142"/>
                </a:lnTo>
                <a:lnTo>
                  <a:pt x="149" y="141"/>
                </a:lnTo>
                <a:lnTo>
                  <a:pt x="152" y="137"/>
                </a:lnTo>
                <a:lnTo>
                  <a:pt x="148" y="137"/>
                </a:lnTo>
                <a:lnTo>
                  <a:pt x="147" y="137"/>
                </a:lnTo>
                <a:lnTo>
                  <a:pt x="147" y="135"/>
                </a:lnTo>
                <a:lnTo>
                  <a:pt x="149" y="125"/>
                </a:lnTo>
                <a:lnTo>
                  <a:pt x="148" y="121"/>
                </a:lnTo>
                <a:lnTo>
                  <a:pt x="150" y="121"/>
                </a:lnTo>
                <a:lnTo>
                  <a:pt x="150" y="117"/>
                </a:lnTo>
                <a:lnTo>
                  <a:pt x="151" y="110"/>
                </a:lnTo>
                <a:lnTo>
                  <a:pt x="149" y="106"/>
                </a:lnTo>
                <a:lnTo>
                  <a:pt x="148" y="104"/>
                </a:lnTo>
                <a:lnTo>
                  <a:pt x="148" y="100"/>
                </a:lnTo>
                <a:lnTo>
                  <a:pt x="148" y="98"/>
                </a:lnTo>
                <a:lnTo>
                  <a:pt x="148" y="96"/>
                </a:lnTo>
                <a:lnTo>
                  <a:pt x="145" y="92"/>
                </a:lnTo>
                <a:lnTo>
                  <a:pt x="140" y="87"/>
                </a:lnTo>
                <a:lnTo>
                  <a:pt x="136" y="80"/>
                </a:lnTo>
                <a:lnTo>
                  <a:pt x="136" y="79"/>
                </a:lnTo>
                <a:lnTo>
                  <a:pt x="135" y="77"/>
                </a:lnTo>
                <a:lnTo>
                  <a:pt x="134" y="76"/>
                </a:lnTo>
                <a:lnTo>
                  <a:pt x="132" y="75"/>
                </a:lnTo>
                <a:lnTo>
                  <a:pt x="130" y="73"/>
                </a:lnTo>
                <a:lnTo>
                  <a:pt x="129" y="72"/>
                </a:lnTo>
                <a:lnTo>
                  <a:pt x="128" y="70"/>
                </a:lnTo>
                <a:lnTo>
                  <a:pt x="127" y="69"/>
                </a:lnTo>
                <a:lnTo>
                  <a:pt x="127" y="68"/>
                </a:lnTo>
                <a:lnTo>
                  <a:pt x="126" y="68"/>
                </a:lnTo>
                <a:lnTo>
                  <a:pt x="125" y="67"/>
                </a:lnTo>
                <a:lnTo>
                  <a:pt x="123" y="63"/>
                </a:lnTo>
                <a:lnTo>
                  <a:pt x="122" y="62"/>
                </a:lnTo>
                <a:lnTo>
                  <a:pt x="122" y="59"/>
                </a:lnTo>
                <a:lnTo>
                  <a:pt x="123" y="57"/>
                </a:lnTo>
                <a:lnTo>
                  <a:pt x="123" y="52"/>
                </a:lnTo>
                <a:lnTo>
                  <a:pt x="124" y="50"/>
                </a:lnTo>
                <a:lnTo>
                  <a:pt x="124" y="49"/>
                </a:lnTo>
                <a:lnTo>
                  <a:pt x="124" y="48"/>
                </a:lnTo>
                <a:lnTo>
                  <a:pt x="126" y="47"/>
                </a:lnTo>
                <a:lnTo>
                  <a:pt x="126" y="46"/>
                </a:lnTo>
                <a:lnTo>
                  <a:pt x="126" y="45"/>
                </a:lnTo>
                <a:lnTo>
                  <a:pt x="122" y="43"/>
                </a:lnTo>
                <a:lnTo>
                  <a:pt x="122" y="44"/>
                </a:lnTo>
                <a:lnTo>
                  <a:pt x="121" y="44"/>
                </a:lnTo>
                <a:lnTo>
                  <a:pt x="119" y="43"/>
                </a:lnTo>
                <a:lnTo>
                  <a:pt x="118" y="43"/>
                </a:lnTo>
                <a:lnTo>
                  <a:pt x="117" y="43"/>
                </a:lnTo>
                <a:lnTo>
                  <a:pt x="117" y="42"/>
                </a:lnTo>
                <a:lnTo>
                  <a:pt x="116" y="42"/>
                </a:lnTo>
                <a:lnTo>
                  <a:pt x="115" y="42"/>
                </a:lnTo>
                <a:lnTo>
                  <a:pt x="108" y="39"/>
                </a:lnTo>
                <a:lnTo>
                  <a:pt x="107" y="38"/>
                </a:lnTo>
                <a:lnTo>
                  <a:pt x="106" y="33"/>
                </a:lnTo>
                <a:lnTo>
                  <a:pt x="107" y="31"/>
                </a:lnTo>
                <a:lnTo>
                  <a:pt x="106" y="28"/>
                </a:lnTo>
                <a:lnTo>
                  <a:pt x="105" y="25"/>
                </a:lnTo>
                <a:lnTo>
                  <a:pt x="107" y="24"/>
                </a:lnTo>
                <a:lnTo>
                  <a:pt x="109" y="24"/>
                </a:lnTo>
                <a:lnTo>
                  <a:pt x="109" y="22"/>
                </a:lnTo>
                <a:lnTo>
                  <a:pt x="107" y="22"/>
                </a:lnTo>
                <a:lnTo>
                  <a:pt x="106" y="20"/>
                </a:lnTo>
                <a:lnTo>
                  <a:pt x="101" y="17"/>
                </a:lnTo>
                <a:lnTo>
                  <a:pt x="98" y="15"/>
                </a:lnTo>
                <a:lnTo>
                  <a:pt x="96" y="14"/>
                </a:lnTo>
                <a:lnTo>
                  <a:pt x="89" y="15"/>
                </a:lnTo>
                <a:lnTo>
                  <a:pt x="88" y="13"/>
                </a:lnTo>
                <a:lnTo>
                  <a:pt x="89" y="12"/>
                </a:lnTo>
                <a:lnTo>
                  <a:pt x="86" y="12"/>
                </a:lnTo>
                <a:lnTo>
                  <a:pt x="86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2" name="Freeform 110"/>
          <p:cNvSpPr>
            <a:spLocks/>
          </p:cNvSpPr>
          <p:nvPr/>
        </p:nvSpPr>
        <p:spPr bwMode="auto">
          <a:xfrm>
            <a:off x="4194175" y="3394075"/>
            <a:ext cx="598488" cy="377825"/>
          </a:xfrm>
          <a:custGeom>
            <a:avLst/>
            <a:gdLst>
              <a:gd name="T0" fmla="*/ 2147483646 w 191"/>
              <a:gd name="T1" fmla="*/ 2147483646 h 131"/>
              <a:gd name="T2" fmla="*/ 2147483646 w 191"/>
              <a:gd name="T3" fmla="*/ 2147483646 h 131"/>
              <a:gd name="T4" fmla="*/ 2147483646 w 191"/>
              <a:gd name="T5" fmla="*/ 2147483646 h 131"/>
              <a:gd name="T6" fmla="*/ 2147483646 w 191"/>
              <a:gd name="T7" fmla="*/ 2147483646 h 131"/>
              <a:gd name="T8" fmla="*/ 2147483646 w 191"/>
              <a:gd name="T9" fmla="*/ 2147483646 h 131"/>
              <a:gd name="T10" fmla="*/ 2147483646 w 191"/>
              <a:gd name="T11" fmla="*/ 2147483646 h 131"/>
              <a:gd name="T12" fmla="*/ 2147483646 w 191"/>
              <a:gd name="T13" fmla="*/ 2147483646 h 131"/>
              <a:gd name="T14" fmla="*/ 2147483646 w 191"/>
              <a:gd name="T15" fmla="*/ 2147483646 h 131"/>
              <a:gd name="T16" fmla="*/ 2147483646 w 191"/>
              <a:gd name="T17" fmla="*/ 2147483646 h 131"/>
              <a:gd name="T18" fmla="*/ 2147483646 w 191"/>
              <a:gd name="T19" fmla="*/ 2147483646 h 131"/>
              <a:gd name="T20" fmla="*/ 2147483646 w 191"/>
              <a:gd name="T21" fmla="*/ 2147483646 h 131"/>
              <a:gd name="T22" fmla="*/ 2147483646 w 191"/>
              <a:gd name="T23" fmla="*/ 2147483646 h 131"/>
              <a:gd name="T24" fmla="*/ 2147483646 w 191"/>
              <a:gd name="T25" fmla="*/ 2147483646 h 131"/>
              <a:gd name="T26" fmla="*/ 2147483646 w 191"/>
              <a:gd name="T27" fmla="*/ 2147483646 h 131"/>
              <a:gd name="T28" fmla="*/ 2147483646 w 191"/>
              <a:gd name="T29" fmla="*/ 2147483646 h 131"/>
              <a:gd name="T30" fmla="*/ 2147483646 w 191"/>
              <a:gd name="T31" fmla="*/ 2147483646 h 131"/>
              <a:gd name="T32" fmla="*/ 2147483646 w 191"/>
              <a:gd name="T33" fmla="*/ 2147483646 h 131"/>
              <a:gd name="T34" fmla="*/ 2147483646 w 191"/>
              <a:gd name="T35" fmla="*/ 2147483646 h 131"/>
              <a:gd name="T36" fmla="*/ 2147483646 w 191"/>
              <a:gd name="T37" fmla="*/ 2147483646 h 131"/>
              <a:gd name="T38" fmla="*/ 2147483646 w 191"/>
              <a:gd name="T39" fmla="*/ 2147483646 h 131"/>
              <a:gd name="T40" fmla="*/ 2147483646 w 191"/>
              <a:gd name="T41" fmla="*/ 2147483646 h 131"/>
              <a:gd name="T42" fmla="*/ 2147483646 w 191"/>
              <a:gd name="T43" fmla="*/ 2147483646 h 131"/>
              <a:gd name="T44" fmla="*/ 2147483646 w 191"/>
              <a:gd name="T45" fmla="*/ 2147483646 h 131"/>
              <a:gd name="T46" fmla="*/ 2147483646 w 191"/>
              <a:gd name="T47" fmla="*/ 2147483646 h 131"/>
              <a:gd name="T48" fmla="*/ 2147483646 w 191"/>
              <a:gd name="T49" fmla="*/ 2147483646 h 131"/>
              <a:gd name="T50" fmla="*/ 2147483646 w 191"/>
              <a:gd name="T51" fmla="*/ 2147483646 h 131"/>
              <a:gd name="T52" fmla="*/ 2147483646 w 191"/>
              <a:gd name="T53" fmla="*/ 2147483646 h 131"/>
              <a:gd name="T54" fmla="*/ 2147483646 w 191"/>
              <a:gd name="T55" fmla="*/ 2147483646 h 131"/>
              <a:gd name="T56" fmla="*/ 2147483646 w 191"/>
              <a:gd name="T57" fmla="*/ 2147483646 h 131"/>
              <a:gd name="T58" fmla="*/ 2147483646 w 191"/>
              <a:gd name="T59" fmla="*/ 2147483646 h 131"/>
              <a:gd name="T60" fmla="*/ 2147483646 w 191"/>
              <a:gd name="T61" fmla="*/ 2147483646 h 131"/>
              <a:gd name="T62" fmla="*/ 2147483646 w 191"/>
              <a:gd name="T63" fmla="*/ 2147483646 h 131"/>
              <a:gd name="T64" fmla="*/ 2147483646 w 191"/>
              <a:gd name="T65" fmla="*/ 2147483646 h 131"/>
              <a:gd name="T66" fmla="*/ 2147483646 w 191"/>
              <a:gd name="T67" fmla="*/ 2147483646 h 131"/>
              <a:gd name="T68" fmla="*/ 2147483646 w 191"/>
              <a:gd name="T69" fmla="*/ 2147483646 h 131"/>
              <a:gd name="T70" fmla="*/ 2147483646 w 191"/>
              <a:gd name="T71" fmla="*/ 2147483646 h 131"/>
              <a:gd name="T72" fmla="*/ 2147483646 w 191"/>
              <a:gd name="T73" fmla="*/ 2147483646 h 131"/>
              <a:gd name="T74" fmla="*/ 2147483646 w 191"/>
              <a:gd name="T75" fmla="*/ 2147483646 h 131"/>
              <a:gd name="T76" fmla="*/ 2147483646 w 191"/>
              <a:gd name="T77" fmla="*/ 2147483646 h 131"/>
              <a:gd name="T78" fmla="*/ 2147483646 w 191"/>
              <a:gd name="T79" fmla="*/ 2147483646 h 131"/>
              <a:gd name="T80" fmla="*/ 2147483646 w 191"/>
              <a:gd name="T81" fmla="*/ 2147483646 h 131"/>
              <a:gd name="T82" fmla="*/ 2147483646 w 191"/>
              <a:gd name="T83" fmla="*/ 2147483646 h 131"/>
              <a:gd name="T84" fmla="*/ 2147483646 w 191"/>
              <a:gd name="T85" fmla="*/ 2147483646 h 131"/>
              <a:gd name="T86" fmla="*/ 2147483646 w 191"/>
              <a:gd name="T87" fmla="*/ 2147483646 h 131"/>
              <a:gd name="T88" fmla="*/ 2147483646 w 191"/>
              <a:gd name="T89" fmla="*/ 2147483646 h 131"/>
              <a:gd name="T90" fmla="*/ 2147483646 w 191"/>
              <a:gd name="T91" fmla="*/ 2147483646 h 131"/>
              <a:gd name="T92" fmla="*/ 2147483646 w 191"/>
              <a:gd name="T93" fmla="*/ 2147483646 h 131"/>
              <a:gd name="T94" fmla="*/ 2147483646 w 191"/>
              <a:gd name="T95" fmla="*/ 2147483646 h 131"/>
              <a:gd name="T96" fmla="*/ 2147483646 w 191"/>
              <a:gd name="T97" fmla="*/ 2147483646 h 131"/>
              <a:gd name="T98" fmla="*/ 2147483646 w 191"/>
              <a:gd name="T99" fmla="*/ 2147483646 h 131"/>
              <a:gd name="T100" fmla="*/ 2147483646 w 191"/>
              <a:gd name="T101" fmla="*/ 2147483646 h 131"/>
              <a:gd name="T102" fmla="*/ 2147483646 w 191"/>
              <a:gd name="T103" fmla="*/ 2147483646 h 131"/>
              <a:gd name="T104" fmla="*/ 2147483646 w 191"/>
              <a:gd name="T105" fmla="*/ 2147483646 h 13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91" h="131">
                <a:moveTo>
                  <a:pt x="191" y="118"/>
                </a:moveTo>
                <a:lnTo>
                  <a:pt x="188" y="115"/>
                </a:lnTo>
                <a:lnTo>
                  <a:pt x="187" y="111"/>
                </a:lnTo>
                <a:lnTo>
                  <a:pt x="186" y="110"/>
                </a:lnTo>
                <a:lnTo>
                  <a:pt x="183" y="108"/>
                </a:lnTo>
                <a:lnTo>
                  <a:pt x="182" y="106"/>
                </a:lnTo>
                <a:lnTo>
                  <a:pt x="180" y="103"/>
                </a:lnTo>
                <a:lnTo>
                  <a:pt x="180" y="96"/>
                </a:lnTo>
                <a:lnTo>
                  <a:pt x="176" y="94"/>
                </a:lnTo>
                <a:lnTo>
                  <a:pt x="175" y="91"/>
                </a:lnTo>
                <a:lnTo>
                  <a:pt x="176" y="86"/>
                </a:lnTo>
                <a:lnTo>
                  <a:pt x="176" y="78"/>
                </a:lnTo>
                <a:lnTo>
                  <a:pt x="175" y="79"/>
                </a:lnTo>
                <a:lnTo>
                  <a:pt x="174" y="72"/>
                </a:lnTo>
                <a:lnTo>
                  <a:pt x="173" y="71"/>
                </a:lnTo>
                <a:lnTo>
                  <a:pt x="172" y="71"/>
                </a:lnTo>
                <a:lnTo>
                  <a:pt x="170" y="72"/>
                </a:lnTo>
                <a:lnTo>
                  <a:pt x="170" y="74"/>
                </a:lnTo>
                <a:lnTo>
                  <a:pt x="171" y="74"/>
                </a:lnTo>
                <a:lnTo>
                  <a:pt x="171" y="77"/>
                </a:lnTo>
                <a:lnTo>
                  <a:pt x="169" y="77"/>
                </a:lnTo>
                <a:lnTo>
                  <a:pt x="169" y="78"/>
                </a:lnTo>
                <a:lnTo>
                  <a:pt x="170" y="79"/>
                </a:lnTo>
                <a:lnTo>
                  <a:pt x="168" y="81"/>
                </a:lnTo>
                <a:lnTo>
                  <a:pt x="165" y="81"/>
                </a:lnTo>
                <a:lnTo>
                  <a:pt x="164" y="83"/>
                </a:lnTo>
                <a:lnTo>
                  <a:pt x="157" y="84"/>
                </a:lnTo>
                <a:lnTo>
                  <a:pt x="154" y="80"/>
                </a:lnTo>
                <a:lnTo>
                  <a:pt x="156" y="77"/>
                </a:lnTo>
                <a:lnTo>
                  <a:pt x="157" y="77"/>
                </a:lnTo>
                <a:lnTo>
                  <a:pt x="159" y="75"/>
                </a:lnTo>
                <a:lnTo>
                  <a:pt x="159" y="71"/>
                </a:lnTo>
                <a:lnTo>
                  <a:pt x="161" y="70"/>
                </a:lnTo>
                <a:lnTo>
                  <a:pt x="160" y="69"/>
                </a:lnTo>
                <a:lnTo>
                  <a:pt x="160" y="68"/>
                </a:lnTo>
                <a:lnTo>
                  <a:pt x="164" y="67"/>
                </a:lnTo>
                <a:lnTo>
                  <a:pt x="163" y="66"/>
                </a:lnTo>
                <a:lnTo>
                  <a:pt x="161" y="66"/>
                </a:lnTo>
                <a:lnTo>
                  <a:pt x="162" y="63"/>
                </a:lnTo>
                <a:lnTo>
                  <a:pt x="164" y="62"/>
                </a:lnTo>
                <a:lnTo>
                  <a:pt x="165" y="61"/>
                </a:lnTo>
                <a:lnTo>
                  <a:pt x="163" y="59"/>
                </a:lnTo>
                <a:lnTo>
                  <a:pt x="162" y="58"/>
                </a:lnTo>
                <a:lnTo>
                  <a:pt x="162" y="56"/>
                </a:lnTo>
                <a:lnTo>
                  <a:pt x="158" y="55"/>
                </a:lnTo>
                <a:lnTo>
                  <a:pt x="158" y="52"/>
                </a:lnTo>
                <a:lnTo>
                  <a:pt x="156" y="51"/>
                </a:lnTo>
                <a:lnTo>
                  <a:pt x="153" y="50"/>
                </a:lnTo>
                <a:lnTo>
                  <a:pt x="150" y="49"/>
                </a:lnTo>
                <a:lnTo>
                  <a:pt x="145" y="48"/>
                </a:lnTo>
                <a:lnTo>
                  <a:pt x="147" y="45"/>
                </a:lnTo>
                <a:lnTo>
                  <a:pt x="148" y="42"/>
                </a:lnTo>
                <a:lnTo>
                  <a:pt x="149" y="39"/>
                </a:lnTo>
                <a:lnTo>
                  <a:pt x="138" y="30"/>
                </a:lnTo>
                <a:lnTo>
                  <a:pt x="141" y="18"/>
                </a:lnTo>
                <a:lnTo>
                  <a:pt x="140" y="17"/>
                </a:lnTo>
                <a:lnTo>
                  <a:pt x="138" y="15"/>
                </a:lnTo>
                <a:lnTo>
                  <a:pt x="136" y="15"/>
                </a:lnTo>
                <a:lnTo>
                  <a:pt x="136" y="13"/>
                </a:lnTo>
                <a:lnTo>
                  <a:pt x="134" y="11"/>
                </a:lnTo>
                <a:lnTo>
                  <a:pt x="132" y="11"/>
                </a:lnTo>
                <a:lnTo>
                  <a:pt x="127" y="10"/>
                </a:lnTo>
                <a:lnTo>
                  <a:pt x="123" y="10"/>
                </a:lnTo>
                <a:lnTo>
                  <a:pt x="111" y="8"/>
                </a:lnTo>
                <a:lnTo>
                  <a:pt x="101" y="28"/>
                </a:lnTo>
                <a:lnTo>
                  <a:pt x="99" y="34"/>
                </a:lnTo>
                <a:lnTo>
                  <a:pt x="94" y="45"/>
                </a:lnTo>
                <a:lnTo>
                  <a:pt x="79" y="44"/>
                </a:lnTo>
                <a:lnTo>
                  <a:pt x="80" y="42"/>
                </a:lnTo>
                <a:lnTo>
                  <a:pt x="84" y="38"/>
                </a:lnTo>
                <a:lnTo>
                  <a:pt x="84" y="36"/>
                </a:lnTo>
                <a:lnTo>
                  <a:pt x="82" y="34"/>
                </a:lnTo>
                <a:lnTo>
                  <a:pt x="80" y="30"/>
                </a:lnTo>
                <a:lnTo>
                  <a:pt x="69" y="32"/>
                </a:lnTo>
                <a:lnTo>
                  <a:pt x="67" y="31"/>
                </a:lnTo>
                <a:lnTo>
                  <a:pt x="61" y="29"/>
                </a:lnTo>
                <a:lnTo>
                  <a:pt x="61" y="26"/>
                </a:lnTo>
                <a:lnTo>
                  <a:pt x="65" y="24"/>
                </a:lnTo>
                <a:lnTo>
                  <a:pt x="61" y="22"/>
                </a:lnTo>
                <a:lnTo>
                  <a:pt x="61" y="19"/>
                </a:lnTo>
                <a:lnTo>
                  <a:pt x="62" y="18"/>
                </a:lnTo>
                <a:lnTo>
                  <a:pt x="61" y="16"/>
                </a:lnTo>
                <a:lnTo>
                  <a:pt x="59" y="17"/>
                </a:lnTo>
                <a:lnTo>
                  <a:pt x="59" y="16"/>
                </a:lnTo>
                <a:lnTo>
                  <a:pt x="58" y="14"/>
                </a:lnTo>
                <a:lnTo>
                  <a:pt x="58" y="11"/>
                </a:lnTo>
                <a:lnTo>
                  <a:pt x="58" y="10"/>
                </a:lnTo>
                <a:lnTo>
                  <a:pt x="60" y="10"/>
                </a:lnTo>
                <a:lnTo>
                  <a:pt x="61" y="9"/>
                </a:lnTo>
                <a:lnTo>
                  <a:pt x="63" y="9"/>
                </a:lnTo>
                <a:lnTo>
                  <a:pt x="63" y="8"/>
                </a:lnTo>
                <a:lnTo>
                  <a:pt x="65" y="7"/>
                </a:lnTo>
                <a:lnTo>
                  <a:pt x="66" y="7"/>
                </a:lnTo>
                <a:lnTo>
                  <a:pt x="65" y="5"/>
                </a:lnTo>
                <a:lnTo>
                  <a:pt x="64" y="5"/>
                </a:lnTo>
                <a:lnTo>
                  <a:pt x="62" y="7"/>
                </a:lnTo>
                <a:lnTo>
                  <a:pt x="59" y="5"/>
                </a:lnTo>
                <a:lnTo>
                  <a:pt x="58" y="5"/>
                </a:lnTo>
                <a:lnTo>
                  <a:pt x="57" y="7"/>
                </a:lnTo>
                <a:lnTo>
                  <a:pt x="57" y="0"/>
                </a:lnTo>
                <a:lnTo>
                  <a:pt x="55" y="0"/>
                </a:lnTo>
                <a:lnTo>
                  <a:pt x="54" y="3"/>
                </a:lnTo>
                <a:lnTo>
                  <a:pt x="53" y="4"/>
                </a:lnTo>
                <a:lnTo>
                  <a:pt x="48" y="4"/>
                </a:lnTo>
                <a:lnTo>
                  <a:pt x="46" y="6"/>
                </a:lnTo>
                <a:lnTo>
                  <a:pt x="44" y="8"/>
                </a:lnTo>
                <a:lnTo>
                  <a:pt x="36" y="8"/>
                </a:lnTo>
                <a:lnTo>
                  <a:pt x="36" y="10"/>
                </a:lnTo>
                <a:lnTo>
                  <a:pt x="35" y="12"/>
                </a:lnTo>
                <a:lnTo>
                  <a:pt x="34" y="14"/>
                </a:lnTo>
                <a:lnTo>
                  <a:pt x="34" y="16"/>
                </a:lnTo>
                <a:lnTo>
                  <a:pt x="31" y="18"/>
                </a:lnTo>
                <a:lnTo>
                  <a:pt x="28" y="18"/>
                </a:lnTo>
                <a:lnTo>
                  <a:pt x="25" y="18"/>
                </a:lnTo>
                <a:lnTo>
                  <a:pt x="23" y="18"/>
                </a:lnTo>
                <a:lnTo>
                  <a:pt x="20" y="20"/>
                </a:lnTo>
                <a:lnTo>
                  <a:pt x="18" y="22"/>
                </a:lnTo>
                <a:lnTo>
                  <a:pt x="16" y="25"/>
                </a:lnTo>
                <a:lnTo>
                  <a:pt x="14" y="26"/>
                </a:lnTo>
                <a:lnTo>
                  <a:pt x="12" y="27"/>
                </a:lnTo>
                <a:lnTo>
                  <a:pt x="3" y="26"/>
                </a:lnTo>
                <a:lnTo>
                  <a:pt x="0" y="29"/>
                </a:lnTo>
                <a:lnTo>
                  <a:pt x="4" y="37"/>
                </a:lnTo>
                <a:lnTo>
                  <a:pt x="7" y="36"/>
                </a:lnTo>
                <a:lnTo>
                  <a:pt x="11" y="36"/>
                </a:lnTo>
                <a:lnTo>
                  <a:pt x="16" y="43"/>
                </a:lnTo>
                <a:lnTo>
                  <a:pt x="20" y="45"/>
                </a:lnTo>
                <a:lnTo>
                  <a:pt x="29" y="51"/>
                </a:lnTo>
                <a:lnTo>
                  <a:pt x="23" y="53"/>
                </a:lnTo>
                <a:lnTo>
                  <a:pt x="24" y="59"/>
                </a:lnTo>
                <a:lnTo>
                  <a:pt x="24" y="60"/>
                </a:lnTo>
                <a:lnTo>
                  <a:pt x="21" y="62"/>
                </a:lnTo>
                <a:lnTo>
                  <a:pt x="20" y="61"/>
                </a:lnTo>
                <a:lnTo>
                  <a:pt x="21" y="60"/>
                </a:lnTo>
                <a:lnTo>
                  <a:pt x="18" y="58"/>
                </a:lnTo>
                <a:lnTo>
                  <a:pt x="17" y="58"/>
                </a:lnTo>
                <a:lnTo>
                  <a:pt x="16" y="57"/>
                </a:lnTo>
                <a:lnTo>
                  <a:pt x="12" y="59"/>
                </a:lnTo>
                <a:lnTo>
                  <a:pt x="11" y="58"/>
                </a:lnTo>
                <a:lnTo>
                  <a:pt x="10" y="59"/>
                </a:lnTo>
                <a:lnTo>
                  <a:pt x="10" y="60"/>
                </a:lnTo>
                <a:lnTo>
                  <a:pt x="9" y="63"/>
                </a:lnTo>
                <a:lnTo>
                  <a:pt x="7" y="64"/>
                </a:lnTo>
                <a:lnTo>
                  <a:pt x="12" y="69"/>
                </a:lnTo>
                <a:lnTo>
                  <a:pt x="13" y="70"/>
                </a:lnTo>
                <a:lnTo>
                  <a:pt x="14" y="82"/>
                </a:lnTo>
                <a:lnTo>
                  <a:pt x="15" y="85"/>
                </a:lnTo>
                <a:lnTo>
                  <a:pt x="24" y="84"/>
                </a:lnTo>
                <a:lnTo>
                  <a:pt x="20" y="88"/>
                </a:lnTo>
                <a:lnTo>
                  <a:pt x="15" y="90"/>
                </a:lnTo>
                <a:lnTo>
                  <a:pt x="12" y="95"/>
                </a:lnTo>
                <a:lnTo>
                  <a:pt x="11" y="97"/>
                </a:lnTo>
                <a:lnTo>
                  <a:pt x="10" y="97"/>
                </a:lnTo>
                <a:lnTo>
                  <a:pt x="9" y="100"/>
                </a:lnTo>
                <a:lnTo>
                  <a:pt x="8" y="101"/>
                </a:lnTo>
                <a:lnTo>
                  <a:pt x="9" y="104"/>
                </a:lnTo>
                <a:lnTo>
                  <a:pt x="11" y="103"/>
                </a:lnTo>
                <a:lnTo>
                  <a:pt x="16" y="103"/>
                </a:lnTo>
                <a:lnTo>
                  <a:pt x="19" y="102"/>
                </a:lnTo>
                <a:lnTo>
                  <a:pt x="20" y="106"/>
                </a:lnTo>
                <a:lnTo>
                  <a:pt x="16" y="108"/>
                </a:lnTo>
                <a:lnTo>
                  <a:pt x="12" y="109"/>
                </a:lnTo>
                <a:lnTo>
                  <a:pt x="18" y="118"/>
                </a:lnTo>
                <a:lnTo>
                  <a:pt x="19" y="118"/>
                </a:lnTo>
                <a:lnTo>
                  <a:pt x="22" y="122"/>
                </a:lnTo>
                <a:lnTo>
                  <a:pt x="25" y="130"/>
                </a:lnTo>
                <a:lnTo>
                  <a:pt x="28" y="131"/>
                </a:lnTo>
                <a:lnTo>
                  <a:pt x="32" y="130"/>
                </a:lnTo>
                <a:lnTo>
                  <a:pt x="35" y="129"/>
                </a:lnTo>
                <a:lnTo>
                  <a:pt x="38" y="123"/>
                </a:lnTo>
                <a:lnTo>
                  <a:pt x="41" y="122"/>
                </a:lnTo>
                <a:lnTo>
                  <a:pt x="42" y="123"/>
                </a:lnTo>
                <a:lnTo>
                  <a:pt x="46" y="123"/>
                </a:lnTo>
                <a:lnTo>
                  <a:pt x="48" y="121"/>
                </a:lnTo>
                <a:lnTo>
                  <a:pt x="50" y="118"/>
                </a:lnTo>
                <a:lnTo>
                  <a:pt x="52" y="117"/>
                </a:lnTo>
                <a:lnTo>
                  <a:pt x="55" y="118"/>
                </a:lnTo>
                <a:lnTo>
                  <a:pt x="59" y="120"/>
                </a:lnTo>
                <a:lnTo>
                  <a:pt x="61" y="120"/>
                </a:lnTo>
                <a:lnTo>
                  <a:pt x="61" y="117"/>
                </a:lnTo>
                <a:lnTo>
                  <a:pt x="66" y="113"/>
                </a:lnTo>
                <a:lnTo>
                  <a:pt x="67" y="112"/>
                </a:lnTo>
                <a:lnTo>
                  <a:pt x="71" y="109"/>
                </a:lnTo>
                <a:lnTo>
                  <a:pt x="75" y="108"/>
                </a:lnTo>
                <a:lnTo>
                  <a:pt x="79" y="109"/>
                </a:lnTo>
                <a:lnTo>
                  <a:pt x="82" y="112"/>
                </a:lnTo>
                <a:lnTo>
                  <a:pt x="85" y="116"/>
                </a:lnTo>
                <a:lnTo>
                  <a:pt x="88" y="119"/>
                </a:lnTo>
                <a:lnTo>
                  <a:pt x="92" y="121"/>
                </a:lnTo>
                <a:lnTo>
                  <a:pt x="97" y="124"/>
                </a:lnTo>
                <a:lnTo>
                  <a:pt x="100" y="123"/>
                </a:lnTo>
                <a:lnTo>
                  <a:pt x="104" y="118"/>
                </a:lnTo>
                <a:lnTo>
                  <a:pt x="107" y="117"/>
                </a:lnTo>
                <a:lnTo>
                  <a:pt x="112" y="120"/>
                </a:lnTo>
                <a:lnTo>
                  <a:pt x="121" y="125"/>
                </a:lnTo>
                <a:lnTo>
                  <a:pt x="125" y="125"/>
                </a:lnTo>
                <a:lnTo>
                  <a:pt x="128" y="124"/>
                </a:lnTo>
                <a:lnTo>
                  <a:pt x="129" y="122"/>
                </a:lnTo>
                <a:lnTo>
                  <a:pt x="133" y="120"/>
                </a:lnTo>
                <a:lnTo>
                  <a:pt x="139" y="120"/>
                </a:lnTo>
                <a:lnTo>
                  <a:pt x="144" y="118"/>
                </a:lnTo>
                <a:lnTo>
                  <a:pt x="147" y="116"/>
                </a:lnTo>
                <a:lnTo>
                  <a:pt x="151" y="114"/>
                </a:lnTo>
                <a:lnTo>
                  <a:pt x="159" y="115"/>
                </a:lnTo>
                <a:lnTo>
                  <a:pt x="164" y="117"/>
                </a:lnTo>
                <a:lnTo>
                  <a:pt x="172" y="121"/>
                </a:lnTo>
                <a:lnTo>
                  <a:pt x="181" y="126"/>
                </a:lnTo>
                <a:lnTo>
                  <a:pt x="186" y="128"/>
                </a:lnTo>
                <a:lnTo>
                  <a:pt x="190" y="125"/>
                </a:lnTo>
                <a:lnTo>
                  <a:pt x="189" y="122"/>
                </a:lnTo>
                <a:lnTo>
                  <a:pt x="191" y="11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3" name="Freeform 111"/>
          <p:cNvSpPr>
            <a:spLocks/>
          </p:cNvSpPr>
          <p:nvPr/>
        </p:nvSpPr>
        <p:spPr bwMode="auto">
          <a:xfrm>
            <a:off x="4784725" y="2173288"/>
            <a:ext cx="241300" cy="46037"/>
          </a:xfrm>
          <a:custGeom>
            <a:avLst/>
            <a:gdLst>
              <a:gd name="T0" fmla="*/ 2147483646 w 77"/>
              <a:gd name="T1" fmla="*/ 2147483646 h 16"/>
              <a:gd name="T2" fmla="*/ 2147483646 w 77"/>
              <a:gd name="T3" fmla="*/ 2147483646 h 16"/>
              <a:gd name="T4" fmla="*/ 2147483646 w 77"/>
              <a:gd name="T5" fmla="*/ 2147483646 h 16"/>
              <a:gd name="T6" fmla="*/ 2147483646 w 77"/>
              <a:gd name="T7" fmla="*/ 2147483646 h 16"/>
              <a:gd name="T8" fmla="*/ 2147483646 w 77"/>
              <a:gd name="T9" fmla="*/ 2147483646 h 16"/>
              <a:gd name="T10" fmla="*/ 2147483646 w 77"/>
              <a:gd name="T11" fmla="*/ 2147483646 h 16"/>
              <a:gd name="T12" fmla="*/ 2147483646 w 77"/>
              <a:gd name="T13" fmla="*/ 2147483646 h 16"/>
              <a:gd name="T14" fmla="*/ 2147483646 w 77"/>
              <a:gd name="T15" fmla="*/ 2147483646 h 16"/>
              <a:gd name="T16" fmla="*/ 2147483646 w 77"/>
              <a:gd name="T17" fmla="*/ 2147483646 h 16"/>
              <a:gd name="T18" fmla="*/ 2147483646 w 77"/>
              <a:gd name="T19" fmla="*/ 2147483646 h 16"/>
              <a:gd name="T20" fmla="*/ 2147483646 w 77"/>
              <a:gd name="T21" fmla="*/ 2147483646 h 16"/>
              <a:gd name="T22" fmla="*/ 2147483646 w 77"/>
              <a:gd name="T23" fmla="*/ 2147483646 h 16"/>
              <a:gd name="T24" fmla="*/ 2147483646 w 77"/>
              <a:gd name="T25" fmla="*/ 2147483646 h 16"/>
              <a:gd name="T26" fmla="*/ 2147483646 w 77"/>
              <a:gd name="T27" fmla="*/ 2147483646 h 16"/>
              <a:gd name="T28" fmla="*/ 2147483646 w 77"/>
              <a:gd name="T29" fmla="*/ 2147483646 h 16"/>
              <a:gd name="T30" fmla="*/ 2147483646 w 77"/>
              <a:gd name="T31" fmla="*/ 2147483646 h 16"/>
              <a:gd name="T32" fmla="*/ 2147483646 w 77"/>
              <a:gd name="T33" fmla="*/ 2147483646 h 16"/>
              <a:gd name="T34" fmla="*/ 2147483646 w 77"/>
              <a:gd name="T35" fmla="*/ 2147483646 h 16"/>
              <a:gd name="T36" fmla="*/ 2147483646 w 77"/>
              <a:gd name="T37" fmla="*/ 2147483646 h 16"/>
              <a:gd name="T38" fmla="*/ 2147483646 w 77"/>
              <a:gd name="T39" fmla="*/ 2147483646 h 16"/>
              <a:gd name="T40" fmla="*/ 2147483646 w 77"/>
              <a:gd name="T41" fmla="*/ 2147483646 h 16"/>
              <a:gd name="T42" fmla="*/ 2147483646 w 77"/>
              <a:gd name="T43" fmla="*/ 0 h 16"/>
              <a:gd name="T44" fmla="*/ 2147483646 w 77"/>
              <a:gd name="T45" fmla="*/ 0 h 16"/>
              <a:gd name="T46" fmla="*/ 2147483646 w 77"/>
              <a:gd name="T47" fmla="*/ 2147483646 h 16"/>
              <a:gd name="T48" fmla="*/ 2147483646 w 77"/>
              <a:gd name="T49" fmla="*/ 2147483646 h 16"/>
              <a:gd name="T50" fmla="*/ 2147483646 w 77"/>
              <a:gd name="T51" fmla="*/ 2147483646 h 16"/>
              <a:gd name="T52" fmla="*/ 2147483646 w 77"/>
              <a:gd name="T53" fmla="*/ 0 h 16"/>
              <a:gd name="T54" fmla="*/ 2147483646 w 77"/>
              <a:gd name="T55" fmla="*/ 2147483646 h 16"/>
              <a:gd name="T56" fmla="*/ 2147483646 w 77"/>
              <a:gd name="T57" fmla="*/ 2147483646 h 16"/>
              <a:gd name="T58" fmla="*/ 2147483646 w 77"/>
              <a:gd name="T59" fmla="*/ 2147483646 h 16"/>
              <a:gd name="T60" fmla="*/ 0 w 77"/>
              <a:gd name="T61" fmla="*/ 2147483646 h 16"/>
              <a:gd name="T62" fmla="*/ 2147483646 w 77"/>
              <a:gd name="T63" fmla="*/ 2147483646 h 1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77" h="16">
                <a:moveTo>
                  <a:pt x="1" y="10"/>
                </a:moveTo>
                <a:lnTo>
                  <a:pt x="4" y="14"/>
                </a:lnTo>
                <a:lnTo>
                  <a:pt x="8" y="16"/>
                </a:lnTo>
                <a:lnTo>
                  <a:pt x="14" y="16"/>
                </a:lnTo>
                <a:lnTo>
                  <a:pt x="16" y="16"/>
                </a:lnTo>
                <a:lnTo>
                  <a:pt x="17" y="15"/>
                </a:lnTo>
                <a:lnTo>
                  <a:pt x="20" y="14"/>
                </a:lnTo>
                <a:lnTo>
                  <a:pt x="19" y="14"/>
                </a:lnTo>
                <a:lnTo>
                  <a:pt x="22" y="12"/>
                </a:lnTo>
                <a:lnTo>
                  <a:pt x="23" y="10"/>
                </a:lnTo>
                <a:lnTo>
                  <a:pt x="25" y="10"/>
                </a:lnTo>
                <a:lnTo>
                  <a:pt x="33" y="10"/>
                </a:lnTo>
                <a:lnTo>
                  <a:pt x="35" y="11"/>
                </a:lnTo>
                <a:lnTo>
                  <a:pt x="42" y="11"/>
                </a:lnTo>
                <a:lnTo>
                  <a:pt x="56" y="7"/>
                </a:lnTo>
                <a:lnTo>
                  <a:pt x="60" y="6"/>
                </a:lnTo>
                <a:lnTo>
                  <a:pt x="61" y="5"/>
                </a:lnTo>
                <a:lnTo>
                  <a:pt x="62" y="5"/>
                </a:lnTo>
                <a:lnTo>
                  <a:pt x="65" y="4"/>
                </a:lnTo>
                <a:lnTo>
                  <a:pt x="74" y="4"/>
                </a:lnTo>
                <a:lnTo>
                  <a:pt x="77" y="2"/>
                </a:lnTo>
                <a:lnTo>
                  <a:pt x="74" y="0"/>
                </a:lnTo>
                <a:lnTo>
                  <a:pt x="66" y="0"/>
                </a:lnTo>
                <a:lnTo>
                  <a:pt x="35" y="3"/>
                </a:lnTo>
                <a:lnTo>
                  <a:pt x="24" y="3"/>
                </a:lnTo>
                <a:lnTo>
                  <a:pt x="18" y="3"/>
                </a:lnTo>
                <a:lnTo>
                  <a:pt x="4" y="0"/>
                </a:lnTo>
                <a:lnTo>
                  <a:pt x="1" y="2"/>
                </a:lnTo>
                <a:lnTo>
                  <a:pt x="1" y="4"/>
                </a:lnTo>
                <a:lnTo>
                  <a:pt x="1" y="6"/>
                </a:lnTo>
                <a:lnTo>
                  <a:pt x="0" y="8"/>
                </a:lnTo>
                <a:lnTo>
                  <a:pt x="1" y="10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4" name="Freeform 112"/>
          <p:cNvSpPr>
            <a:spLocks/>
          </p:cNvSpPr>
          <p:nvPr/>
        </p:nvSpPr>
        <p:spPr bwMode="auto">
          <a:xfrm>
            <a:off x="4476750" y="2190750"/>
            <a:ext cx="284163" cy="115888"/>
          </a:xfrm>
          <a:custGeom>
            <a:avLst/>
            <a:gdLst>
              <a:gd name="T0" fmla="*/ 2147483646 w 91"/>
              <a:gd name="T1" fmla="*/ 2147483646 h 40"/>
              <a:gd name="T2" fmla="*/ 2147483646 w 91"/>
              <a:gd name="T3" fmla="*/ 2147483646 h 40"/>
              <a:gd name="T4" fmla="*/ 2147483646 w 91"/>
              <a:gd name="T5" fmla="*/ 2147483646 h 40"/>
              <a:gd name="T6" fmla="*/ 2147483646 w 91"/>
              <a:gd name="T7" fmla="*/ 2147483646 h 40"/>
              <a:gd name="T8" fmla="*/ 2147483646 w 91"/>
              <a:gd name="T9" fmla="*/ 2147483646 h 40"/>
              <a:gd name="T10" fmla="*/ 2147483646 w 91"/>
              <a:gd name="T11" fmla="*/ 2147483646 h 40"/>
              <a:gd name="T12" fmla="*/ 2147483646 w 91"/>
              <a:gd name="T13" fmla="*/ 2147483646 h 40"/>
              <a:gd name="T14" fmla="*/ 2147483646 w 91"/>
              <a:gd name="T15" fmla="*/ 2147483646 h 40"/>
              <a:gd name="T16" fmla="*/ 2147483646 w 91"/>
              <a:gd name="T17" fmla="*/ 2147483646 h 40"/>
              <a:gd name="T18" fmla="*/ 2147483646 w 91"/>
              <a:gd name="T19" fmla="*/ 2147483646 h 40"/>
              <a:gd name="T20" fmla="*/ 2147483646 w 91"/>
              <a:gd name="T21" fmla="*/ 2147483646 h 40"/>
              <a:gd name="T22" fmla="*/ 2147483646 w 91"/>
              <a:gd name="T23" fmla="*/ 2147483646 h 40"/>
              <a:gd name="T24" fmla="*/ 2147483646 w 91"/>
              <a:gd name="T25" fmla="*/ 2147483646 h 40"/>
              <a:gd name="T26" fmla="*/ 2147483646 w 91"/>
              <a:gd name="T27" fmla="*/ 2147483646 h 40"/>
              <a:gd name="T28" fmla="*/ 2147483646 w 91"/>
              <a:gd name="T29" fmla="*/ 2147483646 h 40"/>
              <a:gd name="T30" fmla="*/ 2147483646 w 91"/>
              <a:gd name="T31" fmla="*/ 2147483646 h 40"/>
              <a:gd name="T32" fmla="*/ 2147483646 w 91"/>
              <a:gd name="T33" fmla="*/ 2147483646 h 40"/>
              <a:gd name="T34" fmla="*/ 2147483646 w 91"/>
              <a:gd name="T35" fmla="*/ 2147483646 h 40"/>
              <a:gd name="T36" fmla="*/ 2147483646 w 91"/>
              <a:gd name="T37" fmla="*/ 2147483646 h 40"/>
              <a:gd name="T38" fmla="*/ 2147483646 w 91"/>
              <a:gd name="T39" fmla="*/ 2147483646 h 40"/>
              <a:gd name="T40" fmla="*/ 2147483646 w 91"/>
              <a:gd name="T41" fmla="*/ 2147483646 h 40"/>
              <a:gd name="T42" fmla="*/ 2147483646 w 91"/>
              <a:gd name="T43" fmla="*/ 2147483646 h 40"/>
              <a:gd name="T44" fmla="*/ 2147483646 w 91"/>
              <a:gd name="T45" fmla="*/ 2147483646 h 40"/>
              <a:gd name="T46" fmla="*/ 2147483646 w 91"/>
              <a:gd name="T47" fmla="*/ 2147483646 h 40"/>
              <a:gd name="T48" fmla="*/ 2147483646 w 91"/>
              <a:gd name="T49" fmla="*/ 2147483646 h 40"/>
              <a:gd name="T50" fmla="*/ 2147483646 w 91"/>
              <a:gd name="T51" fmla="*/ 2147483646 h 40"/>
              <a:gd name="T52" fmla="*/ 2147483646 w 91"/>
              <a:gd name="T53" fmla="*/ 2147483646 h 40"/>
              <a:gd name="T54" fmla="*/ 2147483646 w 91"/>
              <a:gd name="T55" fmla="*/ 2147483646 h 40"/>
              <a:gd name="T56" fmla="*/ 2147483646 w 91"/>
              <a:gd name="T57" fmla="*/ 2147483646 h 40"/>
              <a:gd name="T58" fmla="*/ 2147483646 w 91"/>
              <a:gd name="T59" fmla="*/ 2147483646 h 40"/>
              <a:gd name="T60" fmla="*/ 2147483646 w 91"/>
              <a:gd name="T61" fmla="*/ 2147483646 h 40"/>
              <a:gd name="T62" fmla="*/ 2147483646 w 91"/>
              <a:gd name="T63" fmla="*/ 2147483646 h 40"/>
              <a:gd name="T64" fmla="*/ 2147483646 w 91"/>
              <a:gd name="T65" fmla="*/ 2147483646 h 40"/>
              <a:gd name="T66" fmla="*/ 2147483646 w 91"/>
              <a:gd name="T67" fmla="*/ 2147483646 h 40"/>
              <a:gd name="T68" fmla="*/ 2147483646 w 91"/>
              <a:gd name="T69" fmla="*/ 2147483646 h 40"/>
              <a:gd name="T70" fmla="*/ 2147483646 w 91"/>
              <a:gd name="T71" fmla="*/ 2147483646 h 40"/>
              <a:gd name="T72" fmla="*/ 2147483646 w 91"/>
              <a:gd name="T73" fmla="*/ 2147483646 h 40"/>
              <a:gd name="T74" fmla="*/ 2147483646 w 91"/>
              <a:gd name="T75" fmla="*/ 2147483646 h 40"/>
              <a:gd name="T76" fmla="*/ 2147483646 w 91"/>
              <a:gd name="T77" fmla="*/ 2147483646 h 40"/>
              <a:gd name="T78" fmla="*/ 2147483646 w 91"/>
              <a:gd name="T79" fmla="*/ 2147483646 h 40"/>
              <a:gd name="T80" fmla="*/ 2147483646 w 91"/>
              <a:gd name="T81" fmla="*/ 2147483646 h 40"/>
              <a:gd name="T82" fmla="*/ 2147483646 w 91"/>
              <a:gd name="T83" fmla="*/ 2147483646 h 40"/>
              <a:gd name="T84" fmla="*/ 2147483646 w 91"/>
              <a:gd name="T85" fmla="*/ 2147483646 h 40"/>
              <a:gd name="T86" fmla="*/ 2147483646 w 91"/>
              <a:gd name="T87" fmla="*/ 2147483646 h 40"/>
              <a:gd name="T88" fmla="*/ 2147483646 w 91"/>
              <a:gd name="T89" fmla="*/ 2147483646 h 40"/>
              <a:gd name="T90" fmla="*/ 2147483646 w 91"/>
              <a:gd name="T91" fmla="*/ 2147483646 h 40"/>
              <a:gd name="T92" fmla="*/ 2147483646 w 91"/>
              <a:gd name="T93" fmla="*/ 2147483646 h 40"/>
              <a:gd name="T94" fmla="*/ 2147483646 w 91"/>
              <a:gd name="T95" fmla="*/ 2147483646 h 40"/>
              <a:gd name="T96" fmla="*/ 2147483646 w 91"/>
              <a:gd name="T97" fmla="*/ 0 h 40"/>
              <a:gd name="T98" fmla="*/ 2147483646 w 91"/>
              <a:gd name="T99" fmla="*/ 0 h 40"/>
              <a:gd name="T100" fmla="*/ 2147483646 w 91"/>
              <a:gd name="T101" fmla="*/ 2147483646 h 40"/>
              <a:gd name="T102" fmla="*/ 2147483646 w 91"/>
              <a:gd name="T103" fmla="*/ 2147483646 h 40"/>
              <a:gd name="T104" fmla="*/ 2147483646 w 91"/>
              <a:gd name="T105" fmla="*/ 2147483646 h 40"/>
              <a:gd name="T106" fmla="*/ 2147483646 w 91"/>
              <a:gd name="T107" fmla="*/ 2147483646 h 40"/>
              <a:gd name="T108" fmla="*/ 2147483646 w 91"/>
              <a:gd name="T109" fmla="*/ 2147483646 h 40"/>
              <a:gd name="T110" fmla="*/ 2147483646 w 91"/>
              <a:gd name="T111" fmla="*/ 2147483646 h 40"/>
              <a:gd name="T112" fmla="*/ 2147483646 w 91"/>
              <a:gd name="T113" fmla="*/ 2147483646 h 40"/>
              <a:gd name="T114" fmla="*/ 2147483646 w 91"/>
              <a:gd name="T115" fmla="*/ 2147483646 h 40"/>
              <a:gd name="T116" fmla="*/ 0 w 91"/>
              <a:gd name="T117" fmla="*/ 2147483646 h 40"/>
              <a:gd name="T118" fmla="*/ 0 w 91"/>
              <a:gd name="T119" fmla="*/ 2147483646 h 40"/>
              <a:gd name="T120" fmla="*/ 2147483646 w 91"/>
              <a:gd name="T121" fmla="*/ 2147483646 h 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1" h="40">
                <a:moveTo>
                  <a:pt x="1" y="37"/>
                </a:moveTo>
                <a:lnTo>
                  <a:pt x="4" y="40"/>
                </a:lnTo>
                <a:lnTo>
                  <a:pt x="6" y="40"/>
                </a:lnTo>
                <a:lnTo>
                  <a:pt x="10" y="37"/>
                </a:lnTo>
                <a:lnTo>
                  <a:pt x="10" y="36"/>
                </a:lnTo>
                <a:lnTo>
                  <a:pt x="12" y="35"/>
                </a:lnTo>
                <a:lnTo>
                  <a:pt x="13" y="36"/>
                </a:lnTo>
                <a:lnTo>
                  <a:pt x="14" y="35"/>
                </a:lnTo>
                <a:lnTo>
                  <a:pt x="22" y="29"/>
                </a:lnTo>
                <a:lnTo>
                  <a:pt x="25" y="30"/>
                </a:lnTo>
                <a:lnTo>
                  <a:pt x="26" y="29"/>
                </a:lnTo>
                <a:lnTo>
                  <a:pt x="29" y="30"/>
                </a:lnTo>
                <a:lnTo>
                  <a:pt x="33" y="29"/>
                </a:lnTo>
                <a:lnTo>
                  <a:pt x="33" y="27"/>
                </a:lnTo>
                <a:lnTo>
                  <a:pt x="33" y="28"/>
                </a:lnTo>
                <a:lnTo>
                  <a:pt x="34" y="26"/>
                </a:lnTo>
                <a:lnTo>
                  <a:pt x="37" y="27"/>
                </a:lnTo>
                <a:lnTo>
                  <a:pt x="38" y="26"/>
                </a:lnTo>
                <a:lnTo>
                  <a:pt x="40" y="26"/>
                </a:lnTo>
                <a:lnTo>
                  <a:pt x="49" y="19"/>
                </a:lnTo>
                <a:lnTo>
                  <a:pt x="53" y="18"/>
                </a:lnTo>
                <a:lnTo>
                  <a:pt x="63" y="18"/>
                </a:lnTo>
                <a:lnTo>
                  <a:pt x="65" y="18"/>
                </a:lnTo>
                <a:lnTo>
                  <a:pt x="66" y="17"/>
                </a:lnTo>
                <a:lnTo>
                  <a:pt x="67" y="17"/>
                </a:lnTo>
                <a:lnTo>
                  <a:pt x="67" y="15"/>
                </a:lnTo>
                <a:lnTo>
                  <a:pt x="65" y="14"/>
                </a:lnTo>
                <a:lnTo>
                  <a:pt x="63" y="12"/>
                </a:lnTo>
                <a:lnTo>
                  <a:pt x="64" y="12"/>
                </a:lnTo>
                <a:lnTo>
                  <a:pt x="66" y="14"/>
                </a:lnTo>
                <a:lnTo>
                  <a:pt x="69" y="14"/>
                </a:lnTo>
                <a:lnTo>
                  <a:pt x="67" y="11"/>
                </a:lnTo>
                <a:lnTo>
                  <a:pt x="68" y="12"/>
                </a:lnTo>
                <a:lnTo>
                  <a:pt x="71" y="12"/>
                </a:lnTo>
                <a:lnTo>
                  <a:pt x="72" y="12"/>
                </a:lnTo>
                <a:lnTo>
                  <a:pt x="76" y="9"/>
                </a:lnTo>
                <a:lnTo>
                  <a:pt x="79" y="9"/>
                </a:lnTo>
                <a:lnTo>
                  <a:pt x="82" y="8"/>
                </a:lnTo>
                <a:lnTo>
                  <a:pt x="84" y="6"/>
                </a:lnTo>
                <a:lnTo>
                  <a:pt x="84" y="5"/>
                </a:lnTo>
                <a:lnTo>
                  <a:pt x="85" y="4"/>
                </a:lnTo>
                <a:lnTo>
                  <a:pt x="87" y="4"/>
                </a:lnTo>
                <a:lnTo>
                  <a:pt x="87" y="3"/>
                </a:lnTo>
                <a:lnTo>
                  <a:pt x="91" y="2"/>
                </a:lnTo>
                <a:lnTo>
                  <a:pt x="91" y="1"/>
                </a:lnTo>
                <a:lnTo>
                  <a:pt x="85" y="0"/>
                </a:lnTo>
                <a:lnTo>
                  <a:pt x="80" y="0"/>
                </a:lnTo>
                <a:lnTo>
                  <a:pt x="66" y="5"/>
                </a:lnTo>
                <a:lnTo>
                  <a:pt x="36" y="14"/>
                </a:lnTo>
                <a:lnTo>
                  <a:pt x="28" y="16"/>
                </a:lnTo>
                <a:lnTo>
                  <a:pt x="21" y="18"/>
                </a:lnTo>
                <a:lnTo>
                  <a:pt x="14" y="19"/>
                </a:lnTo>
                <a:lnTo>
                  <a:pt x="10" y="19"/>
                </a:lnTo>
                <a:lnTo>
                  <a:pt x="5" y="26"/>
                </a:lnTo>
                <a:lnTo>
                  <a:pt x="1" y="30"/>
                </a:lnTo>
                <a:lnTo>
                  <a:pt x="0" y="32"/>
                </a:lnTo>
                <a:lnTo>
                  <a:pt x="0" y="37"/>
                </a:lnTo>
                <a:lnTo>
                  <a:pt x="1" y="3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5" name="Freeform 113"/>
          <p:cNvSpPr>
            <a:spLocks/>
          </p:cNvSpPr>
          <p:nvPr/>
        </p:nvSpPr>
        <p:spPr bwMode="auto">
          <a:xfrm>
            <a:off x="4610100" y="2230438"/>
            <a:ext cx="731838" cy="652462"/>
          </a:xfrm>
          <a:custGeom>
            <a:avLst/>
            <a:gdLst>
              <a:gd name="T0" fmla="*/ 2147483646 w 234"/>
              <a:gd name="T1" fmla="*/ 2147483646 h 226"/>
              <a:gd name="T2" fmla="*/ 2147483646 w 234"/>
              <a:gd name="T3" fmla="*/ 2147483646 h 226"/>
              <a:gd name="T4" fmla="*/ 2147483646 w 234"/>
              <a:gd name="T5" fmla="*/ 2147483646 h 226"/>
              <a:gd name="T6" fmla="*/ 2147483646 w 234"/>
              <a:gd name="T7" fmla="*/ 2147483646 h 226"/>
              <a:gd name="T8" fmla="*/ 2147483646 w 234"/>
              <a:gd name="T9" fmla="*/ 2147483646 h 226"/>
              <a:gd name="T10" fmla="*/ 2147483646 w 234"/>
              <a:gd name="T11" fmla="*/ 2147483646 h 226"/>
              <a:gd name="T12" fmla="*/ 2147483646 w 234"/>
              <a:gd name="T13" fmla="*/ 2147483646 h 226"/>
              <a:gd name="T14" fmla="*/ 0 w 234"/>
              <a:gd name="T15" fmla="*/ 2147483646 h 226"/>
              <a:gd name="T16" fmla="*/ 2147483646 w 234"/>
              <a:gd name="T17" fmla="*/ 2147483646 h 226"/>
              <a:gd name="T18" fmla="*/ 2147483646 w 234"/>
              <a:gd name="T19" fmla="*/ 2147483646 h 226"/>
              <a:gd name="T20" fmla="*/ 2147483646 w 234"/>
              <a:gd name="T21" fmla="*/ 2147483646 h 226"/>
              <a:gd name="T22" fmla="*/ 2147483646 w 234"/>
              <a:gd name="T23" fmla="*/ 2147483646 h 226"/>
              <a:gd name="T24" fmla="*/ 2147483646 w 234"/>
              <a:gd name="T25" fmla="*/ 2147483646 h 226"/>
              <a:gd name="T26" fmla="*/ 2147483646 w 234"/>
              <a:gd name="T27" fmla="*/ 2147483646 h 226"/>
              <a:gd name="T28" fmla="*/ 2147483646 w 234"/>
              <a:gd name="T29" fmla="*/ 2147483646 h 226"/>
              <a:gd name="T30" fmla="*/ 2147483646 w 234"/>
              <a:gd name="T31" fmla="*/ 2147483646 h 226"/>
              <a:gd name="T32" fmla="*/ 2147483646 w 234"/>
              <a:gd name="T33" fmla="*/ 2147483646 h 226"/>
              <a:gd name="T34" fmla="*/ 2147483646 w 234"/>
              <a:gd name="T35" fmla="*/ 2147483646 h 226"/>
              <a:gd name="T36" fmla="*/ 2147483646 w 234"/>
              <a:gd name="T37" fmla="*/ 2147483646 h 226"/>
              <a:gd name="T38" fmla="*/ 2147483646 w 234"/>
              <a:gd name="T39" fmla="*/ 2147483646 h 226"/>
              <a:gd name="T40" fmla="*/ 2147483646 w 234"/>
              <a:gd name="T41" fmla="*/ 2147483646 h 226"/>
              <a:gd name="T42" fmla="*/ 2147483646 w 234"/>
              <a:gd name="T43" fmla="*/ 2147483646 h 226"/>
              <a:gd name="T44" fmla="*/ 2147483646 w 234"/>
              <a:gd name="T45" fmla="*/ 2147483646 h 226"/>
              <a:gd name="T46" fmla="*/ 2147483646 w 234"/>
              <a:gd name="T47" fmla="*/ 2147483646 h 226"/>
              <a:gd name="T48" fmla="*/ 2147483646 w 234"/>
              <a:gd name="T49" fmla="*/ 2147483646 h 226"/>
              <a:gd name="T50" fmla="*/ 2147483646 w 234"/>
              <a:gd name="T51" fmla="*/ 2147483646 h 226"/>
              <a:gd name="T52" fmla="*/ 2147483646 w 234"/>
              <a:gd name="T53" fmla="*/ 2147483646 h 226"/>
              <a:gd name="T54" fmla="*/ 2147483646 w 234"/>
              <a:gd name="T55" fmla="*/ 2147483646 h 226"/>
              <a:gd name="T56" fmla="*/ 2147483646 w 234"/>
              <a:gd name="T57" fmla="*/ 2147483646 h 226"/>
              <a:gd name="T58" fmla="*/ 2147483646 w 234"/>
              <a:gd name="T59" fmla="*/ 2147483646 h 226"/>
              <a:gd name="T60" fmla="*/ 2147483646 w 234"/>
              <a:gd name="T61" fmla="*/ 2147483646 h 226"/>
              <a:gd name="T62" fmla="*/ 2147483646 w 234"/>
              <a:gd name="T63" fmla="*/ 2147483646 h 226"/>
              <a:gd name="T64" fmla="*/ 2147483646 w 234"/>
              <a:gd name="T65" fmla="*/ 2147483646 h 226"/>
              <a:gd name="T66" fmla="*/ 2147483646 w 234"/>
              <a:gd name="T67" fmla="*/ 2147483646 h 226"/>
              <a:gd name="T68" fmla="*/ 2147483646 w 234"/>
              <a:gd name="T69" fmla="*/ 2147483646 h 226"/>
              <a:gd name="T70" fmla="*/ 2147483646 w 234"/>
              <a:gd name="T71" fmla="*/ 2147483646 h 226"/>
              <a:gd name="T72" fmla="*/ 2147483646 w 234"/>
              <a:gd name="T73" fmla="*/ 2147483646 h 226"/>
              <a:gd name="T74" fmla="*/ 2147483646 w 234"/>
              <a:gd name="T75" fmla="*/ 2147483646 h 226"/>
              <a:gd name="T76" fmla="*/ 2147483646 w 234"/>
              <a:gd name="T77" fmla="*/ 2147483646 h 226"/>
              <a:gd name="T78" fmla="*/ 2147483646 w 234"/>
              <a:gd name="T79" fmla="*/ 2147483646 h 226"/>
              <a:gd name="T80" fmla="*/ 2147483646 w 234"/>
              <a:gd name="T81" fmla="*/ 2147483646 h 226"/>
              <a:gd name="T82" fmla="*/ 2147483646 w 234"/>
              <a:gd name="T83" fmla="*/ 2147483646 h 226"/>
              <a:gd name="T84" fmla="*/ 2147483646 w 234"/>
              <a:gd name="T85" fmla="*/ 2147483646 h 226"/>
              <a:gd name="T86" fmla="*/ 2147483646 w 234"/>
              <a:gd name="T87" fmla="*/ 2147483646 h 226"/>
              <a:gd name="T88" fmla="*/ 2147483646 w 234"/>
              <a:gd name="T89" fmla="*/ 2147483646 h 226"/>
              <a:gd name="T90" fmla="*/ 2147483646 w 234"/>
              <a:gd name="T91" fmla="*/ 2147483646 h 226"/>
              <a:gd name="T92" fmla="*/ 2147483646 w 234"/>
              <a:gd name="T93" fmla="*/ 2147483646 h 226"/>
              <a:gd name="T94" fmla="*/ 2147483646 w 234"/>
              <a:gd name="T95" fmla="*/ 2147483646 h 226"/>
              <a:gd name="T96" fmla="*/ 2147483646 w 234"/>
              <a:gd name="T97" fmla="*/ 2147483646 h 226"/>
              <a:gd name="T98" fmla="*/ 2147483646 w 234"/>
              <a:gd name="T99" fmla="*/ 2147483646 h 226"/>
              <a:gd name="T100" fmla="*/ 2147483646 w 234"/>
              <a:gd name="T101" fmla="*/ 2147483646 h 2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34" h="226">
                <a:moveTo>
                  <a:pt x="4" y="119"/>
                </a:moveTo>
                <a:lnTo>
                  <a:pt x="5" y="120"/>
                </a:lnTo>
                <a:lnTo>
                  <a:pt x="8" y="123"/>
                </a:lnTo>
                <a:lnTo>
                  <a:pt x="8" y="127"/>
                </a:lnTo>
                <a:lnTo>
                  <a:pt x="10" y="129"/>
                </a:lnTo>
                <a:lnTo>
                  <a:pt x="10" y="131"/>
                </a:lnTo>
                <a:lnTo>
                  <a:pt x="9" y="130"/>
                </a:lnTo>
                <a:lnTo>
                  <a:pt x="6" y="131"/>
                </a:lnTo>
                <a:lnTo>
                  <a:pt x="5" y="131"/>
                </a:lnTo>
                <a:lnTo>
                  <a:pt x="9" y="138"/>
                </a:lnTo>
                <a:lnTo>
                  <a:pt x="9" y="139"/>
                </a:lnTo>
                <a:lnTo>
                  <a:pt x="9" y="141"/>
                </a:lnTo>
                <a:lnTo>
                  <a:pt x="9" y="143"/>
                </a:lnTo>
                <a:lnTo>
                  <a:pt x="11" y="143"/>
                </a:lnTo>
                <a:lnTo>
                  <a:pt x="11" y="146"/>
                </a:lnTo>
                <a:lnTo>
                  <a:pt x="9" y="149"/>
                </a:lnTo>
                <a:lnTo>
                  <a:pt x="9" y="152"/>
                </a:lnTo>
                <a:lnTo>
                  <a:pt x="12" y="161"/>
                </a:lnTo>
                <a:lnTo>
                  <a:pt x="12" y="165"/>
                </a:lnTo>
                <a:lnTo>
                  <a:pt x="12" y="166"/>
                </a:lnTo>
                <a:lnTo>
                  <a:pt x="12" y="167"/>
                </a:lnTo>
                <a:lnTo>
                  <a:pt x="12" y="170"/>
                </a:lnTo>
                <a:lnTo>
                  <a:pt x="9" y="170"/>
                </a:lnTo>
                <a:lnTo>
                  <a:pt x="9" y="171"/>
                </a:lnTo>
                <a:lnTo>
                  <a:pt x="10" y="173"/>
                </a:lnTo>
                <a:lnTo>
                  <a:pt x="11" y="177"/>
                </a:lnTo>
                <a:lnTo>
                  <a:pt x="11" y="182"/>
                </a:lnTo>
                <a:lnTo>
                  <a:pt x="11" y="183"/>
                </a:lnTo>
                <a:lnTo>
                  <a:pt x="9" y="184"/>
                </a:lnTo>
                <a:lnTo>
                  <a:pt x="3" y="187"/>
                </a:lnTo>
                <a:lnTo>
                  <a:pt x="0" y="191"/>
                </a:lnTo>
                <a:lnTo>
                  <a:pt x="2" y="191"/>
                </a:lnTo>
                <a:lnTo>
                  <a:pt x="1" y="192"/>
                </a:lnTo>
                <a:lnTo>
                  <a:pt x="1" y="195"/>
                </a:lnTo>
                <a:lnTo>
                  <a:pt x="9" y="202"/>
                </a:lnTo>
                <a:lnTo>
                  <a:pt x="13" y="204"/>
                </a:lnTo>
                <a:lnTo>
                  <a:pt x="15" y="205"/>
                </a:lnTo>
                <a:lnTo>
                  <a:pt x="19" y="204"/>
                </a:lnTo>
                <a:lnTo>
                  <a:pt x="24" y="203"/>
                </a:lnTo>
                <a:lnTo>
                  <a:pt x="41" y="210"/>
                </a:lnTo>
                <a:lnTo>
                  <a:pt x="45" y="211"/>
                </a:lnTo>
                <a:lnTo>
                  <a:pt x="47" y="210"/>
                </a:lnTo>
                <a:lnTo>
                  <a:pt x="49" y="209"/>
                </a:lnTo>
                <a:lnTo>
                  <a:pt x="50" y="208"/>
                </a:lnTo>
                <a:lnTo>
                  <a:pt x="51" y="206"/>
                </a:lnTo>
                <a:lnTo>
                  <a:pt x="54" y="204"/>
                </a:lnTo>
                <a:lnTo>
                  <a:pt x="57" y="205"/>
                </a:lnTo>
                <a:lnTo>
                  <a:pt x="61" y="202"/>
                </a:lnTo>
                <a:lnTo>
                  <a:pt x="64" y="201"/>
                </a:lnTo>
                <a:lnTo>
                  <a:pt x="67" y="203"/>
                </a:lnTo>
                <a:lnTo>
                  <a:pt x="67" y="207"/>
                </a:lnTo>
                <a:lnTo>
                  <a:pt x="68" y="207"/>
                </a:lnTo>
                <a:lnTo>
                  <a:pt x="68" y="208"/>
                </a:lnTo>
                <a:lnTo>
                  <a:pt x="69" y="208"/>
                </a:lnTo>
                <a:lnTo>
                  <a:pt x="69" y="206"/>
                </a:lnTo>
                <a:lnTo>
                  <a:pt x="70" y="206"/>
                </a:lnTo>
                <a:lnTo>
                  <a:pt x="70" y="205"/>
                </a:lnTo>
                <a:lnTo>
                  <a:pt x="71" y="205"/>
                </a:lnTo>
                <a:lnTo>
                  <a:pt x="71" y="206"/>
                </a:lnTo>
                <a:lnTo>
                  <a:pt x="73" y="206"/>
                </a:lnTo>
                <a:lnTo>
                  <a:pt x="77" y="207"/>
                </a:lnTo>
                <a:lnTo>
                  <a:pt x="78" y="208"/>
                </a:lnTo>
                <a:lnTo>
                  <a:pt x="79" y="207"/>
                </a:lnTo>
                <a:lnTo>
                  <a:pt x="79" y="209"/>
                </a:lnTo>
                <a:lnTo>
                  <a:pt x="84" y="210"/>
                </a:lnTo>
                <a:lnTo>
                  <a:pt x="93" y="218"/>
                </a:lnTo>
                <a:lnTo>
                  <a:pt x="94" y="223"/>
                </a:lnTo>
                <a:lnTo>
                  <a:pt x="99" y="220"/>
                </a:lnTo>
                <a:lnTo>
                  <a:pt x="105" y="224"/>
                </a:lnTo>
                <a:lnTo>
                  <a:pt x="108" y="224"/>
                </a:lnTo>
                <a:lnTo>
                  <a:pt x="113" y="226"/>
                </a:lnTo>
                <a:lnTo>
                  <a:pt x="117" y="224"/>
                </a:lnTo>
                <a:lnTo>
                  <a:pt x="118" y="221"/>
                </a:lnTo>
                <a:lnTo>
                  <a:pt x="120" y="220"/>
                </a:lnTo>
                <a:lnTo>
                  <a:pt x="123" y="217"/>
                </a:lnTo>
                <a:lnTo>
                  <a:pt x="123" y="215"/>
                </a:lnTo>
                <a:lnTo>
                  <a:pt x="125" y="213"/>
                </a:lnTo>
                <a:lnTo>
                  <a:pt x="131" y="214"/>
                </a:lnTo>
                <a:lnTo>
                  <a:pt x="132" y="211"/>
                </a:lnTo>
                <a:lnTo>
                  <a:pt x="134" y="210"/>
                </a:lnTo>
                <a:lnTo>
                  <a:pt x="136" y="214"/>
                </a:lnTo>
                <a:lnTo>
                  <a:pt x="139" y="218"/>
                </a:lnTo>
                <a:lnTo>
                  <a:pt x="141" y="218"/>
                </a:lnTo>
                <a:lnTo>
                  <a:pt x="145" y="217"/>
                </a:lnTo>
                <a:lnTo>
                  <a:pt x="146" y="219"/>
                </a:lnTo>
                <a:lnTo>
                  <a:pt x="149" y="217"/>
                </a:lnTo>
                <a:lnTo>
                  <a:pt x="152" y="214"/>
                </a:lnTo>
                <a:lnTo>
                  <a:pt x="151" y="210"/>
                </a:lnTo>
                <a:lnTo>
                  <a:pt x="158" y="210"/>
                </a:lnTo>
                <a:lnTo>
                  <a:pt x="168" y="206"/>
                </a:lnTo>
                <a:lnTo>
                  <a:pt x="168" y="204"/>
                </a:lnTo>
                <a:lnTo>
                  <a:pt x="177" y="197"/>
                </a:lnTo>
                <a:lnTo>
                  <a:pt x="186" y="192"/>
                </a:lnTo>
                <a:lnTo>
                  <a:pt x="191" y="184"/>
                </a:lnTo>
                <a:lnTo>
                  <a:pt x="198" y="178"/>
                </a:lnTo>
                <a:lnTo>
                  <a:pt x="208" y="179"/>
                </a:lnTo>
                <a:lnTo>
                  <a:pt x="214" y="185"/>
                </a:lnTo>
                <a:lnTo>
                  <a:pt x="227" y="176"/>
                </a:lnTo>
                <a:lnTo>
                  <a:pt x="234" y="161"/>
                </a:lnTo>
                <a:lnTo>
                  <a:pt x="220" y="142"/>
                </a:lnTo>
                <a:lnTo>
                  <a:pt x="220" y="129"/>
                </a:lnTo>
                <a:lnTo>
                  <a:pt x="207" y="124"/>
                </a:lnTo>
                <a:lnTo>
                  <a:pt x="209" y="119"/>
                </a:lnTo>
                <a:lnTo>
                  <a:pt x="205" y="118"/>
                </a:lnTo>
                <a:lnTo>
                  <a:pt x="201" y="114"/>
                </a:lnTo>
                <a:lnTo>
                  <a:pt x="197" y="112"/>
                </a:lnTo>
                <a:lnTo>
                  <a:pt x="183" y="111"/>
                </a:lnTo>
                <a:lnTo>
                  <a:pt x="178" y="104"/>
                </a:lnTo>
                <a:lnTo>
                  <a:pt x="178" y="96"/>
                </a:lnTo>
                <a:lnTo>
                  <a:pt x="179" y="91"/>
                </a:lnTo>
                <a:lnTo>
                  <a:pt x="181" y="87"/>
                </a:lnTo>
                <a:lnTo>
                  <a:pt x="182" y="83"/>
                </a:lnTo>
                <a:lnTo>
                  <a:pt x="186" y="80"/>
                </a:lnTo>
                <a:lnTo>
                  <a:pt x="189" y="77"/>
                </a:lnTo>
                <a:lnTo>
                  <a:pt x="189" y="73"/>
                </a:lnTo>
                <a:lnTo>
                  <a:pt x="187" y="70"/>
                </a:lnTo>
                <a:lnTo>
                  <a:pt x="186" y="67"/>
                </a:lnTo>
                <a:lnTo>
                  <a:pt x="190" y="64"/>
                </a:lnTo>
                <a:lnTo>
                  <a:pt x="191" y="60"/>
                </a:lnTo>
                <a:lnTo>
                  <a:pt x="192" y="58"/>
                </a:lnTo>
                <a:lnTo>
                  <a:pt x="194" y="55"/>
                </a:lnTo>
                <a:lnTo>
                  <a:pt x="194" y="52"/>
                </a:lnTo>
                <a:lnTo>
                  <a:pt x="195" y="48"/>
                </a:lnTo>
                <a:lnTo>
                  <a:pt x="198" y="48"/>
                </a:lnTo>
                <a:lnTo>
                  <a:pt x="199" y="45"/>
                </a:lnTo>
                <a:lnTo>
                  <a:pt x="203" y="42"/>
                </a:lnTo>
                <a:lnTo>
                  <a:pt x="201" y="40"/>
                </a:lnTo>
                <a:lnTo>
                  <a:pt x="201" y="30"/>
                </a:lnTo>
                <a:lnTo>
                  <a:pt x="198" y="28"/>
                </a:lnTo>
                <a:lnTo>
                  <a:pt x="192" y="27"/>
                </a:lnTo>
                <a:lnTo>
                  <a:pt x="187" y="25"/>
                </a:lnTo>
                <a:lnTo>
                  <a:pt x="182" y="23"/>
                </a:lnTo>
                <a:lnTo>
                  <a:pt x="177" y="21"/>
                </a:lnTo>
                <a:lnTo>
                  <a:pt x="175" y="15"/>
                </a:lnTo>
                <a:lnTo>
                  <a:pt x="176" y="10"/>
                </a:lnTo>
                <a:lnTo>
                  <a:pt x="180" y="0"/>
                </a:lnTo>
                <a:lnTo>
                  <a:pt x="171" y="4"/>
                </a:lnTo>
                <a:lnTo>
                  <a:pt x="160" y="1"/>
                </a:lnTo>
                <a:lnTo>
                  <a:pt x="159" y="3"/>
                </a:lnTo>
                <a:lnTo>
                  <a:pt x="157" y="1"/>
                </a:lnTo>
                <a:lnTo>
                  <a:pt x="157" y="2"/>
                </a:lnTo>
                <a:lnTo>
                  <a:pt x="155" y="2"/>
                </a:lnTo>
                <a:lnTo>
                  <a:pt x="144" y="3"/>
                </a:lnTo>
                <a:lnTo>
                  <a:pt x="135" y="6"/>
                </a:lnTo>
                <a:lnTo>
                  <a:pt x="134" y="5"/>
                </a:lnTo>
                <a:lnTo>
                  <a:pt x="133" y="6"/>
                </a:lnTo>
                <a:lnTo>
                  <a:pt x="123" y="10"/>
                </a:lnTo>
                <a:lnTo>
                  <a:pt x="121" y="8"/>
                </a:lnTo>
                <a:lnTo>
                  <a:pt x="117" y="10"/>
                </a:lnTo>
                <a:lnTo>
                  <a:pt x="116" y="9"/>
                </a:lnTo>
                <a:lnTo>
                  <a:pt x="108" y="14"/>
                </a:lnTo>
                <a:lnTo>
                  <a:pt x="105" y="16"/>
                </a:lnTo>
                <a:lnTo>
                  <a:pt x="103" y="16"/>
                </a:lnTo>
                <a:lnTo>
                  <a:pt x="101" y="18"/>
                </a:lnTo>
                <a:lnTo>
                  <a:pt x="96" y="20"/>
                </a:lnTo>
                <a:lnTo>
                  <a:pt x="95" y="20"/>
                </a:lnTo>
                <a:lnTo>
                  <a:pt x="94" y="20"/>
                </a:lnTo>
                <a:lnTo>
                  <a:pt x="90" y="23"/>
                </a:lnTo>
                <a:lnTo>
                  <a:pt x="83" y="27"/>
                </a:lnTo>
                <a:lnTo>
                  <a:pt x="79" y="29"/>
                </a:lnTo>
                <a:lnTo>
                  <a:pt x="77" y="31"/>
                </a:lnTo>
                <a:lnTo>
                  <a:pt x="76" y="31"/>
                </a:lnTo>
                <a:lnTo>
                  <a:pt x="73" y="33"/>
                </a:lnTo>
                <a:lnTo>
                  <a:pt x="72" y="32"/>
                </a:lnTo>
                <a:lnTo>
                  <a:pt x="70" y="34"/>
                </a:lnTo>
                <a:lnTo>
                  <a:pt x="69" y="34"/>
                </a:lnTo>
                <a:lnTo>
                  <a:pt x="66" y="35"/>
                </a:lnTo>
                <a:lnTo>
                  <a:pt x="65" y="36"/>
                </a:lnTo>
                <a:lnTo>
                  <a:pt x="64" y="37"/>
                </a:lnTo>
                <a:lnTo>
                  <a:pt x="60" y="37"/>
                </a:lnTo>
                <a:lnTo>
                  <a:pt x="60" y="38"/>
                </a:lnTo>
                <a:lnTo>
                  <a:pt x="57" y="38"/>
                </a:lnTo>
                <a:lnTo>
                  <a:pt x="51" y="41"/>
                </a:lnTo>
                <a:lnTo>
                  <a:pt x="46" y="47"/>
                </a:lnTo>
                <a:lnTo>
                  <a:pt x="44" y="51"/>
                </a:lnTo>
                <a:lnTo>
                  <a:pt x="40" y="54"/>
                </a:lnTo>
                <a:lnTo>
                  <a:pt x="37" y="57"/>
                </a:lnTo>
                <a:lnTo>
                  <a:pt x="26" y="65"/>
                </a:lnTo>
                <a:lnTo>
                  <a:pt x="25" y="66"/>
                </a:lnTo>
                <a:lnTo>
                  <a:pt x="20" y="71"/>
                </a:lnTo>
                <a:lnTo>
                  <a:pt x="18" y="75"/>
                </a:lnTo>
                <a:lnTo>
                  <a:pt x="15" y="83"/>
                </a:lnTo>
                <a:lnTo>
                  <a:pt x="14" y="84"/>
                </a:lnTo>
                <a:lnTo>
                  <a:pt x="14" y="85"/>
                </a:lnTo>
                <a:lnTo>
                  <a:pt x="15" y="85"/>
                </a:lnTo>
                <a:lnTo>
                  <a:pt x="15" y="86"/>
                </a:lnTo>
                <a:lnTo>
                  <a:pt x="13" y="86"/>
                </a:lnTo>
                <a:lnTo>
                  <a:pt x="12" y="88"/>
                </a:lnTo>
                <a:lnTo>
                  <a:pt x="14" y="89"/>
                </a:lnTo>
                <a:lnTo>
                  <a:pt x="12" y="95"/>
                </a:lnTo>
                <a:lnTo>
                  <a:pt x="11" y="106"/>
                </a:lnTo>
                <a:lnTo>
                  <a:pt x="10" y="108"/>
                </a:lnTo>
                <a:lnTo>
                  <a:pt x="5" y="111"/>
                </a:lnTo>
                <a:lnTo>
                  <a:pt x="6" y="113"/>
                </a:lnTo>
                <a:lnTo>
                  <a:pt x="5" y="116"/>
                </a:lnTo>
                <a:lnTo>
                  <a:pt x="4" y="117"/>
                </a:lnTo>
                <a:lnTo>
                  <a:pt x="4" y="120"/>
                </a:lnTo>
                <a:lnTo>
                  <a:pt x="4" y="119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6" name="Freeform 114"/>
          <p:cNvSpPr>
            <a:spLocks/>
          </p:cNvSpPr>
          <p:nvPr/>
        </p:nvSpPr>
        <p:spPr bwMode="auto">
          <a:xfrm>
            <a:off x="3841750" y="3963988"/>
            <a:ext cx="61913" cy="28575"/>
          </a:xfrm>
          <a:custGeom>
            <a:avLst/>
            <a:gdLst>
              <a:gd name="T0" fmla="*/ 2147483646 w 20"/>
              <a:gd name="T1" fmla="*/ 2147483646 h 10"/>
              <a:gd name="T2" fmla="*/ 2147483646 w 20"/>
              <a:gd name="T3" fmla="*/ 0 h 10"/>
              <a:gd name="T4" fmla="*/ 0 w 20"/>
              <a:gd name="T5" fmla="*/ 0 h 10"/>
              <a:gd name="T6" fmla="*/ 0 w 20"/>
              <a:gd name="T7" fmla="*/ 2147483646 h 10"/>
              <a:gd name="T8" fmla="*/ 2147483646 w 20"/>
              <a:gd name="T9" fmla="*/ 2147483646 h 10"/>
              <a:gd name="T10" fmla="*/ 2147483646 w 20"/>
              <a:gd name="T11" fmla="*/ 2147483646 h 10"/>
              <a:gd name="T12" fmla="*/ 2147483646 w 20"/>
              <a:gd name="T13" fmla="*/ 2147483646 h 10"/>
              <a:gd name="T14" fmla="*/ 2147483646 w 20"/>
              <a:gd name="T15" fmla="*/ 2147483646 h 10"/>
              <a:gd name="T16" fmla="*/ 2147483646 w 20"/>
              <a:gd name="T17" fmla="*/ 2147483646 h 10"/>
              <a:gd name="T18" fmla="*/ 2147483646 w 20"/>
              <a:gd name="T19" fmla="*/ 2147483646 h 10"/>
              <a:gd name="T20" fmla="*/ 2147483646 w 20"/>
              <a:gd name="T21" fmla="*/ 2147483646 h 10"/>
              <a:gd name="T22" fmla="*/ 2147483646 w 20"/>
              <a:gd name="T23" fmla="*/ 2147483646 h 10"/>
              <a:gd name="T24" fmla="*/ 2147483646 w 20"/>
              <a:gd name="T25" fmla="*/ 2147483646 h 1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10">
                <a:moveTo>
                  <a:pt x="7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3" y="4"/>
                </a:lnTo>
                <a:lnTo>
                  <a:pt x="4" y="6"/>
                </a:lnTo>
                <a:lnTo>
                  <a:pt x="12" y="10"/>
                </a:lnTo>
                <a:lnTo>
                  <a:pt x="14" y="10"/>
                </a:lnTo>
                <a:lnTo>
                  <a:pt x="18" y="9"/>
                </a:lnTo>
                <a:lnTo>
                  <a:pt x="20" y="9"/>
                </a:lnTo>
                <a:lnTo>
                  <a:pt x="20" y="8"/>
                </a:lnTo>
                <a:lnTo>
                  <a:pt x="10" y="2"/>
                </a:lnTo>
                <a:lnTo>
                  <a:pt x="7" y="2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7" name="Freeform 115"/>
          <p:cNvSpPr>
            <a:spLocks/>
          </p:cNvSpPr>
          <p:nvPr/>
        </p:nvSpPr>
        <p:spPr bwMode="auto">
          <a:xfrm>
            <a:off x="3929063" y="4021138"/>
            <a:ext cx="25400" cy="19050"/>
          </a:xfrm>
          <a:custGeom>
            <a:avLst/>
            <a:gdLst>
              <a:gd name="T0" fmla="*/ 2147483646 w 8"/>
              <a:gd name="T1" fmla="*/ 2147483646 h 7"/>
              <a:gd name="T2" fmla="*/ 2147483646 w 8"/>
              <a:gd name="T3" fmla="*/ 0 h 7"/>
              <a:gd name="T4" fmla="*/ 2147483646 w 8"/>
              <a:gd name="T5" fmla="*/ 0 h 7"/>
              <a:gd name="T6" fmla="*/ 2147483646 w 8"/>
              <a:gd name="T7" fmla="*/ 2147483646 h 7"/>
              <a:gd name="T8" fmla="*/ 2147483646 w 8"/>
              <a:gd name="T9" fmla="*/ 2147483646 h 7"/>
              <a:gd name="T10" fmla="*/ 0 w 8"/>
              <a:gd name="T11" fmla="*/ 2147483646 h 7"/>
              <a:gd name="T12" fmla="*/ 0 w 8"/>
              <a:gd name="T13" fmla="*/ 2147483646 h 7"/>
              <a:gd name="T14" fmla="*/ 2147483646 w 8"/>
              <a:gd name="T15" fmla="*/ 2147483646 h 7"/>
              <a:gd name="T16" fmla="*/ 2147483646 w 8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7">
                <a:moveTo>
                  <a:pt x="4" y="3"/>
                </a:moveTo>
                <a:lnTo>
                  <a:pt x="8" y="0"/>
                </a:lnTo>
                <a:lnTo>
                  <a:pt x="3" y="3"/>
                </a:lnTo>
                <a:lnTo>
                  <a:pt x="0" y="6"/>
                </a:lnTo>
                <a:lnTo>
                  <a:pt x="0" y="7"/>
                </a:lnTo>
                <a:lnTo>
                  <a:pt x="3" y="4"/>
                </a:lnTo>
                <a:lnTo>
                  <a:pt x="4" y="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8" name="Freeform 116"/>
          <p:cNvSpPr>
            <a:spLocks/>
          </p:cNvSpPr>
          <p:nvPr/>
        </p:nvSpPr>
        <p:spPr bwMode="auto">
          <a:xfrm>
            <a:off x="3662363" y="3367088"/>
            <a:ext cx="947737" cy="654050"/>
          </a:xfrm>
          <a:custGeom>
            <a:avLst/>
            <a:gdLst>
              <a:gd name="T0" fmla="*/ 2147483646 w 303"/>
              <a:gd name="T1" fmla="*/ 2147483646 h 227"/>
              <a:gd name="T2" fmla="*/ 2147483646 w 303"/>
              <a:gd name="T3" fmla="*/ 2147483646 h 227"/>
              <a:gd name="T4" fmla="*/ 2147483646 w 303"/>
              <a:gd name="T5" fmla="*/ 2147483646 h 227"/>
              <a:gd name="T6" fmla="*/ 2147483646 w 303"/>
              <a:gd name="T7" fmla="*/ 2147483646 h 227"/>
              <a:gd name="T8" fmla="*/ 2147483646 w 303"/>
              <a:gd name="T9" fmla="*/ 2147483646 h 227"/>
              <a:gd name="T10" fmla="*/ 2147483646 w 303"/>
              <a:gd name="T11" fmla="*/ 2147483646 h 227"/>
              <a:gd name="T12" fmla="*/ 2147483646 w 303"/>
              <a:gd name="T13" fmla="*/ 2147483646 h 227"/>
              <a:gd name="T14" fmla="*/ 2147483646 w 303"/>
              <a:gd name="T15" fmla="*/ 2147483646 h 227"/>
              <a:gd name="T16" fmla="*/ 2147483646 w 303"/>
              <a:gd name="T17" fmla="*/ 2147483646 h 227"/>
              <a:gd name="T18" fmla="*/ 2147483646 w 303"/>
              <a:gd name="T19" fmla="*/ 2147483646 h 227"/>
              <a:gd name="T20" fmla="*/ 2147483646 w 303"/>
              <a:gd name="T21" fmla="*/ 2147483646 h 227"/>
              <a:gd name="T22" fmla="*/ 2147483646 w 303"/>
              <a:gd name="T23" fmla="*/ 2147483646 h 227"/>
              <a:gd name="T24" fmla="*/ 2147483646 w 303"/>
              <a:gd name="T25" fmla="*/ 2147483646 h 227"/>
              <a:gd name="T26" fmla="*/ 2147483646 w 303"/>
              <a:gd name="T27" fmla="*/ 2147483646 h 227"/>
              <a:gd name="T28" fmla="*/ 2147483646 w 303"/>
              <a:gd name="T29" fmla="*/ 2147483646 h 227"/>
              <a:gd name="T30" fmla="*/ 2147483646 w 303"/>
              <a:gd name="T31" fmla="*/ 2147483646 h 227"/>
              <a:gd name="T32" fmla="*/ 2147483646 w 303"/>
              <a:gd name="T33" fmla="*/ 2147483646 h 227"/>
              <a:gd name="T34" fmla="*/ 2147483646 w 303"/>
              <a:gd name="T35" fmla="*/ 2147483646 h 227"/>
              <a:gd name="T36" fmla="*/ 2147483646 w 303"/>
              <a:gd name="T37" fmla="*/ 2147483646 h 227"/>
              <a:gd name="T38" fmla="*/ 2147483646 w 303"/>
              <a:gd name="T39" fmla="*/ 2147483646 h 227"/>
              <a:gd name="T40" fmla="*/ 2147483646 w 303"/>
              <a:gd name="T41" fmla="*/ 2147483646 h 227"/>
              <a:gd name="T42" fmla="*/ 2147483646 w 303"/>
              <a:gd name="T43" fmla="*/ 2147483646 h 227"/>
              <a:gd name="T44" fmla="*/ 2147483646 w 303"/>
              <a:gd name="T45" fmla="*/ 2147483646 h 227"/>
              <a:gd name="T46" fmla="*/ 2147483646 w 303"/>
              <a:gd name="T47" fmla="*/ 2147483646 h 227"/>
              <a:gd name="T48" fmla="*/ 2147483646 w 303"/>
              <a:gd name="T49" fmla="*/ 2147483646 h 227"/>
              <a:gd name="T50" fmla="*/ 2147483646 w 303"/>
              <a:gd name="T51" fmla="*/ 2147483646 h 227"/>
              <a:gd name="T52" fmla="*/ 2147483646 w 303"/>
              <a:gd name="T53" fmla="*/ 2147483646 h 227"/>
              <a:gd name="T54" fmla="*/ 2147483646 w 303"/>
              <a:gd name="T55" fmla="*/ 2147483646 h 227"/>
              <a:gd name="T56" fmla="*/ 2147483646 w 303"/>
              <a:gd name="T57" fmla="*/ 2147483646 h 227"/>
              <a:gd name="T58" fmla="*/ 2147483646 w 303"/>
              <a:gd name="T59" fmla="*/ 2147483646 h 227"/>
              <a:gd name="T60" fmla="*/ 2147483646 w 303"/>
              <a:gd name="T61" fmla="*/ 2147483646 h 227"/>
              <a:gd name="T62" fmla="*/ 2147483646 w 303"/>
              <a:gd name="T63" fmla="*/ 2147483646 h 227"/>
              <a:gd name="T64" fmla="*/ 2147483646 w 303"/>
              <a:gd name="T65" fmla="*/ 2147483646 h 227"/>
              <a:gd name="T66" fmla="*/ 2147483646 w 303"/>
              <a:gd name="T67" fmla="*/ 2147483646 h 227"/>
              <a:gd name="T68" fmla="*/ 2147483646 w 303"/>
              <a:gd name="T69" fmla="*/ 2147483646 h 227"/>
              <a:gd name="T70" fmla="*/ 2147483646 w 303"/>
              <a:gd name="T71" fmla="*/ 2147483646 h 227"/>
              <a:gd name="T72" fmla="*/ 2147483646 w 303"/>
              <a:gd name="T73" fmla="*/ 2147483646 h 227"/>
              <a:gd name="T74" fmla="*/ 2147483646 w 303"/>
              <a:gd name="T75" fmla="*/ 2147483646 h 227"/>
              <a:gd name="T76" fmla="*/ 2147483646 w 303"/>
              <a:gd name="T77" fmla="*/ 2147483646 h 227"/>
              <a:gd name="T78" fmla="*/ 2147483646 w 303"/>
              <a:gd name="T79" fmla="*/ 2147483646 h 227"/>
              <a:gd name="T80" fmla="*/ 2147483646 w 303"/>
              <a:gd name="T81" fmla="*/ 2147483646 h 227"/>
              <a:gd name="T82" fmla="*/ 2147483646 w 303"/>
              <a:gd name="T83" fmla="*/ 2147483646 h 227"/>
              <a:gd name="T84" fmla="*/ 2147483646 w 303"/>
              <a:gd name="T85" fmla="*/ 2147483646 h 227"/>
              <a:gd name="T86" fmla="*/ 2147483646 w 303"/>
              <a:gd name="T87" fmla="*/ 2147483646 h 227"/>
              <a:gd name="T88" fmla="*/ 2147483646 w 303"/>
              <a:gd name="T89" fmla="*/ 2147483646 h 227"/>
              <a:gd name="T90" fmla="*/ 2147483646 w 303"/>
              <a:gd name="T91" fmla="*/ 2147483646 h 227"/>
              <a:gd name="T92" fmla="*/ 2147483646 w 303"/>
              <a:gd name="T93" fmla="*/ 2147483646 h 227"/>
              <a:gd name="T94" fmla="*/ 2147483646 w 303"/>
              <a:gd name="T95" fmla="*/ 2147483646 h 227"/>
              <a:gd name="T96" fmla="*/ 2147483646 w 303"/>
              <a:gd name="T97" fmla="*/ 2147483646 h 227"/>
              <a:gd name="T98" fmla="*/ 2147483646 w 303"/>
              <a:gd name="T99" fmla="*/ 2147483646 h 227"/>
              <a:gd name="T100" fmla="*/ 2147483646 w 303"/>
              <a:gd name="T101" fmla="*/ 2147483646 h 227"/>
              <a:gd name="T102" fmla="*/ 2147483646 w 303"/>
              <a:gd name="T103" fmla="*/ 2147483646 h 227"/>
              <a:gd name="T104" fmla="*/ 2147483646 w 303"/>
              <a:gd name="T105" fmla="*/ 2147483646 h 227"/>
              <a:gd name="T106" fmla="*/ 2147483646 w 303"/>
              <a:gd name="T107" fmla="*/ 2147483646 h 227"/>
              <a:gd name="T108" fmla="*/ 2147483646 w 303"/>
              <a:gd name="T109" fmla="*/ 2147483646 h 227"/>
              <a:gd name="T110" fmla="*/ 2147483646 w 303"/>
              <a:gd name="T111" fmla="*/ 2147483646 h 227"/>
              <a:gd name="T112" fmla="*/ 2147483646 w 303"/>
              <a:gd name="T113" fmla="*/ 2147483646 h 227"/>
              <a:gd name="T114" fmla="*/ 2147483646 w 303"/>
              <a:gd name="T115" fmla="*/ 2147483646 h 227"/>
              <a:gd name="T116" fmla="*/ 2147483646 w 303"/>
              <a:gd name="T117" fmla="*/ 2147483646 h 227"/>
              <a:gd name="T118" fmla="*/ 2147483646 w 303"/>
              <a:gd name="T119" fmla="*/ 2147483646 h 227"/>
              <a:gd name="T120" fmla="*/ 2147483646 w 303"/>
              <a:gd name="T121" fmla="*/ 2147483646 h 227"/>
              <a:gd name="T122" fmla="*/ 2147483646 w 303"/>
              <a:gd name="T123" fmla="*/ 2147483646 h 227"/>
              <a:gd name="T124" fmla="*/ 2147483646 w 303"/>
              <a:gd name="T125" fmla="*/ 2147483646 h 22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303" h="227">
                <a:moveTo>
                  <a:pt x="270" y="186"/>
                </a:moveTo>
                <a:lnTo>
                  <a:pt x="270" y="186"/>
                </a:lnTo>
                <a:lnTo>
                  <a:pt x="273" y="187"/>
                </a:lnTo>
                <a:lnTo>
                  <a:pt x="274" y="188"/>
                </a:lnTo>
                <a:lnTo>
                  <a:pt x="275" y="189"/>
                </a:lnTo>
                <a:lnTo>
                  <a:pt x="277" y="189"/>
                </a:lnTo>
                <a:lnTo>
                  <a:pt x="278" y="189"/>
                </a:lnTo>
                <a:lnTo>
                  <a:pt x="287" y="185"/>
                </a:lnTo>
                <a:lnTo>
                  <a:pt x="289" y="183"/>
                </a:lnTo>
                <a:lnTo>
                  <a:pt x="292" y="181"/>
                </a:lnTo>
                <a:lnTo>
                  <a:pt x="294" y="179"/>
                </a:lnTo>
                <a:lnTo>
                  <a:pt x="295" y="176"/>
                </a:lnTo>
                <a:lnTo>
                  <a:pt x="296" y="173"/>
                </a:lnTo>
                <a:lnTo>
                  <a:pt x="297" y="171"/>
                </a:lnTo>
                <a:lnTo>
                  <a:pt x="297" y="167"/>
                </a:lnTo>
                <a:lnTo>
                  <a:pt x="297" y="164"/>
                </a:lnTo>
                <a:lnTo>
                  <a:pt x="297" y="158"/>
                </a:lnTo>
                <a:lnTo>
                  <a:pt x="296" y="153"/>
                </a:lnTo>
                <a:lnTo>
                  <a:pt x="295" y="148"/>
                </a:lnTo>
                <a:lnTo>
                  <a:pt x="295" y="145"/>
                </a:lnTo>
                <a:lnTo>
                  <a:pt x="295" y="143"/>
                </a:lnTo>
                <a:lnTo>
                  <a:pt x="296" y="140"/>
                </a:lnTo>
                <a:lnTo>
                  <a:pt x="297" y="137"/>
                </a:lnTo>
                <a:lnTo>
                  <a:pt x="299" y="135"/>
                </a:lnTo>
                <a:lnTo>
                  <a:pt x="302" y="132"/>
                </a:lnTo>
                <a:lnTo>
                  <a:pt x="303" y="130"/>
                </a:lnTo>
                <a:lnTo>
                  <a:pt x="299" y="132"/>
                </a:lnTo>
                <a:lnTo>
                  <a:pt x="298" y="134"/>
                </a:lnTo>
                <a:lnTo>
                  <a:pt x="295" y="135"/>
                </a:lnTo>
                <a:lnTo>
                  <a:pt x="291" y="135"/>
                </a:lnTo>
                <a:lnTo>
                  <a:pt x="282" y="130"/>
                </a:lnTo>
                <a:lnTo>
                  <a:pt x="277" y="127"/>
                </a:lnTo>
                <a:lnTo>
                  <a:pt x="274" y="128"/>
                </a:lnTo>
                <a:lnTo>
                  <a:pt x="270" y="133"/>
                </a:lnTo>
                <a:lnTo>
                  <a:pt x="267" y="134"/>
                </a:lnTo>
                <a:lnTo>
                  <a:pt x="262" y="131"/>
                </a:lnTo>
                <a:lnTo>
                  <a:pt x="258" y="129"/>
                </a:lnTo>
                <a:lnTo>
                  <a:pt x="255" y="126"/>
                </a:lnTo>
                <a:lnTo>
                  <a:pt x="252" y="122"/>
                </a:lnTo>
                <a:lnTo>
                  <a:pt x="249" y="119"/>
                </a:lnTo>
                <a:lnTo>
                  <a:pt x="245" y="118"/>
                </a:lnTo>
                <a:lnTo>
                  <a:pt x="241" y="119"/>
                </a:lnTo>
                <a:lnTo>
                  <a:pt x="237" y="122"/>
                </a:lnTo>
                <a:lnTo>
                  <a:pt x="236" y="123"/>
                </a:lnTo>
                <a:lnTo>
                  <a:pt x="231" y="127"/>
                </a:lnTo>
                <a:lnTo>
                  <a:pt x="231" y="130"/>
                </a:lnTo>
                <a:lnTo>
                  <a:pt x="229" y="130"/>
                </a:lnTo>
                <a:lnTo>
                  <a:pt x="225" y="128"/>
                </a:lnTo>
                <a:lnTo>
                  <a:pt x="222" y="127"/>
                </a:lnTo>
                <a:lnTo>
                  <a:pt x="220" y="128"/>
                </a:lnTo>
                <a:lnTo>
                  <a:pt x="218" y="131"/>
                </a:lnTo>
                <a:lnTo>
                  <a:pt x="216" y="133"/>
                </a:lnTo>
                <a:lnTo>
                  <a:pt x="212" y="133"/>
                </a:lnTo>
                <a:lnTo>
                  <a:pt x="211" y="132"/>
                </a:lnTo>
                <a:lnTo>
                  <a:pt x="208" y="133"/>
                </a:lnTo>
                <a:lnTo>
                  <a:pt x="205" y="139"/>
                </a:lnTo>
                <a:lnTo>
                  <a:pt x="202" y="140"/>
                </a:lnTo>
                <a:lnTo>
                  <a:pt x="198" y="141"/>
                </a:lnTo>
                <a:lnTo>
                  <a:pt x="195" y="140"/>
                </a:lnTo>
                <a:lnTo>
                  <a:pt x="192" y="132"/>
                </a:lnTo>
                <a:lnTo>
                  <a:pt x="189" y="128"/>
                </a:lnTo>
                <a:lnTo>
                  <a:pt x="188" y="128"/>
                </a:lnTo>
                <a:lnTo>
                  <a:pt x="182" y="119"/>
                </a:lnTo>
                <a:lnTo>
                  <a:pt x="186" y="118"/>
                </a:lnTo>
                <a:lnTo>
                  <a:pt x="190" y="116"/>
                </a:lnTo>
                <a:lnTo>
                  <a:pt x="189" y="112"/>
                </a:lnTo>
                <a:lnTo>
                  <a:pt x="186" y="113"/>
                </a:lnTo>
                <a:lnTo>
                  <a:pt x="181" y="113"/>
                </a:lnTo>
                <a:lnTo>
                  <a:pt x="179" y="114"/>
                </a:lnTo>
                <a:lnTo>
                  <a:pt x="178" y="111"/>
                </a:lnTo>
                <a:lnTo>
                  <a:pt x="179" y="110"/>
                </a:lnTo>
                <a:lnTo>
                  <a:pt x="180" y="107"/>
                </a:lnTo>
                <a:lnTo>
                  <a:pt x="181" y="107"/>
                </a:lnTo>
                <a:lnTo>
                  <a:pt x="182" y="105"/>
                </a:lnTo>
                <a:lnTo>
                  <a:pt x="185" y="100"/>
                </a:lnTo>
                <a:lnTo>
                  <a:pt x="190" y="98"/>
                </a:lnTo>
                <a:lnTo>
                  <a:pt x="194" y="94"/>
                </a:lnTo>
                <a:lnTo>
                  <a:pt x="185" y="95"/>
                </a:lnTo>
                <a:lnTo>
                  <a:pt x="184" y="92"/>
                </a:lnTo>
                <a:lnTo>
                  <a:pt x="183" y="80"/>
                </a:lnTo>
                <a:lnTo>
                  <a:pt x="182" y="79"/>
                </a:lnTo>
                <a:lnTo>
                  <a:pt x="177" y="74"/>
                </a:lnTo>
                <a:lnTo>
                  <a:pt x="179" y="73"/>
                </a:lnTo>
                <a:lnTo>
                  <a:pt x="180" y="70"/>
                </a:lnTo>
                <a:lnTo>
                  <a:pt x="180" y="69"/>
                </a:lnTo>
                <a:lnTo>
                  <a:pt x="181" y="68"/>
                </a:lnTo>
                <a:lnTo>
                  <a:pt x="182" y="69"/>
                </a:lnTo>
                <a:lnTo>
                  <a:pt x="186" y="67"/>
                </a:lnTo>
                <a:lnTo>
                  <a:pt x="187" y="68"/>
                </a:lnTo>
                <a:lnTo>
                  <a:pt x="188" y="68"/>
                </a:lnTo>
                <a:lnTo>
                  <a:pt x="191" y="70"/>
                </a:lnTo>
                <a:lnTo>
                  <a:pt x="190" y="71"/>
                </a:lnTo>
                <a:lnTo>
                  <a:pt x="191" y="72"/>
                </a:lnTo>
                <a:lnTo>
                  <a:pt x="194" y="70"/>
                </a:lnTo>
                <a:lnTo>
                  <a:pt x="194" y="69"/>
                </a:lnTo>
                <a:lnTo>
                  <a:pt x="193" y="63"/>
                </a:lnTo>
                <a:lnTo>
                  <a:pt x="199" y="61"/>
                </a:lnTo>
                <a:lnTo>
                  <a:pt x="190" y="55"/>
                </a:lnTo>
                <a:lnTo>
                  <a:pt x="186" y="53"/>
                </a:lnTo>
                <a:lnTo>
                  <a:pt x="181" y="46"/>
                </a:lnTo>
                <a:lnTo>
                  <a:pt x="177" y="46"/>
                </a:lnTo>
                <a:lnTo>
                  <a:pt x="174" y="47"/>
                </a:lnTo>
                <a:lnTo>
                  <a:pt x="170" y="39"/>
                </a:lnTo>
                <a:lnTo>
                  <a:pt x="169" y="40"/>
                </a:lnTo>
                <a:lnTo>
                  <a:pt x="164" y="41"/>
                </a:lnTo>
                <a:lnTo>
                  <a:pt x="163" y="44"/>
                </a:lnTo>
                <a:lnTo>
                  <a:pt x="160" y="43"/>
                </a:lnTo>
                <a:lnTo>
                  <a:pt x="160" y="35"/>
                </a:lnTo>
                <a:lnTo>
                  <a:pt x="155" y="35"/>
                </a:lnTo>
                <a:lnTo>
                  <a:pt x="153" y="36"/>
                </a:lnTo>
                <a:lnTo>
                  <a:pt x="150" y="37"/>
                </a:lnTo>
                <a:lnTo>
                  <a:pt x="147" y="36"/>
                </a:lnTo>
                <a:lnTo>
                  <a:pt x="143" y="39"/>
                </a:lnTo>
                <a:lnTo>
                  <a:pt x="138" y="41"/>
                </a:lnTo>
                <a:lnTo>
                  <a:pt x="132" y="41"/>
                </a:lnTo>
                <a:lnTo>
                  <a:pt x="127" y="40"/>
                </a:lnTo>
                <a:lnTo>
                  <a:pt x="123" y="40"/>
                </a:lnTo>
                <a:lnTo>
                  <a:pt x="122" y="38"/>
                </a:lnTo>
                <a:lnTo>
                  <a:pt x="123" y="36"/>
                </a:lnTo>
                <a:lnTo>
                  <a:pt x="124" y="34"/>
                </a:lnTo>
                <a:lnTo>
                  <a:pt x="125" y="29"/>
                </a:lnTo>
                <a:lnTo>
                  <a:pt x="126" y="22"/>
                </a:lnTo>
                <a:lnTo>
                  <a:pt x="130" y="18"/>
                </a:lnTo>
                <a:lnTo>
                  <a:pt x="132" y="12"/>
                </a:lnTo>
                <a:lnTo>
                  <a:pt x="134" y="5"/>
                </a:lnTo>
                <a:lnTo>
                  <a:pt x="132" y="4"/>
                </a:lnTo>
                <a:lnTo>
                  <a:pt x="130" y="5"/>
                </a:lnTo>
                <a:lnTo>
                  <a:pt x="126" y="4"/>
                </a:lnTo>
                <a:lnTo>
                  <a:pt x="125" y="6"/>
                </a:lnTo>
                <a:lnTo>
                  <a:pt x="111" y="0"/>
                </a:lnTo>
                <a:lnTo>
                  <a:pt x="104" y="14"/>
                </a:lnTo>
                <a:lnTo>
                  <a:pt x="91" y="38"/>
                </a:lnTo>
                <a:lnTo>
                  <a:pt x="84" y="50"/>
                </a:lnTo>
                <a:lnTo>
                  <a:pt x="71" y="68"/>
                </a:lnTo>
                <a:lnTo>
                  <a:pt x="68" y="71"/>
                </a:lnTo>
                <a:lnTo>
                  <a:pt x="57" y="82"/>
                </a:lnTo>
                <a:lnTo>
                  <a:pt x="54" y="86"/>
                </a:lnTo>
                <a:lnTo>
                  <a:pt x="44" y="98"/>
                </a:lnTo>
                <a:lnTo>
                  <a:pt x="43" y="99"/>
                </a:lnTo>
                <a:lnTo>
                  <a:pt x="34" y="109"/>
                </a:lnTo>
                <a:lnTo>
                  <a:pt x="28" y="117"/>
                </a:lnTo>
                <a:lnTo>
                  <a:pt x="20" y="123"/>
                </a:lnTo>
                <a:lnTo>
                  <a:pt x="6" y="122"/>
                </a:lnTo>
                <a:lnTo>
                  <a:pt x="4" y="122"/>
                </a:lnTo>
                <a:lnTo>
                  <a:pt x="3" y="124"/>
                </a:lnTo>
                <a:lnTo>
                  <a:pt x="0" y="129"/>
                </a:lnTo>
                <a:lnTo>
                  <a:pt x="1" y="131"/>
                </a:lnTo>
                <a:lnTo>
                  <a:pt x="4" y="134"/>
                </a:lnTo>
                <a:lnTo>
                  <a:pt x="4" y="137"/>
                </a:lnTo>
                <a:lnTo>
                  <a:pt x="5" y="143"/>
                </a:lnTo>
                <a:lnTo>
                  <a:pt x="5" y="144"/>
                </a:lnTo>
                <a:lnTo>
                  <a:pt x="5" y="145"/>
                </a:lnTo>
                <a:lnTo>
                  <a:pt x="7" y="148"/>
                </a:lnTo>
                <a:lnTo>
                  <a:pt x="8" y="145"/>
                </a:lnTo>
                <a:lnTo>
                  <a:pt x="11" y="148"/>
                </a:lnTo>
                <a:lnTo>
                  <a:pt x="5" y="158"/>
                </a:lnTo>
                <a:lnTo>
                  <a:pt x="12" y="169"/>
                </a:lnTo>
                <a:lnTo>
                  <a:pt x="13" y="171"/>
                </a:lnTo>
                <a:lnTo>
                  <a:pt x="12" y="174"/>
                </a:lnTo>
                <a:lnTo>
                  <a:pt x="10" y="177"/>
                </a:lnTo>
                <a:lnTo>
                  <a:pt x="11" y="178"/>
                </a:lnTo>
                <a:lnTo>
                  <a:pt x="13" y="176"/>
                </a:lnTo>
                <a:lnTo>
                  <a:pt x="15" y="175"/>
                </a:lnTo>
                <a:lnTo>
                  <a:pt x="18" y="179"/>
                </a:lnTo>
                <a:lnTo>
                  <a:pt x="22" y="180"/>
                </a:lnTo>
                <a:lnTo>
                  <a:pt x="24" y="182"/>
                </a:lnTo>
                <a:lnTo>
                  <a:pt x="25" y="181"/>
                </a:lnTo>
                <a:lnTo>
                  <a:pt x="26" y="181"/>
                </a:lnTo>
                <a:lnTo>
                  <a:pt x="26" y="182"/>
                </a:lnTo>
                <a:lnTo>
                  <a:pt x="26" y="183"/>
                </a:lnTo>
                <a:lnTo>
                  <a:pt x="28" y="182"/>
                </a:lnTo>
                <a:lnTo>
                  <a:pt x="32" y="182"/>
                </a:lnTo>
                <a:lnTo>
                  <a:pt x="33" y="183"/>
                </a:lnTo>
                <a:lnTo>
                  <a:pt x="39" y="188"/>
                </a:lnTo>
                <a:lnTo>
                  <a:pt x="44" y="190"/>
                </a:lnTo>
                <a:lnTo>
                  <a:pt x="47" y="193"/>
                </a:lnTo>
                <a:lnTo>
                  <a:pt x="48" y="194"/>
                </a:lnTo>
                <a:lnTo>
                  <a:pt x="52" y="196"/>
                </a:lnTo>
                <a:lnTo>
                  <a:pt x="52" y="197"/>
                </a:lnTo>
                <a:lnTo>
                  <a:pt x="51" y="197"/>
                </a:lnTo>
                <a:lnTo>
                  <a:pt x="50" y="197"/>
                </a:lnTo>
                <a:lnTo>
                  <a:pt x="53" y="202"/>
                </a:lnTo>
                <a:lnTo>
                  <a:pt x="54" y="203"/>
                </a:lnTo>
                <a:lnTo>
                  <a:pt x="63" y="205"/>
                </a:lnTo>
                <a:lnTo>
                  <a:pt x="70" y="208"/>
                </a:lnTo>
                <a:lnTo>
                  <a:pt x="71" y="209"/>
                </a:lnTo>
                <a:lnTo>
                  <a:pt x="89" y="219"/>
                </a:lnTo>
                <a:lnTo>
                  <a:pt x="93" y="220"/>
                </a:lnTo>
                <a:lnTo>
                  <a:pt x="97" y="221"/>
                </a:lnTo>
                <a:lnTo>
                  <a:pt x="104" y="223"/>
                </a:lnTo>
                <a:lnTo>
                  <a:pt x="114" y="227"/>
                </a:lnTo>
                <a:lnTo>
                  <a:pt x="118" y="227"/>
                </a:lnTo>
                <a:lnTo>
                  <a:pt x="134" y="221"/>
                </a:lnTo>
                <a:lnTo>
                  <a:pt x="136" y="219"/>
                </a:lnTo>
                <a:lnTo>
                  <a:pt x="138" y="216"/>
                </a:lnTo>
                <a:lnTo>
                  <a:pt x="139" y="217"/>
                </a:lnTo>
                <a:lnTo>
                  <a:pt x="138" y="219"/>
                </a:lnTo>
                <a:lnTo>
                  <a:pt x="139" y="220"/>
                </a:lnTo>
                <a:lnTo>
                  <a:pt x="141" y="219"/>
                </a:lnTo>
                <a:lnTo>
                  <a:pt x="143" y="217"/>
                </a:lnTo>
                <a:lnTo>
                  <a:pt x="143" y="215"/>
                </a:lnTo>
                <a:lnTo>
                  <a:pt x="146" y="210"/>
                </a:lnTo>
                <a:lnTo>
                  <a:pt x="148" y="208"/>
                </a:lnTo>
                <a:lnTo>
                  <a:pt x="151" y="206"/>
                </a:lnTo>
                <a:lnTo>
                  <a:pt x="152" y="208"/>
                </a:lnTo>
                <a:lnTo>
                  <a:pt x="150" y="209"/>
                </a:lnTo>
                <a:lnTo>
                  <a:pt x="149" y="211"/>
                </a:lnTo>
                <a:lnTo>
                  <a:pt x="149" y="212"/>
                </a:lnTo>
                <a:lnTo>
                  <a:pt x="151" y="212"/>
                </a:lnTo>
                <a:lnTo>
                  <a:pt x="152" y="214"/>
                </a:lnTo>
                <a:lnTo>
                  <a:pt x="154" y="214"/>
                </a:lnTo>
                <a:lnTo>
                  <a:pt x="158" y="212"/>
                </a:lnTo>
                <a:lnTo>
                  <a:pt x="159" y="212"/>
                </a:lnTo>
                <a:lnTo>
                  <a:pt x="162" y="210"/>
                </a:lnTo>
                <a:lnTo>
                  <a:pt x="164" y="208"/>
                </a:lnTo>
                <a:lnTo>
                  <a:pt x="166" y="204"/>
                </a:lnTo>
                <a:lnTo>
                  <a:pt x="167" y="197"/>
                </a:lnTo>
                <a:lnTo>
                  <a:pt x="170" y="195"/>
                </a:lnTo>
                <a:lnTo>
                  <a:pt x="172" y="193"/>
                </a:lnTo>
                <a:lnTo>
                  <a:pt x="174" y="193"/>
                </a:lnTo>
                <a:lnTo>
                  <a:pt x="179" y="191"/>
                </a:lnTo>
                <a:lnTo>
                  <a:pt x="185" y="192"/>
                </a:lnTo>
                <a:lnTo>
                  <a:pt x="189" y="191"/>
                </a:lnTo>
                <a:lnTo>
                  <a:pt x="192" y="189"/>
                </a:lnTo>
                <a:lnTo>
                  <a:pt x="195" y="186"/>
                </a:lnTo>
                <a:lnTo>
                  <a:pt x="198" y="184"/>
                </a:lnTo>
                <a:lnTo>
                  <a:pt x="198" y="183"/>
                </a:lnTo>
                <a:lnTo>
                  <a:pt x="202" y="182"/>
                </a:lnTo>
                <a:lnTo>
                  <a:pt x="207" y="181"/>
                </a:lnTo>
                <a:lnTo>
                  <a:pt x="211" y="182"/>
                </a:lnTo>
                <a:lnTo>
                  <a:pt x="221" y="184"/>
                </a:lnTo>
                <a:lnTo>
                  <a:pt x="224" y="187"/>
                </a:lnTo>
                <a:lnTo>
                  <a:pt x="233" y="193"/>
                </a:lnTo>
                <a:lnTo>
                  <a:pt x="236" y="198"/>
                </a:lnTo>
                <a:lnTo>
                  <a:pt x="237" y="199"/>
                </a:lnTo>
                <a:lnTo>
                  <a:pt x="243" y="196"/>
                </a:lnTo>
                <a:lnTo>
                  <a:pt x="244" y="197"/>
                </a:lnTo>
                <a:lnTo>
                  <a:pt x="249" y="193"/>
                </a:lnTo>
                <a:lnTo>
                  <a:pt x="256" y="189"/>
                </a:lnTo>
                <a:lnTo>
                  <a:pt x="260" y="188"/>
                </a:lnTo>
                <a:lnTo>
                  <a:pt x="263" y="186"/>
                </a:lnTo>
                <a:lnTo>
                  <a:pt x="267" y="186"/>
                </a:lnTo>
                <a:lnTo>
                  <a:pt x="269" y="186"/>
                </a:lnTo>
                <a:lnTo>
                  <a:pt x="270" y="18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39" name="Freeform 117"/>
          <p:cNvSpPr>
            <a:spLocks/>
          </p:cNvSpPr>
          <p:nvPr/>
        </p:nvSpPr>
        <p:spPr bwMode="auto">
          <a:xfrm>
            <a:off x="4167188" y="2470150"/>
            <a:ext cx="136525" cy="204788"/>
          </a:xfrm>
          <a:custGeom>
            <a:avLst/>
            <a:gdLst>
              <a:gd name="T0" fmla="*/ 2147483646 w 44"/>
              <a:gd name="T1" fmla="*/ 2147483646 h 71"/>
              <a:gd name="T2" fmla="*/ 2147483646 w 44"/>
              <a:gd name="T3" fmla="*/ 2147483646 h 71"/>
              <a:gd name="T4" fmla="*/ 2147483646 w 44"/>
              <a:gd name="T5" fmla="*/ 2147483646 h 71"/>
              <a:gd name="T6" fmla="*/ 2147483646 w 44"/>
              <a:gd name="T7" fmla="*/ 2147483646 h 71"/>
              <a:gd name="T8" fmla="*/ 2147483646 w 44"/>
              <a:gd name="T9" fmla="*/ 2147483646 h 71"/>
              <a:gd name="T10" fmla="*/ 2147483646 w 44"/>
              <a:gd name="T11" fmla="*/ 2147483646 h 71"/>
              <a:gd name="T12" fmla="*/ 2147483646 w 44"/>
              <a:gd name="T13" fmla="*/ 2147483646 h 71"/>
              <a:gd name="T14" fmla="*/ 2147483646 w 44"/>
              <a:gd name="T15" fmla="*/ 2147483646 h 71"/>
              <a:gd name="T16" fmla="*/ 2147483646 w 44"/>
              <a:gd name="T17" fmla="*/ 2147483646 h 71"/>
              <a:gd name="T18" fmla="*/ 2147483646 w 44"/>
              <a:gd name="T19" fmla="*/ 2147483646 h 71"/>
              <a:gd name="T20" fmla="*/ 2147483646 w 44"/>
              <a:gd name="T21" fmla="*/ 2147483646 h 71"/>
              <a:gd name="T22" fmla="*/ 2147483646 w 44"/>
              <a:gd name="T23" fmla="*/ 2147483646 h 71"/>
              <a:gd name="T24" fmla="*/ 2147483646 w 44"/>
              <a:gd name="T25" fmla="*/ 2147483646 h 71"/>
              <a:gd name="T26" fmla="*/ 2147483646 w 44"/>
              <a:gd name="T27" fmla="*/ 2147483646 h 71"/>
              <a:gd name="T28" fmla="*/ 2147483646 w 44"/>
              <a:gd name="T29" fmla="*/ 2147483646 h 71"/>
              <a:gd name="T30" fmla="*/ 2147483646 w 44"/>
              <a:gd name="T31" fmla="*/ 2147483646 h 71"/>
              <a:gd name="T32" fmla="*/ 2147483646 w 44"/>
              <a:gd name="T33" fmla="*/ 2147483646 h 71"/>
              <a:gd name="T34" fmla="*/ 2147483646 w 44"/>
              <a:gd name="T35" fmla="*/ 2147483646 h 71"/>
              <a:gd name="T36" fmla="*/ 2147483646 w 44"/>
              <a:gd name="T37" fmla="*/ 2147483646 h 71"/>
              <a:gd name="T38" fmla="*/ 2147483646 w 44"/>
              <a:gd name="T39" fmla="*/ 2147483646 h 71"/>
              <a:gd name="T40" fmla="*/ 2147483646 w 44"/>
              <a:gd name="T41" fmla="*/ 2147483646 h 71"/>
              <a:gd name="T42" fmla="*/ 2147483646 w 44"/>
              <a:gd name="T43" fmla="*/ 2147483646 h 71"/>
              <a:gd name="T44" fmla="*/ 2147483646 w 44"/>
              <a:gd name="T45" fmla="*/ 2147483646 h 71"/>
              <a:gd name="T46" fmla="*/ 2147483646 w 44"/>
              <a:gd name="T47" fmla="*/ 2147483646 h 71"/>
              <a:gd name="T48" fmla="*/ 2147483646 w 44"/>
              <a:gd name="T49" fmla="*/ 2147483646 h 71"/>
              <a:gd name="T50" fmla="*/ 2147483646 w 44"/>
              <a:gd name="T51" fmla="*/ 2147483646 h 71"/>
              <a:gd name="T52" fmla="*/ 2147483646 w 44"/>
              <a:gd name="T53" fmla="*/ 2147483646 h 71"/>
              <a:gd name="T54" fmla="*/ 2147483646 w 44"/>
              <a:gd name="T55" fmla="*/ 2147483646 h 71"/>
              <a:gd name="T56" fmla="*/ 2147483646 w 44"/>
              <a:gd name="T57" fmla="*/ 2147483646 h 71"/>
              <a:gd name="T58" fmla="*/ 2147483646 w 44"/>
              <a:gd name="T59" fmla="*/ 2147483646 h 71"/>
              <a:gd name="T60" fmla="*/ 2147483646 w 44"/>
              <a:gd name="T61" fmla="*/ 2147483646 h 71"/>
              <a:gd name="T62" fmla="*/ 2147483646 w 44"/>
              <a:gd name="T63" fmla="*/ 2147483646 h 71"/>
              <a:gd name="T64" fmla="*/ 2147483646 w 44"/>
              <a:gd name="T65" fmla="*/ 2147483646 h 71"/>
              <a:gd name="T66" fmla="*/ 2147483646 w 44"/>
              <a:gd name="T67" fmla="*/ 2147483646 h 71"/>
              <a:gd name="T68" fmla="*/ 2147483646 w 44"/>
              <a:gd name="T69" fmla="*/ 2147483646 h 71"/>
              <a:gd name="T70" fmla="*/ 2147483646 w 44"/>
              <a:gd name="T71" fmla="*/ 2147483646 h 71"/>
              <a:gd name="T72" fmla="*/ 2147483646 w 44"/>
              <a:gd name="T73" fmla="*/ 2147483646 h 71"/>
              <a:gd name="T74" fmla="*/ 2147483646 w 44"/>
              <a:gd name="T75" fmla="*/ 2147483646 h 71"/>
              <a:gd name="T76" fmla="*/ 2147483646 w 44"/>
              <a:gd name="T77" fmla="*/ 2147483646 h 71"/>
              <a:gd name="T78" fmla="*/ 2147483646 w 44"/>
              <a:gd name="T79" fmla="*/ 2147483646 h 71"/>
              <a:gd name="T80" fmla="*/ 2147483646 w 44"/>
              <a:gd name="T81" fmla="*/ 2147483646 h 71"/>
              <a:gd name="T82" fmla="*/ 2147483646 w 44"/>
              <a:gd name="T83" fmla="*/ 2147483646 h 71"/>
              <a:gd name="T84" fmla="*/ 2147483646 w 44"/>
              <a:gd name="T85" fmla="*/ 2147483646 h 71"/>
              <a:gd name="T86" fmla="*/ 2147483646 w 44"/>
              <a:gd name="T87" fmla="*/ 2147483646 h 71"/>
              <a:gd name="T88" fmla="*/ 2147483646 w 44"/>
              <a:gd name="T89" fmla="*/ 0 h 71"/>
              <a:gd name="T90" fmla="*/ 2147483646 w 44"/>
              <a:gd name="T91" fmla="*/ 2147483646 h 71"/>
              <a:gd name="T92" fmla="*/ 2147483646 w 44"/>
              <a:gd name="T93" fmla="*/ 2147483646 h 71"/>
              <a:gd name="T94" fmla="*/ 2147483646 w 44"/>
              <a:gd name="T95" fmla="*/ 2147483646 h 71"/>
              <a:gd name="T96" fmla="*/ 2147483646 w 44"/>
              <a:gd name="T97" fmla="*/ 2147483646 h 71"/>
              <a:gd name="T98" fmla="*/ 2147483646 w 44"/>
              <a:gd name="T99" fmla="*/ 2147483646 h 71"/>
              <a:gd name="T100" fmla="*/ 0 w 44"/>
              <a:gd name="T101" fmla="*/ 2147483646 h 71"/>
              <a:gd name="T102" fmla="*/ 0 w 44"/>
              <a:gd name="T103" fmla="*/ 2147483646 h 71"/>
              <a:gd name="T104" fmla="*/ 2147483646 w 44"/>
              <a:gd name="T105" fmla="*/ 2147483646 h 71"/>
              <a:gd name="T106" fmla="*/ 2147483646 w 44"/>
              <a:gd name="T107" fmla="*/ 2147483646 h 7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4" h="71">
                <a:moveTo>
                  <a:pt x="2" y="68"/>
                </a:moveTo>
                <a:lnTo>
                  <a:pt x="4" y="71"/>
                </a:lnTo>
                <a:lnTo>
                  <a:pt x="6" y="71"/>
                </a:lnTo>
                <a:lnTo>
                  <a:pt x="7" y="70"/>
                </a:lnTo>
                <a:lnTo>
                  <a:pt x="8" y="69"/>
                </a:lnTo>
                <a:lnTo>
                  <a:pt x="10" y="70"/>
                </a:lnTo>
                <a:lnTo>
                  <a:pt x="10" y="69"/>
                </a:lnTo>
                <a:lnTo>
                  <a:pt x="12" y="68"/>
                </a:lnTo>
                <a:lnTo>
                  <a:pt x="13" y="67"/>
                </a:lnTo>
                <a:lnTo>
                  <a:pt x="15" y="67"/>
                </a:lnTo>
                <a:lnTo>
                  <a:pt x="14" y="67"/>
                </a:lnTo>
                <a:lnTo>
                  <a:pt x="11" y="65"/>
                </a:lnTo>
                <a:lnTo>
                  <a:pt x="10" y="63"/>
                </a:lnTo>
                <a:lnTo>
                  <a:pt x="11" y="63"/>
                </a:lnTo>
                <a:lnTo>
                  <a:pt x="13" y="63"/>
                </a:lnTo>
                <a:lnTo>
                  <a:pt x="15" y="64"/>
                </a:lnTo>
                <a:lnTo>
                  <a:pt x="17" y="66"/>
                </a:lnTo>
                <a:lnTo>
                  <a:pt x="18" y="66"/>
                </a:lnTo>
                <a:lnTo>
                  <a:pt x="19" y="65"/>
                </a:lnTo>
                <a:lnTo>
                  <a:pt x="20" y="64"/>
                </a:lnTo>
                <a:lnTo>
                  <a:pt x="19" y="64"/>
                </a:lnTo>
                <a:lnTo>
                  <a:pt x="19" y="63"/>
                </a:lnTo>
                <a:lnTo>
                  <a:pt x="25" y="56"/>
                </a:lnTo>
                <a:lnTo>
                  <a:pt x="30" y="55"/>
                </a:lnTo>
                <a:lnTo>
                  <a:pt x="32" y="52"/>
                </a:lnTo>
                <a:lnTo>
                  <a:pt x="36" y="47"/>
                </a:lnTo>
                <a:lnTo>
                  <a:pt x="36" y="46"/>
                </a:lnTo>
                <a:lnTo>
                  <a:pt x="37" y="43"/>
                </a:lnTo>
                <a:lnTo>
                  <a:pt x="39" y="40"/>
                </a:lnTo>
                <a:lnTo>
                  <a:pt x="40" y="40"/>
                </a:lnTo>
                <a:lnTo>
                  <a:pt x="42" y="38"/>
                </a:lnTo>
                <a:lnTo>
                  <a:pt x="42" y="37"/>
                </a:lnTo>
                <a:lnTo>
                  <a:pt x="42" y="35"/>
                </a:lnTo>
                <a:lnTo>
                  <a:pt x="43" y="30"/>
                </a:lnTo>
                <a:lnTo>
                  <a:pt x="42" y="21"/>
                </a:lnTo>
                <a:lnTo>
                  <a:pt x="43" y="20"/>
                </a:lnTo>
                <a:lnTo>
                  <a:pt x="44" y="19"/>
                </a:lnTo>
                <a:lnTo>
                  <a:pt x="44" y="18"/>
                </a:lnTo>
                <a:lnTo>
                  <a:pt x="40" y="9"/>
                </a:lnTo>
                <a:lnTo>
                  <a:pt x="38" y="9"/>
                </a:lnTo>
                <a:lnTo>
                  <a:pt x="38" y="7"/>
                </a:lnTo>
                <a:lnTo>
                  <a:pt x="37" y="4"/>
                </a:lnTo>
                <a:lnTo>
                  <a:pt x="35" y="1"/>
                </a:lnTo>
                <a:lnTo>
                  <a:pt x="33" y="0"/>
                </a:lnTo>
                <a:lnTo>
                  <a:pt x="30" y="2"/>
                </a:lnTo>
                <a:lnTo>
                  <a:pt x="27" y="5"/>
                </a:lnTo>
                <a:lnTo>
                  <a:pt x="9" y="33"/>
                </a:lnTo>
                <a:lnTo>
                  <a:pt x="2" y="47"/>
                </a:lnTo>
                <a:lnTo>
                  <a:pt x="1" y="51"/>
                </a:lnTo>
                <a:lnTo>
                  <a:pt x="0" y="56"/>
                </a:lnTo>
                <a:lnTo>
                  <a:pt x="0" y="62"/>
                </a:lnTo>
                <a:lnTo>
                  <a:pt x="1" y="65"/>
                </a:lnTo>
                <a:lnTo>
                  <a:pt x="2" y="6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0" name="Freeform 118"/>
          <p:cNvSpPr>
            <a:spLocks/>
          </p:cNvSpPr>
          <p:nvPr/>
        </p:nvSpPr>
        <p:spPr bwMode="auto">
          <a:xfrm>
            <a:off x="4271963" y="2339975"/>
            <a:ext cx="169862" cy="98425"/>
          </a:xfrm>
          <a:custGeom>
            <a:avLst/>
            <a:gdLst>
              <a:gd name="T0" fmla="*/ 2147483646 w 54"/>
              <a:gd name="T1" fmla="*/ 2147483646 h 34"/>
              <a:gd name="T2" fmla="*/ 2147483646 w 54"/>
              <a:gd name="T3" fmla="*/ 2147483646 h 34"/>
              <a:gd name="T4" fmla="*/ 2147483646 w 54"/>
              <a:gd name="T5" fmla="*/ 2147483646 h 34"/>
              <a:gd name="T6" fmla="*/ 2147483646 w 54"/>
              <a:gd name="T7" fmla="*/ 2147483646 h 34"/>
              <a:gd name="T8" fmla="*/ 2147483646 w 54"/>
              <a:gd name="T9" fmla="*/ 2147483646 h 34"/>
              <a:gd name="T10" fmla="*/ 2147483646 w 54"/>
              <a:gd name="T11" fmla="*/ 2147483646 h 34"/>
              <a:gd name="T12" fmla="*/ 2147483646 w 54"/>
              <a:gd name="T13" fmla="*/ 2147483646 h 34"/>
              <a:gd name="T14" fmla="*/ 2147483646 w 54"/>
              <a:gd name="T15" fmla="*/ 2147483646 h 34"/>
              <a:gd name="T16" fmla="*/ 2147483646 w 54"/>
              <a:gd name="T17" fmla="*/ 2147483646 h 34"/>
              <a:gd name="T18" fmla="*/ 2147483646 w 54"/>
              <a:gd name="T19" fmla="*/ 2147483646 h 34"/>
              <a:gd name="T20" fmla="*/ 2147483646 w 54"/>
              <a:gd name="T21" fmla="*/ 2147483646 h 34"/>
              <a:gd name="T22" fmla="*/ 2147483646 w 54"/>
              <a:gd name="T23" fmla="*/ 2147483646 h 34"/>
              <a:gd name="T24" fmla="*/ 2147483646 w 54"/>
              <a:gd name="T25" fmla="*/ 2147483646 h 34"/>
              <a:gd name="T26" fmla="*/ 2147483646 w 54"/>
              <a:gd name="T27" fmla="*/ 2147483646 h 34"/>
              <a:gd name="T28" fmla="*/ 2147483646 w 54"/>
              <a:gd name="T29" fmla="*/ 2147483646 h 34"/>
              <a:gd name="T30" fmla="*/ 2147483646 w 54"/>
              <a:gd name="T31" fmla="*/ 2147483646 h 34"/>
              <a:gd name="T32" fmla="*/ 2147483646 w 54"/>
              <a:gd name="T33" fmla="*/ 2147483646 h 34"/>
              <a:gd name="T34" fmla="*/ 2147483646 w 54"/>
              <a:gd name="T35" fmla="*/ 2147483646 h 34"/>
              <a:gd name="T36" fmla="*/ 2147483646 w 54"/>
              <a:gd name="T37" fmla="*/ 2147483646 h 34"/>
              <a:gd name="T38" fmla="*/ 2147483646 w 54"/>
              <a:gd name="T39" fmla="*/ 0 h 34"/>
              <a:gd name="T40" fmla="*/ 2147483646 w 54"/>
              <a:gd name="T41" fmla="*/ 0 h 34"/>
              <a:gd name="T42" fmla="*/ 2147483646 w 54"/>
              <a:gd name="T43" fmla="*/ 0 h 34"/>
              <a:gd name="T44" fmla="*/ 2147483646 w 54"/>
              <a:gd name="T45" fmla="*/ 0 h 34"/>
              <a:gd name="T46" fmla="*/ 2147483646 w 54"/>
              <a:gd name="T47" fmla="*/ 2147483646 h 34"/>
              <a:gd name="T48" fmla="*/ 2147483646 w 54"/>
              <a:gd name="T49" fmla="*/ 2147483646 h 34"/>
              <a:gd name="T50" fmla="*/ 2147483646 w 54"/>
              <a:gd name="T51" fmla="*/ 2147483646 h 34"/>
              <a:gd name="T52" fmla="*/ 2147483646 w 54"/>
              <a:gd name="T53" fmla="*/ 2147483646 h 34"/>
              <a:gd name="T54" fmla="*/ 2147483646 w 54"/>
              <a:gd name="T55" fmla="*/ 2147483646 h 34"/>
              <a:gd name="T56" fmla="*/ 2147483646 w 54"/>
              <a:gd name="T57" fmla="*/ 2147483646 h 34"/>
              <a:gd name="T58" fmla="*/ 2147483646 w 54"/>
              <a:gd name="T59" fmla="*/ 2147483646 h 34"/>
              <a:gd name="T60" fmla="*/ 0 w 54"/>
              <a:gd name="T61" fmla="*/ 2147483646 h 34"/>
              <a:gd name="T62" fmla="*/ 0 w 54"/>
              <a:gd name="T63" fmla="*/ 2147483646 h 34"/>
              <a:gd name="T64" fmla="*/ 2147483646 w 54"/>
              <a:gd name="T65" fmla="*/ 2147483646 h 34"/>
              <a:gd name="T66" fmla="*/ 2147483646 w 54"/>
              <a:gd name="T67" fmla="*/ 2147483646 h 3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54" h="34">
                <a:moveTo>
                  <a:pt x="4" y="34"/>
                </a:moveTo>
                <a:lnTo>
                  <a:pt x="5" y="33"/>
                </a:lnTo>
                <a:lnTo>
                  <a:pt x="12" y="34"/>
                </a:lnTo>
                <a:lnTo>
                  <a:pt x="13" y="34"/>
                </a:lnTo>
                <a:lnTo>
                  <a:pt x="15" y="32"/>
                </a:lnTo>
                <a:lnTo>
                  <a:pt x="16" y="28"/>
                </a:lnTo>
                <a:lnTo>
                  <a:pt x="19" y="26"/>
                </a:lnTo>
                <a:lnTo>
                  <a:pt x="22" y="25"/>
                </a:lnTo>
                <a:lnTo>
                  <a:pt x="27" y="22"/>
                </a:lnTo>
                <a:lnTo>
                  <a:pt x="27" y="21"/>
                </a:lnTo>
                <a:lnTo>
                  <a:pt x="26" y="20"/>
                </a:lnTo>
                <a:lnTo>
                  <a:pt x="25" y="15"/>
                </a:lnTo>
                <a:lnTo>
                  <a:pt x="34" y="11"/>
                </a:lnTo>
                <a:lnTo>
                  <a:pt x="39" y="11"/>
                </a:lnTo>
                <a:lnTo>
                  <a:pt x="47" y="4"/>
                </a:lnTo>
                <a:lnTo>
                  <a:pt x="52" y="5"/>
                </a:lnTo>
                <a:lnTo>
                  <a:pt x="53" y="4"/>
                </a:lnTo>
                <a:lnTo>
                  <a:pt x="54" y="3"/>
                </a:lnTo>
                <a:lnTo>
                  <a:pt x="54" y="2"/>
                </a:lnTo>
                <a:lnTo>
                  <a:pt x="52" y="0"/>
                </a:lnTo>
                <a:lnTo>
                  <a:pt x="50" y="0"/>
                </a:lnTo>
                <a:lnTo>
                  <a:pt x="47" y="0"/>
                </a:lnTo>
                <a:lnTo>
                  <a:pt x="45" y="0"/>
                </a:lnTo>
                <a:lnTo>
                  <a:pt x="36" y="4"/>
                </a:lnTo>
                <a:lnTo>
                  <a:pt x="26" y="10"/>
                </a:lnTo>
                <a:lnTo>
                  <a:pt x="21" y="14"/>
                </a:lnTo>
                <a:lnTo>
                  <a:pt x="20" y="16"/>
                </a:lnTo>
                <a:lnTo>
                  <a:pt x="16" y="20"/>
                </a:lnTo>
                <a:lnTo>
                  <a:pt x="6" y="27"/>
                </a:lnTo>
                <a:lnTo>
                  <a:pt x="3" y="28"/>
                </a:lnTo>
                <a:lnTo>
                  <a:pt x="0" y="30"/>
                </a:lnTo>
                <a:lnTo>
                  <a:pt x="0" y="32"/>
                </a:lnTo>
                <a:lnTo>
                  <a:pt x="2" y="34"/>
                </a:lnTo>
                <a:lnTo>
                  <a:pt x="4" y="34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1" name="Freeform 119"/>
          <p:cNvSpPr>
            <a:spLocks/>
          </p:cNvSpPr>
          <p:nvPr/>
        </p:nvSpPr>
        <p:spPr bwMode="auto">
          <a:xfrm>
            <a:off x="4010025" y="2566988"/>
            <a:ext cx="638175" cy="957262"/>
          </a:xfrm>
          <a:custGeom>
            <a:avLst/>
            <a:gdLst>
              <a:gd name="T0" fmla="*/ 2147483646 w 204"/>
              <a:gd name="T1" fmla="*/ 2147483646 h 332"/>
              <a:gd name="T2" fmla="*/ 2147483646 w 204"/>
              <a:gd name="T3" fmla="*/ 2147483646 h 332"/>
              <a:gd name="T4" fmla="*/ 2147483646 w 204"/>
              <a:gd name="T5" fmla="*/ 2147483646 h 332"/>
              <a:gd name="T6" fmla="*/ 2147483646 w 204"/>
              <a:gd name="T7" fmla="*/ 2147483646 h 332"/>
              <a:gd name="T8" fmla="*/ 2147483646 w 204"/>
              <a:gd name="T9" fmla="*/ 2147483646 h 332"/>
              <a:gd name="T10" fmla="*/ 2147483646 w 204"/>
              <a:gd name="T11" fmla="*/ 2147483646 h 332"/>
              <a:gd name="T12" fmla="*/ 2147483646 w 204"/>
              <a:gd name="T13" fmla="*/ 2147483646 h 332"/>
              <a:gd name="T14" fmla="*/ 2147483646 w 204"/>
              <a:gd name="T15" fmla="*/ 2147483646 h 332"/>
              <a:gd name="T16" fmla="*/ 2147483646 w 204"/>
              <a:gd name="T17" fmla="*/ 2147483646 h 332"/>
              <a:gd name="T18" fmla="*/ 2147483646 w 204"/>
              <a:gd name="T19" fmla="*/ 2147483646 h 332"/>
              <a:gd name="T20" fmla="*/ 2147483646 w 204"/>
              <a:gd name="T21" fmla="*/ 2147483646 h 332"/>
              <a:gd name="T22" fmla="*/ 2147483646 w 204"/>
              <a:gd name="T23" fmla="*/ 2147483646 h 332"/>
              <a:gd name="T24" fmla="*/ 2147483646 w 204"/>
              <a:gd name="T25" fmla="*/ 2147483646 h 332"/>
              <a:gd name="T26" fmla="*/ 2147483646 w 204"/>
              <a:gd name="T27" fmla="*/ 2147483646 h 332"/>
              <a:gd name="T28" fmla="*/ 2147483646 w 204"/>
              <a:gd name="T29" fmla="*/ 2147483646 h 332"/>
              <a:gd name="T30" fmla="*/ 2147483646 w 204"/>
              <a:gd name="T31" fmla="*/ 2147483646 h 332"/>
              <a:gd name="T32" fmla="*/ 2147483646 w 204"/>
              <a:gd name="T33" fmla="*/ 2147483646 h 332"/>
              <a:gd name="T34" fmla="*/ 2147483646 w 204"/>
              <a:gd name="T35" fmla="*/ 2147483646 h 332"/>
              <a:gd name="T36" fmla="*/ 2147483646 w 204"/>
              <a:gd name="T37" fmla="*/ 2147483646 h 332"/>
              <a:gd name="T38" fmla="*/ 2147483646 w 204"/>
              <a:gd name="T39" fmla="*/ 2147483646 h 332"/>
              <a:gd name="T40" fmla="*/ 2147483646 w 204"/>
              <a:gd name="T41" fmla="*/ 2147483646 h 332"/>
              <a:gd name="T42" fmla="*/ 2147483646 w 204"/>
              <a:gd name="T43" fmla="*/ 2147483646 h 332"/>
              <a:gd name="T44" fmla="*/ 2147483646 w 204"/>
              <a:gd name="T45" fmla="*/ 2147483646 h 332"/>
              <a:gd name="T46" fmla="*/ 2147483646 w 204"/>
              <a:gd name="T47" fmla="*/ 2147483646 h 332"/>
              <a:gd name="T48" fmla="*/ 2147483646 w 204"/>
              <a:gd name="T49" fmla="*/ 2147483646 h 332"/>
              <a:gd name="T50" fmla="*/ 2147483646 w 204"/>
              <a:gd name="T51" fmla="*/ 2147483646 h 332"/>
              <a:gd name="T52" fmla="*/ 2147483646 w 204"/>
              <a:gd name="T53" fmla="*/ 2147483646 h 332"/>
              <a:gd name="T54" fmla="*/ 2147483646 w 204"/>
              <a:gd name="T55" fmla="*/ 2147483646 h 332"/>
              <a:gd name="T56" fmla="*/ 2147483646 w 204"/>
              <a:gd name="T57" fmla="*/ 2147483646 h 332"/>
              <a:gd name="T58" fmla="*/ 2147483646 w 204"/>
              <a:gd name="T59" fmla="*/ 2147483646 h 332"/>
              <a:gd name="T60" fmla="*/ 2147483646 w 204"/>
              <a:gd name="T61" fmla="*/ 2147483646 h 332"/>
              <a:gd name="T62" fmla="*/ 2147483646 w 204"/>
              <a:gd name="T63" fmla="*/ 2147483646 h 332"/>
              <a:gd name="T64" fmla="*/ 2147483646 w 204"/>
              <a:gd name="T65" fmla="*/ 2147483646 h 332"/>
              <a:gd name="T66" fmla="*/ 2147483646 w 204"/>
              <a:gd name="T67" fmla="*/ 2147483646 h 332"/>
              <a:gd name="T68" fmla="*/ 2147483646 w 204"/>
              <a:gd name="T69" fmla="*/ 2147483646 h 332"/>
              <a:gd name="T70" fmla="*/ 2147483646 w 204"/>
              <a:gd name="T71" fmla="*/ 2147483646 h 332"/>
              <a:gd name="T72" fmla="*/ 2147483646 w 204"/>
              <a:gd name="T73" fmla="*/ 2147483646 h 332"/>
              <a:gd name="T74" fmla="*/ 2147483646 w 204"/>
              <a:gd name="T75" fmla="*/ 2147483646 h 332"/>
              <a:gd name="T76" fmla="*/ 2147483646 w 204"/>
              <a:gd name="T77" fmla="*/ 2147483646 h 332"/>
              <a:gd name="T78" fmla="*/ 2147483646 w 204"/>
              <a:gd name="T79" fmla="*/ 2147483646 h 332"/>
              <a:gd name="T80" fmla="*/ 2147483646 w 204"/>
              <a:gd name="T81" fmla="*/ 2147483646 h 332"/>
              <a:gd name="T82" fmla="*/ 2147483646 w 204"/>
              <a:gd name="T83" fmla="*/ 2147483646 h 332"/>
              <a:gd name="T84" fmla="*/ 2147483646 w 204"/>
              <a:gd name="T85" fmla="*/ 2147483646 h 332"/>
              <a:gd name="T86" fmla="*/ 2147483646 w 204"/>
              <a:gd name="T87" fmla="*/ 2147483646 h 332"/>
              <a:gd name="T88" fmla="*/ 2147483646 w 204"/>
              <a:gd name="T89" fmla="*/ 2147483646 h 332"/>
              <a:gd name="T90" fmla="*/ 2147483646 w 204"/>
              <a:gd name="T91" fmla="*/ 2147483646 h 332"/>
              <a:gd name="T92" fmla="*/ 2147483646 w 204"/>
              <a:gd name="T93" fmla="*/ 2147483646 h 332"/>
              <a:gd name="T94" fmla="*/ 2147483646 w 204"/>
              <a:gd name="T95" fmla="*/ 2147483646 h 332"/>
              <a:gd name="T96" fmla="*/ 0 w 204"/>
              <a:gd name="T97" fmla="*/ 2147483646 h 332"/>
              <a:gd name="T98" fmla="*/ 2147483646 w 204"/>
              <a:gd name="T99" fmla="*/ 2147483646 h 332"/>
              <a:gd name="T100" fmla="*/ 2147483646 w 204"/>
              <a:gd name="T101" fmla="*/ 2147483646 h 332"/>
              <a:gd name="T102" fmla="*/ 2147483646 w 204"/>
              <a:gd name="T103" fmla="*/ 2147483646 h 332"/>
              <a:gd name="T104" fmla="*/ 2147483646 w 204"/>
              <a:gd name="T105" fmla="*/ 2147483646 h 332"/>
              <a:gd name="T106" fmla="*/ 2147483646 w 204"/>
              <a:gd name="T107" fmla="*/ 2147483646 h 332"/>
              <a:gd name="T108" fmla="*/ 2147483646 w 204"/>
              <a:gd name="T109" fmla="*/ 2147483646 h 332"/>
              <a:gd name="T110" fmla="*/ 2147483646 w 204"/>
              <a:gd name="T111" fmla="*/ 2147483646 h 33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04" h="332">
                <a:moveTo>
                  <a:pt x="114" y="287"/>
                </a:moveTo>
                <a:lnTo>
                  <a:pt x="116" y="287"/>
                </a:lnTo>
                <a:lnTo>
                  <a:pt x="116" y="294"/>
                </a:lnTo>
                <a:lnTo>
                  <a:pt x="117" y="292"/>
                </a:lnTo>
                <a:lnTo>
                  <a:pt x="118" y="292"/>
                </a:lnTo>
                <a:lnTo>
                  <a:pt x="121" y="294"/>
                </a:lnTo>
                <a:lnTo>
                  <a:pt x="123" y="292"/>
                </a:lnTo>
                <a:lnTo>
                  <a:pt x="124" y="292"/>
                </a:lnTo>
                <a:lnTo>
                  <a:pt x="125" y="294"/>
                </a:lnTo>
                <a:lnTo>
                  <a:pt x="124" y="294"/>
                </a:lnTo>
                <a:lnTo>
                  <a:pt x="122" y="295"/>
                </a:lnTo>
                <a:lnTo>
                  <a:pt x="122" y="296"/>
                </a:lnTo>
                <a:lnTo>
                  <a:pt x="120" y="296"/>
                </a:lnTo>
                <a:lnTo>
                  <a:pt x="119" y="297"/>
                </a:lnTo>
                <a:lnTo>
                  <a:pt x="117" y="297"/>
                </a:lnTo>
                <a:lnTo>
                  <a:pt x="117" y="298"/>
                </a:lnTo>
                <a:lnTo>
                  <a:pt x="117" y="301"/>
                </a:lnTo>
                <a:lnTo>
                  <a:pt x="118" y="303"/>
                </a:lnTo>
                <a:lnTo>
                  <a:pt x="118" y="304"/>
                </a:lnTo>
                <a:lnTo>
                  <a:pt x="120" y="303"/>
                </a:lnTo>
                <a:lnTo>
                  <a:pt x="121" y="305"/>
                </a:lnTo>
                <a:lnTo>
                  <a:pt x="120" y="306"/>
                </a:lnTo>
                <a:lnTo>
                  <a:pt x="120" y="309"/>
                </a:lnTo>
                <a:lnTo>
                  <a:pt x="124" y="311"/>
                </a:lnTo>
                <a:lnTo>
                  <a:pt x="120" y="313"/>
                </a:lnTo>
                <a:lnTo>
                  <a:pt x="120" y="316"/>
                </a:lnTo>
                <a:lnTo>
                  <a:pt x="126" y="318"/>
                </a:lnTo>
                <a:lnTo>
                  <a:pt x="128" y="319"/>
                </a:lnTo>
                <a:lnTo>
                  <a:pt x="139" y="317"/>
                </a:lnTo>
                <a:lnTo>
                  <a:pt x="141" y="321"/>
                </a:lnTo>
                <a:lnTo>
                  <a:pt x="143" y="323"/>
                </a:lnTo>
                <a:lnTo>
                  <a:pt x="143" y="325"/>
                </a:lnTo>
                <a:lnTo>
                  <a:pt x="139" y="329"/>
                </a:lnTo>
                <a:lnTo>
                  <a:pt x="138" y="331"/>
                </a:lnTo>
                <a:lnTo>
                  <a:pt x="153" y="332"/>
                </a:lnTo>
                <a:lnTo>
                  <a:pt x="158" y="321"/>
                </a:lnTo>
                <a:lnTo>
                  <a:pt x="160" y="315"/>
                </a:lnTo>
                <a:lnTo>
                  <a:pt x="170" y="295"/>
                </a:lnTo>
                <a:lnTo>
                  <a:pt x="182" y="297"/>
                </a:lnTo>
                <a:lnTo>
                  <a:pt x="181" y="296"/>
                </a:lnTo>
                <a:lnTo>
                  <a:pt x="179" y="293"/>
                </a:lnTo>
                <a:lnTo>
                  <a:pt x="178" y="290"/>
                </a:lnTo>
                <a:lnTo>
                  <a:pt x="177" y="288"/>
                </a:lnTo>
                <a:lnTo>
                  <a:pt x="174" y="286"/>
                </a:lnTo>
                <a:lnTo>
                  <a:pt x="170" y="285"/>
                </a:lnTo>
                <a:lnTo>
                  <a:pt x="168" y="283"/>
                </a:lnTo>
                <a:lnTo>
                  <a:pt x="167" y="283"/>
                </a:lnTo>
                <a:lnTo>
                  <a:pt x="164" y="283"/>
                </a:lnTo>
                <a:lnTo>
                  <a:pt x="156" y="284"/>
                </a:lnTo>
                <a:lnTo>
                  <a:pt x="152" y="286"/>
                </a:lnTo>
                <a:lnTo>
                  <a:pt x="150" y="287"/>
                </a:lnTo>
                <a:lnTo>
                  <a:pt x="145" y="283"/>
                </a:lnTo>
                <a:lnTo>
                  <a:pt x="141" y="278"/>
                </a:lnTo>
                <a:lnTo>
                  <a:pt x="140" y="277"/>
                </a:lnTo>
                <a:lnTo>
                  <a:pt x="137" y="276"/>
                </a:lnTo>
                <a:lnTo>
                  <a:pt x="136" y="274"/>
                </a:lnTo>
                <a:lnTo>
                  <a:pt x="132" y="272"/>
                </a:lnTo>
                <a:lnTo>
                  <a:pt x="129" y="273"/>
                </a:lnTo>
                <a:lnTo>
                  <a:pt x="125" y="273"/>
                </a:lnTo>
                <a:lnTo>
                  <a:pt x="122" y="274"/>
                </a:lnTo>
                <a:lnTo>
                  <a:pt x="120" y="275"/>
                </a:lnTo>
                <a:lnTo>
                  <a:pt x="119" y="274"/>
                </a:lnTo>
                <a:lnTo>
                  <a:pt x="119" y="272"/>
                </a:lnTo>
                <a:lnTo>
                  <a:pt x="116" y="271"/>
                </a:lnTo>
                <a:lnTo>
                  <a:pt x="113" y="269"/>
                </a:lnTo>
                <a:lnTo>
                  <a:pt x="110" y="266"/>
                </a:lnTo>
                <a:lnTo>
                  <a:pt x="108" y="265"/>
                </a:lnTo>
                <a:lnTo>
                  <a:pt x="108" y="264"/>
                </a:lnTo>
                <a:lnTo>
                  <a:pt x="105" y="263"/>
                </a:lnTo>
                <a:lnTo>
                  <a:pt x="105" y="262"/>
                </a:lnTo>
                <a:lnTo>
                  <a:pt x="108" y="261"/>
                </a:lnTo>
                <a:lnTo>
                  <a:pt x="109" y="260"/>
                </a:lnTo>
                <a:lnTo>
                  <a:pt x="111" y="260"/>
                </a:lnTo>
                <a:lnTo>
                  <a:pt x="111" y="259"/>
                </a:lnTo>
                <a:lnTo>
                  <a:pt x="112" y="259"/>
                </a:lnTo>
                <a:lnTo>
                  <a:pt x="115" y="261"/>
                </a:lnTo>
                <a:lnTo>
                  <a:pt x="116" y="260"/>
                </a:lnTo>
                <a:lnTo>
                  <a:pt x="116" y="257"/>
                </a:lnTo>
                <a:lnTo>
                  <a:pt x="119" y="255"/>
                </a:lnTo>
                <a:lnTo>
                  <a:pt x="120" y="254"/>
                </a:lnTo>
                <a:lnTo>
                  <a:pt x="121" y="252"/>
                </a:lnTo>
                <a:lnTo>
                  <a:pt x="124" y="250"/>
                </a:lnTo>
                <a:lnTo>
                  <a:pt x="125" y="247"/>
                </a:lnTo>
                <a:lnTo>
                  <a:pt x="128" y="247"/>
                </a:lnTo>
                <a:lnTo>
                  <a:pt x="129" y="245"/>
                </a:lnTo>
                <a:lnTo>
                  <a:pt x="130" y="240"/>
                </a:lnTo>
                <a:lnTo>
                  <a:pt x="132" y="238"/>
                </a:lnTo>
                <a:lnTo>
                  <a:pt x="133" y="238"/>
                </a:lnTo>
                <a:lnTo>
                  <a:pt x="128" y="237"/>
                </a:lnTo>
                <a:lnTo>
                  <a:pt x="127" y="238"/>
                </a:lnTo>
                <a:lnTo>
                  <a:pt x="126" y="237"/>
                </a:lnTo>
                <a:lnTo>
                  <a:pt x="124" y="236"/>
                </a:lnTo>
                <a:lnTo>
                  <a:pt x="124" y="234"/>
                </a:lnTo>
                <a:lnTo>
                  <a:pt x="124" y="230"/>
                </a:lnTo>
                <a:lnTo>
                  <a:pt x="126" y="228"/>
                </a:lnTo>
                <a:lnTo>
                  <a:pt x="125" y="228"/>
                </a:lnTo>
                <a:lnTo>
                  <a:pt x="124" y="229"/>
                </a:lnTo>
                <a:lnTo>
                  <a:pt x="123" y="229"/>
                </a:lnTo>
                <a:lnTo>
                  <a:pt x="122" y="227"/>
                </a:lnTo>
                <a:lnTo>
                  <a:pt x="125" y="226"/>
                </a:lnTo>
                <a:lnTo>
                  <a:pt x="128" y="226"/>
                </a:lnTo>
                <a:lnTo>
                  <a:pt x="128" y="225"/>
                </a:lnTo>
                <a:lnTo>
                  <a:pt x="126" y="223"/>
                </a:lnTo>
                <a:lnTo>
                  <a:pt x="126" y="222"/>
                </a:lnTo>
                <a:lnTo>
                  <a:pt x="126" y="220"/>
                </a:lnTo>
                <a:lnTo>
                  <a:pt x="127" y="218"/>
                </a:lnTo>
                <a:lnTo>
                  <a:pt x="130" y="217"/>
                </a:lnTo>
                <a:lnTo>
                  <a:pt x="132" y="213"/>
                </a:lnTo>
                <a:lnTo>
                  <a:pt x="131" y="210"/>
                </a:lnTo>
                <a:lnTo>
                  <a:pt x="130" y="209"/>
                </a:lnTo>
                <a:lnTo>
                  <a:pt x="130" y="208"/>
                </a:lnTo>
                <a:lnTo>
                  <a:pt x="129" y="208"/>
                </a:lnTo>
                <a:lnTo>
                  <a:pt x="128" y="206"/>
                </a:lnTo>
                <a:lnTo>
                  <a:pt x="127" y="204"/>
                </a:lnTo>
                <a:lnTo>
                  <a:pt x="125" y="201"/>
                </a:lnTo>
                <a:lnTo>
                  <a:pt x="125" y="198"/>
                </a:lnTo>
                <a:lnTo>
                  <a:pt x="124" y="195"/>
                </a:lnTo>
                <a:lnTo>
                  <a:pt x="122" y="192"/>
                </a:lnTo>
                <a:lnTo>
                  <a:pt x="120" y="190"/>
                </a:lnTo>
                <a:lnTo>
                  <a:pt x="120" y="185"/>
                </a:lnTo>
                <a:lnTo>
                  <a:pt x="118" y="180"/>
                </a:lnTo>
                <a:lnTo>
                  <a:pt x="119" y="178"/>
                </a:lnTo>
                <a:lnTo>
                  <a:pt x="118" y="177"/>
                </a:lnTo>
                <a:lnTo>
                  <a:pt x="118" y="174"/>
                </a:lnTo>
                <a:lnTo>
                  <a:pt x="117" y="171"/>
                </a:lnTo>
                <a:lnTo>
                  <a:pt x="117" y="167"/>
                </a:lnTo>
                <a:lnTo>
                  <a:pt x="119" y="166"/>
                </a:lnTo>
                <a:lnTo>
                  <a:pt x="122" y="164"/>
                </a:lnTo>
                <a:lnTo>
                  <a:pt x="123" y="163"/>
                </a:lnTo>
                <a:lnTo>
                  <a:pt x="125" y="163"/>
                </a:lnTo>
                <a:lnTo>
                  <a:pt x="126" y="164"/>
                </a:lnTo>
                <a:lnTo>
                  <a:pt x="126" y="166"/>
                </a:lnTo>
                <a:lnTo>
                  <a:pt x="128" y="166"/>
                </a:lnTo>
                <a:lnTo>
                  <a:pt x="129" y="164"/>
                </a:lnTo>
                <a:lnTo>
                  <a:pt x="133" y="162"/>
                </a:lnTo>
                <a:lnTo>
                  <a:pt x="134" y="164"/>
                </a:lnTo>
                <a:lnTo>
                  <a:pt x="136" y="165"/>
                </a:lnTo>
                <a:lnTo>
                  <a:pt x="137" y="166"/>
                </a:lnTo>
                <a:lnTo>
                  <a:pt x="138" y="167"/>
                </a:lnTo>
                <a:lnTo>
                  <a:pt x="140" y="166"/>
                </a:lnTo>
                <a:lnTo>
                  <a:pt x="141" y="169"/>
                </a:lnTo>
                <a:lnTo>
                  <a:pt x="141" y="170"/>
                </a:lnTo>
                <a:lnTo>
                  <a:pt x="141" y="171"/>
                </a:lnTo>
                <a:lnTo>
                  <a:pt x="146" y="170"/>
                </a:lnTo>
                <a:lnTo>
                  <a:pt x="146" y="169"/>
                </a:lnTo>
                <a:lnTo>
                  <a:pt x="148" y="170"/>
                </a:lnTo>
                <a:lnTo>
                  <a:pt x="153" y="165"/>
                </a:lnTo>
                <a:lnTo>
                  <a:pt x="157" y="165"/>
                </a:lnTo>
                <a:lnTo>
                  <a:pt x="159" y="162"/>
                </a:lnTo>
                <a:lnTo>
                  <a:pt x="164" y="160"/>
                </a:lnTo>
                <a:lnTo>
                  <a:pt x="166" y="158"/>
                </a:lnTo>
                <a:lnTo>
                  <a:pt x="168" y="147"/>
                </a:lnTo>
                <a:lnTo>
                  <a:pt x="171" y="147"/>
                </a:lnTo>
                <a:lnTo>
                  <a:pt x="173" y="147"/>
                </a:lnTo>
                <a:lnTo>
                  <a:pt x="173" y="148"/>
                </a:lnTo>
                <a:lnTo>
                  <a:pt x="179" y="148"/>
                </a:lnTo>
                <a:lnTo>
                  <a:pt x="191" y="153"/>
                </a:lnTo>
                <a:lnTo>
                  <a:pt x="200" y="162"/>
                </a:lnTo>
                <a:lnTo>
                  <a:pt x="202" y="165"/>
                </a:lnTo>
                <a:lnTo>
                  <a:pt x="204" y="164"/>
                </a:lnTo>
                <a:lnTo>
                  <a:pt x="202" y="161"/>
                </a:lnTo>
                <a:lnTo>
                  <a:pt x="192" y="150"/>
                </a:lnTo>
                <a:lnTo>
                  <a:pt x="180" y="145"/>
                </a:lnTo>
                <a:lnTo>
                  <a:pt x="175" y="145"/>
                </a:lnTo>
                <a:lnTo>
                  <a:pt x="175" y="144"/>
                </a:lnTo>
                <a:lnTo>
                  <a:pt x="176" y="143"/>
                </a:lnTo>
                <a:lnTo>
                  <a:pt x="177" y="142"/>
                </a:lnTo>
                <a:lnTo>
                  <a:pt x="176" y="142"/>
                </a:lnTo>
                <a:lnTo>
                  <a:pt x="178" y="142"/>
                </a:lnTo>
                <a:lnTo>
                  <a:pt x="179" y="141"/>
                </a:lnTo>
                <a:lnTo>
                  <a:pt x="179" y="139"/>
                </a:lnTo>
                <a:lnTo>
                  <a:pt x="179" y="138"/>
                </a:lnTo>
                <a:lnTo>
                  <a:pt x="178" y="137"/>
                </a:lnTo>
                <a:lnTo>
                  <a:pt x="177" y="131"/>
                </a:lnTo>
                <a:lnTo>
                  <a:pt x="176" y="127"/>
                </a:lnTo>
                <a:lnTo>
                  <a:pt x="175" y="127"/>
                </a:lnTo>
                <a:lnTo>
                  <a:pt x="174" y="126"/>
                </a:lnTo>
                <a:lnTo>
                  <a:pt x="171" y="126"/>
                </a:lnTo>
                <a:lnTo>
                  <a:pt x="169" y="125"/>
                </a:lnTo>
                <a:lnTo>
                  <a:pt x="166" y="124"/>
                </a:lnTo>
                <a:lnTo>
                  <a:pt x="165" y="123"/>
                </a:lnTo>
                <a:lnTo>
                  <a:pt x="163" y="123"/>
                </a:lnTo>
                <a:lnTo>
                  <a:pt x="160" y="122"/>
                </a:lnTo>
                <a:lnTo>
                  <a:pt x="156" y="122"/>
                </a:lnTo>
                <a:lnTo>
                  <a:pt x="153" y="127"/>
                </a:lnTo>
                <a:lnTo>
                  <a:pt x="152" y="128"/>
                </a:lnTo>
                <a:lnTo>
                  <a:pt x="150" y="128"/>
                </a:lnTo>
                <a:lnTo>
                  <a:pt x="147" y="128"/>
                </a:lnTo>
                <a:lnTo>
                  <a:pt x="145" y="127"/>
                </a:lnTo>
                <a:lnTo>
                  <a:pt x="141" y="122"/>
                </a:lnTo>
                <a:lnTo>
                  <a:pt x="140" y="122"/>
                </a:lnTo>
                <a:lnTo>
                  <a:pt x="138" y="115"/>
                </a:lnTo>
                <a:lnTo>
                  <a:pt x="137" y="115"/>
                </a:lnTo>
                <a:lnTo>
                  <a:pt x="137" y="114"/>
                </a:lnTo>
                <a:lnTo>
                  <a:pt x="139" y="89"/>
                </a:lnTo>
                <a:lnTo>
                  <a:pt x="131" y="73"/>
                </a:lnTo>
                <a:lnTo>
                  <a:pt x="132" y="73"/>
                </a:lnTo>
                <a:lnTo>
                  <a:pt x="131" y="71"/>
                </a:lnTo>
                <a:lnTo>
                  <a:pt x="130" y="71"/>
                </a:lnTo>
                <a:lnTo>
                  <a:pt x="125" y="60"/>
                </a:lnTo>
                <a:lnTo>
                  <a:pt x="123" y="60"/>
                </a:lnTo>
                <a:lnTo>
                  <a:pt x="124" y="58"/>
                </a:lnTo>
                <a:lnTo>
                  <a:pt x="125" y="59"/>
                </a:lnTo>
                <a:lnTo>
                  <a:pt x="129" y="54"/>
                </a:lnTo>
                <a:lnTo>
                  <a:pt x="151" y="35"/>
                </a:lnTo>
                <a:lnTo>
                  <a:pt x="179" y="12"/>
                </a:lnTo>
                <a:lnTo>
                  <a:pt x="186" y="8"/>
                </a:lnTo>
                <a:lnTo>
                  <a:pt x="189" y="7"/>
                </a:lnTo>
                <a:lnTo>
                  <a:pt x="191" y="7"/>
                </a:lnTo>
                <a:lnTo>
                  <a:pt x="196" y="3"/>
                </a:lnTo>
                <a:lnTo>
                  <a:pt x="196" y="0"/>
                </a:lnTo>
                <a:lnTo>
                  <a:pt x="191" y="3"/>
                </a:lnTo>
                <a:lnTo>
                  <a:pt x="188" y="4"/>
                </a:lnTo>
                <a:lnTo>
                  <a:pt x="188" y="5"/>
                </a:lnTo>
                <a:lnTo>
                  <a:pt x="186" y="5"/>
                </a:lnTo>
                <a:lnTo>
                  <a:pt x="179" y="9"/>
                </a:lnTo>
                <a:lnTo>
                  <a:pt x="151" y="33"/>
                </a:lnTo>
                <a:lnTo>
                  <a:pt x="124" y="55"/>
                </a:lnTo>
                <a:lnTo>
                  <a:pt x="124" y="56"/>
                </a:lnTo>
                <a:lnTo>
                  <a:pt x="123" y="56"/>
                </a:lnTo>
                <a:lnTo>
                  <a:pt x="121" y="55"/>
                </a:lnTo>
                <a:lnTo>
                  <a:pt x="119" y="56"/>
                </a:lnTo>
                <a:lnTo>
                  <a:pt x="117" y="56"/>
                </a:lnTo>
                <a:lnTo>
                  <a:pt x="115" y="56"/>
                </a:lnTo>
                <a:lnTo>
                  <a:pt x="112" y="57"/>
                </a:lnTo>
                <a:lnTo>
                  <a:pt x="108" y="58"/>
                </a:lnTo>
                <a:lnTo>
                  <a:pt x="105" y="60"/>
                </a:lnTo>
                <a:lnTo>
                  <a:pt x="104" y="63"/>
                </a:lnTo>
                <a:lnTo>
                  <a:pt x="100" y="67"/>
                </a:lnTo>
                <a:lnTo>
                  <a:pt x="95" y="71"/>
                </a:lnTo>
                <a:lnTo>
                  <a:pt x="87" y="73"/>
                </a:lnTo>
                <a:lnTo>
                  <a:pt x="86" y="73"/>
                </a:lnTo>
                <a:lnTo>
                  <a:pt x="72" y="64"/>
                </a:lnTo>
                <a:lnTo>
                  <a:pt x="69" y="58"/>
                </a:lnTo>
                <a:lnTo>
                  <a:pt x="69" y="52"/>
                </a:lnTo>
                <a:lnTo>
                  <a:pt x="71" y="47"/>
                </a:lnTo>
                <a:lnTo>
                  <a:pt x="71" y="46"/>
                </a:lnTo>
                <a:lnTo>
                  <a:pt x="69" y="46"/>
                </a:lnTo>
                <a:lnTo>
                  <a:pt x="69" y="48"/>
                </a:lnTo>
                <a:lnTo>
                  <a:pt x="68" y="48"/>
                </a:lnTo>
                <a:lnTo>
                  <a:pt x="67" y="48"/>
                </a:lnTo>
                <a:lnTo>
                  <a:pt x="66" y="48"/>
                </a:lnTo>
                <a:lnTo>
                  <a:pt x="67" y="46"/>
                </a:lnTo>
                <a:lnTo>
                  <a:pt x="65" y="45"/>
                </a:lnTo>
                <a:lnTo>
                  <a:pt x="56" y="46"/>
                </a:lnTo>
                <a:lnTo>
                  <a:pt x="54" y="48"/>
                </a:lnTo>
                <a:lnTo>
                  <a:pt x="52" y="52"/>
                </a:lnTo>
                <a:lnTo>
                  <a:pt x="51" y="68"/>
                </a:lnTo>
                <a:lnTo>
                  <a:pt x="50" y="76"/>
                </a:lnTo>
                <a:lnTo>
                  <a:pt x="48" y="85"/>
                </a:lnTo>
                <a:lnTo>
                  <a:pt x="42" y="104"/>
                </a:lnTo>
                <a:lnTo>
                  <a:pt x="35" y="127"/>
                </a:lnTo>
                <a:lnTo>
                  <a:pt x="32" y="150"/>
                </a:lnTo>
                <a:lnTo>
                  <a:pt x="30" y="163"/>
                </a:lnTo>
                <a:lnTo>
                  <a:pt x="27" y="187"/>
                </a:lnTo>
                <a:lnTo>
                  <a:pt x="24" y="202"/>
                </a:lnTo>
                <a:lnTo>
                  <a:pt x="23" y="207"/>
                </a:lnTo>
                <a:lnTo>
                  <a:pt x="21" y="215"/>
                </a:lnTo>
                <a:lnTo>
                  <a:pt x="20" y="217"/>
                </a:lnTo>
                <a:lnTo>
                  <a:pt x="18" y="224"/>
                </a:lnTo>
                <a:lnTo>
                  <a:pt x="19" y="224"/>
                </a:lnTo>
                <a:lnTo>
                  <a:pt x="20" y="224"/>
                </a:lnTo>
                <a:lnTo>
                  <a:pt x="21" y="224"/>
                </a:lnTo>
                <a:lnTo>
                  <a:pt x="20" y="224"/>
                </a:lnTo>
                <a:lnTo>
                  <a:pt x="21" y="223"/>
                </a:lnTo>
                <a:lnTo>
                  <a:pt x="25" y="223"/>
                </a:lnTo>
                <a:lnTo>
                  <a:pt x="27" y="224"/>
                </a:lnTo>
                <a:lnTo>
                  <a:pt x="26" y="224"/>
                </a:lnTo>
                <a:lnTo>
                  <a:pt x="26" y="225"/>
                </a:lnTo>
                <a:lnTo>
                  <a:pt x="22" y="225"/>
                </a:lnTo>
                <a:lnTo>
                  <a:pt x="22" y="226"/>
                </a:lnTo>
                <a:lnTo>
                  <a:pt x="22" y="227"/>
                </a:lnTo>
                <a:lnTo>
                  <a:pt x="23" y="228"/>
                </a:lnTo>
                <a:lnTo>
                  <a:pt x="22" y="229"/>
                </a:lnTo>
                <a:lnTo>
                  <a:pt x="19" y="227"/>
                </a:lnTo>
                <a:lnTo>
                  <a:pt x="17" y="228"/>
                </a:lnTo>
                <a:lnTo>
                  <a:pt x="16" y="237"/>
                </a:lnTo>
                <a:lnTo>
                  <a:pt x="11" y="250"/>
                </a:lnTo>
                <a:lnTo>
                  <a:pt x="0" y="276"/>
                </a:lnTo>
                <a:lnTo>
                  <a:pt x="0" y="277"/>
                </a:lnTo>
                <a:lnTo>
                  <a:pt x="14" y="283"/>
                </a:lnTo>
                <a:lnTo>
                  <a:pt x="15" y="281"/>
                </a:lnTo>
                <a:lnTo>
                  <a:pt x="19" y="282"/>
                </a:lnTo>
                <a:lnTo>
                  <a:pt x="21" y="281"/>
                </a:lnTo>
                <a:lnTo>
                  <a:pt x="23" y="282"/>
                </a:lnTo>
                <a:lnTo>
                  <a:pt x="21" y="289"/>
                </a:lnTo>
                <a:lnTo>
                  <a:pt x="19" y="295"/>
                </a:lnTo>
                <a:lnTo>
                  <a:pt x="15" y="299"/>
                </a:lnTo>
                <a:lnTo>
                  <a:pt x="14" y="306"/>
                </a:lnTo>
                <a:lnTo>
                  <a:pt x="13" y="311"/>
                </a:lnTo>
                <a:lnTo>
                  <a:pt x="11" y="315"/>
                </a:lnTo>
                <a:lnTo>
                  <a:pt x="12" y="317"/>
                </a:lnTo>
                <a:lnTo>
                  <a:pt x="16" y="317"/>
                </a:lnTo>
                <a:lnTo>
                  <a:pt x="21" y="318"/>
                </a:lnTo>
                <a:lnTo>
                  <a:pt x="27" y="318"/>
                </a:lnTo>
                <a:lnTo>
                  <a:pt x="32" y="316"/>
                </a:lnTo>
                <a:lnTo>
                  <a:pt x="36" y="313"/>
                </a:lnTo>
                <a:lnTo>
                  <a:pt x="39" y="314"/>
                </a:lnTo>
                <a:lnTo>
                  <a:pt x="42" y="313"/>
                </a:lnTo>
                <a:lnTo>
                  <a:pt x="44" y="312"/>
                </a:lnTo>
                <a:lnTo>
                  <a:pt x="49" y="312"/>
                </a:lnTo>
                <a:lnTo>
                  <a:pt x="49" y="320"/>
                </a:lnTo>
                <a:lnTo>
                  <a:pt x="52" y="321"/>
                </a:lnTo>
                <a:lnTo>
                  <a:pt x="53" y="318"/>
                </a:lnTo>
                <a:lnTo>
                  <a:pt x="58" y="317"/>
                </a:lnTo>
                <a:lnTo>
                  <a:pt x="62" y="313"/>
                </a:lnTo>
                <a:lnTo>
                  <a:pt x="71" y="314"/>
                </a:lnTo>
                <a:lnTo>
                  <a:pt x="73" y="313"/>
                </a:lnTo>
                <a:lnTo>
                  <a:pt x="75" y="312"/>
                </a:lnTo>
                <a:lnTo>
                  <a:pt x="77" y="309"/>
                </a:lnTo>
                <a:lnTo>
                  <a:pt x="79" y="307"/>
                </a:lnTo>
                <a:lnTo>
                  <a:pt x="82" y="305"/>
                </a:lnTo>
                <a:lnTo>
                  <a:pt x="84" y="305"/>
                </a:lnTo>
                <a:lnTo>
                  <a:pt x="87" y="305"/>
                </a:lnTo>
                <a:lnTo>
                  <a:pt x="90" y="305"/>
                </a:lnTo>
                <a:lnTo>
                  <a:pt x="93" y="303"/>
                </a:lnTo>
                <a:lnTo>
                  <a:pt x="93" y="301"/>
                </a:lnTo>
                <a:lnTo>
                  <a:pt x="94" y="299"/>
                </a:lnTo>
                <a:lnTo>
                  <a:pt x="95" y="297"/>
                </a:lnTo>
                <a:lnTo>
                  <a:pt x="95" y="295"/>
                </a:lnTo>
                <a:lnTo>
                  <a:pt x="103" y="295"/>
                </a:lnTo>
                <a:lnTo>
                  <a:pt x="105" y="293"/>
                </a:lnTo>
                <a:lnTo>
                  <a:pt x="107" y="291"/>
                </a:lnTo>
                <a:lnTo>
                  <a:pt x="112" y="291"/>
                </a:lnTo>
                <a:lnTo>
                  <a:pt x="113" y="290"/>
                </a:lnTo>
                <a:lnTo>
                  <a:pt x="114" y="28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2" name="Freeform 120"/>
          <p:cNvSpPr>
            <a:spLocks/>
          </p:cNvSpPr>
          <p:nvPr/>
        </p:nvSpPr>
        <p:spPr bwMode="auto">
          <a:xfrm>
            <a:off x="3784600" y="3887788"/>
            <a:ext cx="1308100" cy="631825"/>
          </a:xfrm>
          <a:custGeom>
            <a:avLst/>
            <a:gdLst>
              <a:gd name="T0" fmla="*/ 2147483646 w 418"/>
              <a:gd name="T1" fmla="*/ 2147483646 h 219"/>
              <a:gd name="T2" fmla="*/ 2147483646 w 418"/>
              <a:gd name="T3" fmla="*/ 2147483646 h 219"/>
              <a:gd name="T4" fmla="*/ 2147483646 w 418"/>
              <a:gd name="T5" fmla="*/ 2147483646 h 219"/>
              <a:gd name="T6" fmla="*/ 2147483646 w 418"/>
              <a:gd name="T7" fmla="*/ 0 h 219"/>
              <a:gd name="T8" fmla="*/ 2147483646 w 418"/>
              <a:gd name="T9" fmla="*/ 2147483646 h 219"/>
              <a:gd name="T10" fmla="*/ 2147483646 w 418"/>
              <a:gd name="T11" fmla="*/ 2147483646 h 219"/>
              <a:gd name="T12" fmla="*/ 2147483646 w 418"/>
              <a:gd name="T13" fmla="*/ 2147483646 h 219"/>
              <a:gd name="T14" fmla="*/ 2147483646 w 418"/>
              <a:gd name="T15" fmla="*/ 2147483646 h 219"/>
              <a:gd name="T16" fmla="*/ 2147483646 w 418"/>
              <a:gd name="T17" fmla="*/ 2147483646 h 219"/>
              <a:gd name="T18" fmla="*/ 2147483646 w 418"/>
              <a:gd name="T19" fmla="*/ 2147483646 h 219"/>
              <a:gd name="T20" fmla="*/ 2147483646 w 418"/>
              <a:gd name="T21" fmla="*/ 2147483646 h 219"/>
              <a:gd name="T22" fmla="*/ 2147483646 w 418"/>
              <a:gd name="T23" fmla="*/ 2147483646 h 219"/>
              <a:gd name="T24" fmla="*/ 2147483646 w 418"/>
              <a:gd name="T25" fmla="*/ 2147483646 h 219"/>
              <a:gd name="T26" fmla="*/ 2147483646 w 418"/>
              <a:gd name="T27" fmla="*/ 2147483646 h 219"/>
              <a:gd name="T28" fmla="*/ 2147483646 w 418"/>
              <a:gd name="T29" fmla="*/ 2147483646 h 219"/>
              <a:gd name="T30" fmla="*/ 2147483646 w 418"/>
              <a:gd name="T31" fmla="*/ 2147483646 h 219"/>
              <a:gd name="T32" fmla="*/ 2147483646 w 418"/>
              <a:gd name="T33" fmla="*/ 2147483646 h 219"/>
              <a:gd name="T34" fmla="*/ 2147483646 w 418"/>
              <a:gd name="T35" fmla="*/ 2147483646 h 219"/>
              <a:gd name="T36" fmla="*/ 2147483646 w 418"/>
              <a:gd name="T37" fmla="*/ 2147483646 h 219"/>
              <a:gd name="T38" fmla="*/ 2147483646 w 418"/>
              <a:gd name="T39" fmla="*/ 2147483646 h 219"/>
              <a:gd name="T40" fmla="*/ 2147483646 w 418"/>
              <a:gd name="T41" fmla="*/ 2147483646 h 219"/>
              <a:gd name="T42" fmla="*/ 2147483646 w 418"/>
              <a:gd name="T43" fmla="*/ 2147483646 h 219"/>
              <a:gd name="T44" fmla="*/ 2147483646 w 418"/>
              <a:gd name="T45" fmla="*/ 2147483646 h 219"/>
              <a:gd name="T46" fmla="*/ 2147483646 w 418"/>
              <a:gd name="T47" fmla="*/ 2147483646 h 219"/>
              <a:gd name="T48" fmla="*/ 2147483646 w 418"/>
              <a:gd name="T49" fmla="*/ 2147483646 h 219"/>
              <a:gd name="T50" fmla="*/ 2147483646 w 418"/>
              <a:gd name="T51" fmla="*/ 2147483646 h 219"/>
              <a:gd name="T52" fmla="*/ 2147483646 w 418"/>
              <a:gd name="T53" fmla="*/ 2147483646 h 219"/>
              <a:gd name="T54" fmla="*/ 2147483646 w 418"/>
              <a:gd name="T55" fmla="*/ 2147483646 h 219"/>
              <a:gd name="T56" fmla="*/ 2147483646 w 418"/>
              <a:gd name="T57" fmla="*/ 2147483646 h 219"/>
              <a:gd name="T58" fmla="*/ 2147483646 w 418"/>
              <a:gd name="T59" fmla="*/ 2147483646 h 219"/>
              <a:gd name="T60" fmla="*/ 2147483646 w 418"/>
              <a:gd name="T61" fmla="*/ 2147483646 h 219"/>
              <a:gd name="T62" fmla="*/ 2147483646 w 418"/>
              <a:gd name="T63" fmla="*/ 2147483646 h 219"/>
              <a:gd name="T64" fmla="*/ 2147483646 w 418"/>
              <a:gd name="T65" fmla="*/ 2147483646 h 219"/>
              <a:gd name="T66" fmla="*/ 2147483646 w 418"/>
              <a:gd name="T67" fmla="*/ 2147483646 h 219"/>
              <a:gd name="T68" fmla="*/ 2147483646 w 418"/>
              <a:gd name="T69" fmla="*/ 2147483646 h 219"/>
              <a:gd name="T70" fmla="*/ 2147483646 w 418"/>
              <a:gd name="T71" fmla="*/ 2147483646 h 219"/>
              <a:gd name="T72" fmla="*/ 2147483646 w 418"/>
              <a:gd name="T73" fmla="*/ 2147483646 h 219"/>
              <a:gd name="T74" fmla="*/ 2147483646 w 418"/>
              <a:gd name="T75" fmla="*/ 2147483646 h 219"/>
              <a:gd name="T76" fmla="*/ 2147483646 w 418"/>
              <a:gd name="T77" fmla="*/ 2147483646 h 219"/>
              <a:gd name="T78" fmla="*/ 2147483646 w 418"/>
              <a:gd name="T79" fmla="*/ 2147483646 h 219"/>
              <a:gd name="T80" fmla="*/ 2147483646 w 418"/>
              <a:gd name="T81" fmla="*/ 2147483646 h 219"/>
              <a:gd name="T82" fmla="*/ 2147483646 w 418"/>
              <a:gd name="T83" fmla="*/ 2147483646 h 219"/>
              <a:gd name="T84" fmla="*/ 2147483646 w 418"/>
              <a:gd name="T85" fmla="*/ 2147483646 h 219"/>
              <a:gd name="T86" fmla="*/ 2147483646 w 418"/>
              <a:gd name="T87" fmla="*/ 2147483646 h 219"/>
              <a:gd name="T88" fmla="*/ 2147483646 w 418"/>
              <a:gd name="T89" fmla="*/ 2147483646 h 219"/>
              <a:gd name="T90" fmla="*/ 2147483646 w 418"/>
              <a:gd name="T91" fmla="*/ 2147483646 h 219"/>
              <a:gd name="T92" fmla="*/ 2147483646 w 418"/>
              <a:gd name="T93" fmla="*/ 2147483646 h 219"/>
              <a:gd name="T94" fmla="*/ 2147483646 w 418"/>
              <a:gd name="T95" fmla="*/ 2147483646 h 219"/>
              <a:gd name="T96" fmla="*/ 2147483646 w 418"/>
              <a:gd name="T97" fmla="*/ 2147483646 h 219"/>
              <a:gd name="T98" fmla="*/ 2147483646 w 418"/>
              <a:gd name="T99" fmla="*/ 2147483646 h 219"/>
              <a:gd name="T100" fmla="*/ 2147483646 w 418"/>
              <a:gd name="T101" fmla="*/ 2147483646 h 219"/>
              <a:gd name="T102" fmla="*/ 2147483646 w 418"/>
              <a:gd name="T103" fmla="*/ 2147483646 h 219"/>
              <a:gd name="T104" fmla="*/ 2147483646 w 418"/>
              <a:gd name="T105" fmla="*/ 2147483646 h 219"/>
              <a:gd name="T106" fmla="*/ 2147483646 w 418"/>
              <a:gd name="T107" fmla="*/ 2147483646 h 219"/>
              <a:gd name="T108" fmla="*/ 2147483646 w 418"/>
              <a:gd name="T109" fmla="*/ 2147483646 h 219"/>
              <a:gd name="T110" fmla="*/ 2147483646 w 418"/>
              <a:gd name="T111" fmla="*/ 2147483646 h 219"/>
              <a:gd name="T112" fmla="*/ 2147483646 w 418"/>
              <a:gd name="T113" fmla="*/ 2147483646 h 219"/>
              <a:gd name="T114" fmla="*/ 2147483646 w 418"/>
              <a:gd name="T115" fmla="*/ 2147483646 h 219"/>
              <a:gd name="T116" fmla="*/ 2147483646 w 418"/>
              <a:gd name="T117" fmla="*/ 2147483646 h 219"/>
              <a:gd name="T118" fmla="*/ 2147483646 w 418"/>
              <a:gd name="T119" fmla="*/ 2147483646 h 219"/>
              <a:gd name="T120" fmla="*/ 2147483646 w 418"/>
              <a:gd name="T121" fmla="*/ 2147483646 h 219"/>
              <a:gd name="T122" fmla="*/ 2147483646 w 418"/>
              <a:gd name="T123" fmla="*/ 2147483646 h 219"/>
              <a:gd name="T124" fmla="*/ 2147483646 w 418"/>
              <a:gd name="T125" fmla="*/ 2147483646 h 21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18" h="219">
                <a:moveTo>
                  <a:pt x="364" y="26"/>
                </a:moveTo>
                <a:lnTo>
                  <a:pt x="361" y="27"/>
                </a:lnTo>
                <a:lnTo>
                  <a:pt x="355" y="27"/>
                </a:lnTo>
                <a:lnTo>
                  <a:pt x="351" y="26"/>
                </a:lnTo>
                <a:lnTo>
                  <a:pt x="350" y="23"/>
                </a:lnTo>
                <a:lnTo>
                  <a:pt x="347" y="20"/>
                </a:lnTo>
                <a:lnTo>
                  <a:pt x="341" y="19"/>
                </a:lnTo>
                <a:lnTo>
                  <a:pt x="339" y="16"/>
                </a:lnTo>
                <a:lnTo>
                  <a:pt x="337" y="14"/>
                </a:lnTo>
                <a:lnTo>
                  <a:pt x="332" y="12"/>
                </a:lnTo>
                <a:lnTo>
                  <a:pt x="329" y="8"/>
                </a:lnTo>
                <a:lnTo>
                  <a:pt x="326" y="4"/>
                </a:lnTo>
                <a:lnTo>
                  <a:pt x="322" y="4"/>
                </a:lnTo>
                <a:lnTo>
                  <a:pt x="317" y="0"/>
                </a:lnTo>
                <a:lnTo>
                  <a:pt x="312" y="1"/>
                </a:lnTo>
                <a:lnTo>
                  <a:pt x="308" y="1"/>
                </a:lnTo>
                <a:lnTo>
                  <a:pt x="305" y="5"/>
                </a:lnTo>
                <a:lnTo>
                  <a:pt x="302" y="5"/>
                </a:lnTo>
                <a:lnTo>
                  <a:pt x="298" y="2"/>
                </a:lnTo>
                <a:lnTo>
                  <a:pt x="293" y="0"/>
                </a:lnTo>
                <a:lnTo>
                  <a:pt x="289" y="6"/>
                </a:lnTo>
                <a:lnTo>
                  <a:pt x="285" y="8"/>
                </a:lnTo>
                <a:lnTo>
                  <a:pt x="280" y="7"/>
                </a:lnTo>
                <a:lnTo>
                  <a:pt x="275" y="2"/>
                </a:lnTo>
                <a:lnTo>
                  <a:pt x="271" y="6"/>
                </a:lnTo>
                <a:lnTo>
                  <a:pt x="266" y="17"/>
                </a:lnTo>
                <a:lnTo>
                  <a:pt x="263" y="26"/>
                </a:lnTo>
                <a:lnTo>
                  <a:pt x="255" y="31"/>
                </a:lnTo>
                <a:lnTo>
                  <a:pt x="249" y="33"/>
                </a:lnTo>
                <a:lnTo>
                  <a:pt x="243" y="32"/>
                </a:lnTo>
                <a:lnTo>
                  <a:pt x="238" y="34"/>
                </a:lnTo>
                <a:lnTo>
                  <a:pt x="231" y="31"/>
                </a:lnTo>
                <a:lnTo>
                  <a:pt x="220" y="31"/>
                </a:lnTo>
                <a:lnTo>
                  <a:pt x="211" y="33"/>
                </a:lnTo>
                <a:lnTo>
                  <a:pt x="210" y="31"/>
                </a:lnTo>
                <a:lnTo>
                  <a:pt x="214" y="27"/>
                </a:lnTo>
                <a:lnTo>
                  <a:pt x="213" y="25"/>
                </a:lnTo>
                <a:lnTo>
                  <a:pt x="214" y="21"/>
                </a:lnTo>
                <a:lnTo>
                  <a:pt x="210" y="19"/>
                </a:lnTo>
                <a:lnTo>
                  <a:pt x="204" y="15"/>
                </a:lnTo>
                <a:lnTo>
                  <a:pt x="198" y="18"/>
                </a:lnTo>
                <a:lnTo>
                  <a:pt x="197" y="17"/>
                </a:lnTo>
                <a:lnTo>
                  <a:pt x="194" y="12"/>
                </a:lnTo>
                <a:lnTo>
                  <a:pt x="185" y="6"/>
                </a:lnTo>
                <a:lnTo>
                  <a:pt x="182" y="3"/>
                </a:lnTo>
                <a:lnTo>
                  <a:pt x="172" y="1"/>
                </a:lnTo>
                <a:lnTo>
                  <a:pt x="168" y="0"/>
                </a:lnTo>
                <a:lnTo>
                  <a:pt x="163" y="1"/>
                </a:lnTo>
                <a:lnTo>
                  <a:pt x="159" y="2"/>
                </a:lnTo>
                <a:lnTo>
                  <a:pt x="159" y="3"/>
                </a:lnTo>
                <a:lnTo>
                  <a:pt x="156" y="5"/>
                </a:lnTo>
                <a:lnTo>
                  <a:pt x="153" y="8"/>
                </a:lnTo>
                <a:lnTo>
                  <a:pt x="150" y="10"/>
                </a:lnTo>
                <a:lnTo>
                  <a:pt x="146" y="11"/>
                </a:lnTo>
                <a:lnTo>
                  <a:pt x="140" y="10"/>
                </a:lnTo>
                <a:lnTo>
                  <a:pt x="135" y="12"/>
                </a:lnTo>
                <a:lnTo>
                  <a:pt x="133" y="12"/>
                </a:lnTo>
                <a:lnTo>
                  <a:pt x="131" y="14"/>
                </a:lnTo>
                <a:lnTo>
                  <a:pt x="128" y="16"/>
                </a:lnTo>
                <a:lnTo>
                  <a:pt x="127" y="23"/>
                </a:lnTo>
                <a:lnTo>
                  <a:pt x="125" y="27"/>
                </a:lnTo>
                <a:lnTo>
                  <a:pt x="123" y="29"/>
                </a:lnTo>
                <a:lnTo>
                  <a:pt x="120" y="31"/>
                </a:lnTo>
                <a:lnTo>
                  <a:pt x="121" y="32"/>
                </a:lnTo>
                <a:lnTo>
                  <a:pt x="119" y="34"/>
                </a:lnTo>
                <a:lnTo>
                  <a:pt x="124" y="33"/>
                </a:lnTo>
                <a:lnTo>
                  <a:pt x="125" y="31"/>
                </a:lnTo>
                <a:lnTo>
                  <a:pt x="130" y="25"/>
                </a:lnTo>
                <a:lnTo>
                  <a:pt x="130" y="27"/>
                </a:lnTo>
                <a:lnTo>
                  <a:pt x="132" y="29"/>
                </a:lnTo>
                <a:lnTo>
                  <a:pt x="133" y="29"/>
                </a:lnTo>
                <a:lnTo>
                  <a:pt x="135" y="29"/>
                </a:lnTo>
                <a:lnTo>
                  <a:pt x="134" y="31"/>
                </a:lnTo>
                <a:lnTo>
                  <a:pt x="136" y="31"/>
                </a:lnTo>
                <a:lnTo>
                  <a:pt x="136" y="32"/>
                </a:lnTo>
                <a:lnTo>
                  <a:pt x="134" y="32"/>
                </a:lnTo>
                <a:lnTo>
                  <a:pt x="131" y="34"/>
                </a:lnTo>
                <a:lnTo>
                  <a:pt x="127" y="34"/>
                </a:lnTo>
                <a:lnTo>
                  <a:pt x="125" y="35"/>
                </a:lnTo>
                <a:lnTo>
                  <a:pt x="128" y="35"/>
                </a:lnTo>
                <a:lnTo>
                  <a:pt x="130" y="36"/>
                </a:lnTo>
                <a:lnTo>
                  <a:pt x="134" y="37"/>
                </a:lnTo>
                <a:lnTo>
                  <a:pt x="135" y="39"/>
                </a:lnTo>
                <a:lnTo>
                  <a:pt x="138" y="40"/>
                </a:lnTo>
                <a:lnTo>
                  <a:pt x="136" y="43"/>
                </a:lnTo>
                <a:lnTo>
                  <a:pt x="129" y="39"/>
                </a:lnTo>
                <a:lnTo>
                  <a:pt x="126" y="38"/>
                </a:lnTo>
                <a:lnTo>
                  <a:pt x="125" y="38"/>
                </a:lnTo>
                <a:lnTo>
                  <a:pt x="118" y="41"/>
                </a:lnTo>
                <a:lnTo>
                  <a:pt x="114" y="40"/>
                </a:lnTo>
                <a:lnTo>
                  <a:pt x="104" y="42"/>
                </a:lnTo>
                <a:lnTo>
                  <a:pt x="100" y="42"/>
                </a:lnTo>
                <a:lnTo>
                  <a:pt x="98" y="44"/>
                </a:lnTo>
                <a:lnTo>
                  <a:pt x="98" y="46"/>
                </a:lnTo>
                <a:lnTo>
                  <a:pt x="97" y="46"/>
                </a:lnTo>
                <a:lnTo>
                  <a:pt x="89" y="50"/>
                </a:lnTo>
                <a:lnTo>
                  <a:pt x="86" y="51"/>
                </a:lnTo>
                <a:lnTo>
                  <a:pt x="82" y="52"/>
                </a:lnTo>
                <a:lnTo>
                  <a:pt x="76" y="52"/>
                </a:lnTo>
                <a:lnTo>
                  <a:pt x="71" y="53"/>
                </a:lnTo>
                <a:lnTo>
                  <a:pt x="69" y="52"/>
                </a:lnTo>
                <a:lnTo>
                  <a:pt x="62" y="50"/>
                </a:lnTo>
                <a:lnTo>
                  <a:pt x="56" y="47"/>
                </a:lnTo>
                <a:lnTo>
                  <a:pt x="55" y="47"/>
                </a:lnTo>
                <a:lnTo>
                  <a:pt x="53" y="48"/>
                </a:lnTo>
                <a:lnTo>
                  <a:pt x="50" y="50"/>
                </a:lnTo>
                <a:lnTo>
                  <a:pt x="50" y="51"/>
                </a:lnTo>
                <a:lnTo>
                  <a:pt x="48" y="52"/>
                </a:lnTo>
                <a:lnTo>
                  <a:pt x="46" y="53"/>
                </a:lnTo>
                <a:lnTo>
                  <a:pt x="46" y="55"/>
                </a:lnTo>
                <a:lnTo>
                  <a:pt x="45" y="58"/>
                </a:lnTo>
                <a:lnTo>
                  <a:pt x="41" y="61"/>
                </a:lnTo>
                <a:lnTo>
                  <a:pt x="40" y="62"/>
                </a:lnTo>
                <a:lnTo>
                  <a:pt x="37" y="64"/>
                </a:lnTo>
                <a:lnTo>
                  <a:pt x="27" y="67"/>
                </a:lnTo>
                <a:lnTo>
                  <a:pt x="25" y="68"/>
                </a:lnTo>
                <a:lnTo>
                  <a:pt x="18" y="71"/>
                </a:lnTo>
                <a:lnTo>
                  <a:pt x="15" y="70"/>
                </a:lnTo>
                <a:lnTo>
                  <a:pt x="8" y="70"/>
                </a:lnTo>
                <a:lnTo>
                  <a:pt x="6" y="69"/>
                </a:lnTo>
                <a:lnTo>
                  <a:pt x="6" y="75"/>
                </a:lnTo>
                <a:lnTo>
                  <a:pt x="0" y="77"/>
                </a:lnTo>
                <a:lnTo>
                  <a:pt x="0" y="79"/>
                </a:lnTo>
                <a:lnTo>
                  <a:pt x="3" y="83"/>
                </a:lnTo>
                <a:lnTo>
                  <a:pt x="7" y="89"/>
                </a:lnTo>
                <a:lnTo>
                  <a:pt x="11" y="102"/>
                </a:lnTo>
                <a:lnTo>
                  <a:pt x="17" y="117"/>
                </a:lnTo>
                <a:lnTo>
                  <a:pt x="33" y="100"/>
                </a:lnTo>
                <a:lnTo>
                  <a:pt x="39" y="105"/>
                </a:lnTo>
                <a:lnTo>
                  <a:pt x="24" y="123"/>
                </a:lnTo>
                <a:lnTo>
                  <a:pt x="26" y="134"/>
                </a:lnTo>
                <a:lnTo>
                  <a:pt x="32" y="144"/>
                </a:lnTo>
                <a:lnTo>
                  <a:pt x="39" y="136"/>
                </a:lnTo>
                <a:lnTo>
                  <a:pt x="43" y="137"/>
                </a:lnTo>
                <a:lnTo>
                  <a:pt x="45" y="136"/>
                </a:lnTo>
                <a:lnTo>
                  <a:pt x="57" y="130"/>
                </a:lnTo>
                <a:lnTo>
                  <a:pt x="62" y="129"/>
                </a:lnTo>
                <a:lnTo>
                  <a:pt x="64" y="127"/>
                </a:lnTo>
                <a:lnTo>
                  <a:pt x="65" y="127"/>
                </a:lnTo>
                <a:lnTo>
                  <a:pt x="67" y="127"/>
                </a:lnTo>
                <a:lnTo>
                  <a:pt x="79" y="125"/>
                </a:lnTo>
                <a:lnTo>
                  <a:pt x="81" y="128"/>
                </a:lnTo>
                <a:lnTo>
                  <a:pt x="77" y="137"/>
                </a:lnTo>
                <a:lnTo>
                  <a:pt x="78" y="147"/>
                </a:lnTo>
                <a:lnTo>
                  <a:pt x="87" y="143"/>
                </a:lnTo>
                <a:lnTo>
                  <a:pt x="100" y="146"/>
                </a:lnTo>
                <a:lnTo>
                  <a:pt x="102" y="147"/>
                </a:lnTo>
                <a:lnTo>
                  <a:pt x="104" y="146"/>
                </a:lnTo>
                <a:lnTo>
                  <a:pt x="105" y="146"/>
                </a:lnTo>
                <a:lnTo>
                  <a:pt x="108" y="146"/>
                </a:lnTo>
                <a:lnTo>
                  <a:pt x="108" y="139"/>
                </a:lnTo>
                <a:lnTo>
                  <a:pt x="113" y="137"/>
                </a:lnTo>
                <a:lnTo>
                  <a:pt x="114" y="137"/>
                </a:lnTo>
                <a:lnTo>
                  <a:pt x="116" y="132"/>
                </a:lnTo>
                <a:lnTo>
                  <a:pt x="116" y="131"/>
                </a:lnTo>
                <a:lnTo>
                  <a:pt x="119" y="131"/>
                </a:lnTo>
                <a:lnTo>
                  <a:pt x="121" y="128"/>
                </a:lnTo>
                <a:lnTo>
                  <a:pt x="122" y="125"/>
                </a:lnTo>
                <a:lnTo>
                  <a:pt x="126" y="123"/>
                </a:lnTo>
                <a:lnTo>
                  <a:pt x="127" y="120"/>
                </a:lnTo>
                <a:lnTo>
                  <a:pt x="128" y="120"/>
                </a:lnTo>
                <a:lnTo>
                  <a:pt x="128" y="119"/>
                </a:lnTo>
                <a:lnTo>
                  <a:pt x="129" y="119"/>
                </a:lnTo>
                <a:lnTo>
                  <a:pt x="132" y="118"/>
                </a:lnTo>
                <a:lnTo>
                  <a:pt x="133" y="118"/>
                </a:lnTo>
                <a:lnTo>
                  <a:pt x="135" y="119"/>
                </a:lnTo>
                <a:lnTo>
                  <a:pt x="138" y="120"/>
                </a:lnTo>
                <a:lnTo>
                  <a:pt x="141" y="121"/>
                </a:lnTo>
                <a:lnTo>
                  <a:pt x="142" y="122"/>
                </a:lnTo>
                <a:lnTo>
                  <a:pt x="142" y="126"/>
                </a:lnTo>
                <a:lnTo>
                  <a:pt x="144" y="126"/>
                </a:lnTo>
                <a:lnTo>
                  <a:pt x="147" y="126"/>
                </a:lnTo>
                <a:lnTo>
                  <a:pt x="147" y="127"/>
                </a:lnTo>
                <a:lnTo>
                  <a:pt x="146" y="134"/>
                </a:lnTo>
                <a:lnTo>
                  <a:pt x="147" y="134"/>
                </a:lnTo>
                <a:lnTo>
                  <a:pt x="147" y="135"/>
                </a:lnTo>
                <a:lnTo>
                  <a:pt x="146" y="135"/>
                </a:lnTo>
                <a:lnTo>
                  <a:pt x="144" y="137"/>
                </a:lnTo>
                <a:lnTo>
                  <a:pt x="143" y="138"/>
                </a:lnTo>
                <a:lnTo>
                  <a:pt x="144" y="147"/>
                </a:lnTo>
                <a:lnTo>
                  <a:pt x="147" y="148"/>
                </a:lnTo>
                <a:lnTo>
                  <a:pt x="147" y="149"/>
                </a:lnTo>
                <a:lnTo>
                  <a:pt x="145" y="149"/>
                </a:lnTo>
                <a:lnTo>
                  <a:pt x="143" y="148"/>
                </a:lnTo>
                <a:lnTo>
                  <a:pt x="141" y="146"/>
                </a:lnTo>
                <a:lnTo>
                  <a:pt x="139" y="146"/>
                </a:lnTo>
                <a:lnTo>
                  <a:pt x="135" y="145"/>
                </a:lnTo>
                <a:lnTo>
                  <a:pt x="134" y="144"/>
                </a:lnTo>
                <a:lnTo>
                  <a:pt x="132" y="144"/>
                </a:lnTo>
                <a:lnTo>
                  <a:pt x="131" y="145"/>
                </a:lnTo>
                <a:lnTo>
                  <a:pt x="131" y="147"/>
                </a:lnTo>
                <a:lnTo>
                  <a:pt x="131" y="149"/>
                </a:lnTo>
                <a:lnTo>
                  <a:pt x="132" y="150"/>
                </a:lnTo>
                <a:lnTo>
                  <a:pt x="133" y="151"/>
                </a:lnTo>
                <a:lnTo>
                  <a:pt x="135" y="153"/>
                </a:lnTo>
                <a:lnTo>
                  <a:pt x="146" y="150"/>
                </a:lnTo>
                <a:lnTo>
                  <a:pt x="148" y="151"/>
                </a:lnTo>
                <a:lnTo>
                  <a:pt x="149" y="150"/>
                </a:lnTo>
                <a:lnTo>
                  <a:pt x="150" y="150"/>
                </a:lnTo>
                <a:lnTo>
                  <a:pt x="151" y="151"/>
                </a:lnTo>
                <a:lnTo>
                  <a:pt x="152" y="151"/>
                </a:lnTo>
                <a:lnTo>
                  <a:pt x="151" y="152"/>
                </a:lnTo>
                <a:lnTo>
                  <a:pt x="153" y="152"/>
                </a:lnTo>
                <a:lnTo>
                  <a:pt x="153" y="151"/>
                </a:lnTo>
                <a:lnTo>
                  <a:pt x="154" y="150"/>
                </a:lnTo>
                <a:lnTo>
                  <a:pt x="157" y="150"/>
                </a:lnTo>
                <a:lnTo>
                  <a:pt x="158" y="150"/>
                </a:lnTo>
                <a:lnTo>
                  <a:pt x="163" y="154"/>
                </a:lnTo>
                <a:lnTo>
                  <a:pt x="163" y="155"/>
                </a:lnTo>
                <a:lnTo>
                  <a:pt x="164" y="155"/>
                </a:lnTo>
                <a:lnTo>
                  <a:pt x="165" y="157"/>
                </a:lnTo>
                <a:lnTo>
                  <a:pt x="164" y="158"/>
                </a:lnTo>
                <a:lnTo>
                  <a:pt x="165" y="158"/>
                </a:lnTo>
                <a:lnTo>
                  <a:pt x="167" y="158"/>
                </a:lnTo>
                <a:lnTo>
                  <a:pt x="175" y="148"/>
                </a:lnTo>
                <a:lnTo>
                  <a:pt x="184" y="140"/>
                </a:lnTo>
                <a:lnTo>
                  <a:pt x="184" y="138"/>
                </a:lnTo>
                <a:lnTo>
                  <a:pt x="185" y="136"/>
                </a:lnTo>
                <a:lnTo>
                  <a:pt x="185" y="135"/>
                </a:lnTo>
                <a:lnTo>
                  <a:pt x="185" y="134"/>
                </a:lnTo>
                <a:lnTo>
                  <a:pt x="186" y="130"/>
                </a:lnTo>
                <a:lnTo>
                  <a:pt x="187" y="129"/>
                </a:lnTo>
                <a:lnTo>
                  <a:pt x="188" y="127"/>
                </a:lnTo>
                <a:lnTo>
                  <a:pt x="191" y="125"/>
                </a:lnTo>
                <a:lnTo>
                  <a:pt x="192" y="125"/>
                </a:lnTo>
                <a:lnTo>
                  <a:pt x="191" y="128"/>
                </a:lnTo>
                <a:lnTo>
                  <a:pt x="193" y="131"/>
                </a:lnTo>
                <a:lnTo>
                  <a:pt x="200" y="131"/>
                </a:lnTo>
                <a:lnTo>
                  <a:pt x="201" y="131"/>
                </a:lnTo>
                <a:lnTo>
                  <a:pt x="203" y="137"/>
                </a:lnTo>
                <a:lnTo>
                  <a:pt x="206" y="145"/>
                </a:lnTo>
                <a:lnTo>
                  <a:pt x="206" y="146"/>
                </a:lnTo>
                <a:lnTo>
                  <a:pt x="204" y="149"/>
                </a:lnTo>
                <a:lnTo>
                  <a:pt x="199" y="159"/>
                </a:lnTo>
                <a:lnTo>
                  <a:pt x="209" y="170"/>
                </a:lnTo>
                <a:lnTo>
                  <a:pt x="210" y="170"/>
                </a:lnTo>
                <a:lnTo>
                  <a:pt x="210" y="172"/>
                </a:lnTo>
                <a:lnTo>
                  <a:pt x="213" y="176"/>
                </a:lnTo>
                <a:lnTo>
                  <a:pt x="213" y="187"/>
                </a:lnTo>
                <a:lnTo>
                  <a:pt x="220" y="189"/>
                </a:lnTo>
                <a:lnTo>
                  <a:pt x="222" y="187"/>
                </a:lnTo>
                <a:lnTo>
                  <a:pt x="226" y="185"/>
                </a:lnTo>
                <a:lnTo>
                  <a:pt x="228" y="185"/>
                </a:lnTo>
                <a:lnTo>
                  <a:pt x="228" y="184"/>
                </a:lnTo>
                <a:lnTo>
                  <a:pt x="238" y="191"/>
                </a:lnTo>
                <a:lnTo>
                  <a:pt x="234" y="204"/>
                </a:lnTo>
                <a:lnTo>
                  <a:pt x="237" y="206"/>
                </a:lnTo>
                <a:lnTo>
                  <a:pt x="240" y="206"/>
                </a:lnTo>
                <a:lnTo>
                  <a:pt x="243" y="205"/>
                </a:lnTo>
                <a:lnTo>
                  <a:pt x="250" y="206"/>
                </a:lnTo>
                <a:lnTo>
                  <a:pt x="254" y="206"/>
                </a:lnTo>
                <a:lnTo>
                  <a:pt x="259" y="206"/>
                </a:lnTo>
                <a:lnTo>
                  <a:pt x="261" y="204"/>
                </a:lnTo>
                <a:lnTo>
                  <a:pt x="261" y="202"/>
                </a:lnTo>
                <a:lnTo>
                  <a:pt x="277" y="206"/>
                </a:lnTo>
                <a:lnTo>
                  <a:pt x="277" y="207"/>
                </a:lnTo>
                <a:lnTo>
                  <a:pt x="281" y="201"/>
                </a:lnTo>
                <a:lnTo>
                  <a:pt x="282" y="201"/>
                </a:lnTo>
                <a:lnTo>
                  <a:pt x="284" y="199"/>
                </a:lnTo>
                <a:lnTo>
                  <a:pt x="288" y="199"/>
                </a:lnTo>
                <a:lnTo>
                  <a:pt x="291" y="196"/>
                </a:lnTo>
                <a:lnTo>
                  <a:pt x="291" y="195"/>
                </a:lnTo>
                <a:lnTo>
                  <a:pt x="293" y="193"/>
                </a:lnTo>
                <a:lnTo>
                  <a:pt x="300" y="195"/>
                </a:lnTo>
                <a:lnTo>
                  <a:pt x="301" y="196"/>
                </a:lnTo>
                <a:lnTo>
                  <a:pt x="303" y="199"/>
                </a:lnTo>
                <a:lnTo>
                  <a:pt x="306" y="203"/>
                </a:lnTo>
                <a:lnTo>
                  <a:pt x="309" y="205"/>
                </a:lnTo>
                <a:lnTo>
                  <a:pt x="310" y="206"/>
                </a:lnTo>
                <a:lnTo>
                  <a:pt x="309" y="213"/>
                </a:lnTo>
                <a:lnTo>
                  <a:pt x="310" y="219"/>
                </a:lnTo>
                <a:lnTo>
                  <a:pt x="313" y="219"/>
                </a:lnTo>
                <a:lnTo>
                  <a:pt x="317" y="218"/>
                </a:lnTo>
                <a:lnTo>
                  <a:pt x="325" y="216"/>
                </a:lnTo>
                <a:lnTo>
                  <a:pt x="326" y="201"/>
                </a:lnTo>
                <a:lnTo>
                  <a:pt x="336" y="186"/>
                </a:lnTo>
                <a:lnTo>
                  <a:pt x="351" y="178"/>
                </a:lnTo>
                <a:lnTo>
                  <a:pt x="379" y="170"/>
                </a:lnTo>
                <a:lnTo>
                  <a:pt x="392" y="158"/>
                </a:lnTo>
                <a:lnTo>
                  <a:pt x="379" y="138"/>
                </a:lnTo>
                <a:lnTo>
                  <a:pt x="376" y="122"/>
                </a:lnTo>
                <a:lnTo>
                  <a:pt x="373" y="116"/>
                </a:lnTo>
                <a:lnTo>
                  <a:pt x="370" y="94"/>
                </a:lnTo>
                <a:lnTo>
                  <a:pt x="380" y="96"/>
                </a:lnTo>
                <a:lnTo>
                  <a:pt x="385" y="99"/>
                </a:lnTo>
                <a:lnTo>
                  <a:pt x="395" y="97"/>
                </a:lnTo>
                <a:lnTo>
                  <a:pt x="407" y="92"/>
                </a:lnTo>
                <a:lnTo>
                  <a:pt x="410" y="94"/>
                </a:lnTo>
                <a:lnTo>
                  <a:pt x="413" y="98"/>
                </a:lnTo>
                <a:lnTo>
                  <a:pt x="416" y="96"/>
                </a:lnTo>
                <a:lnTo>
                  <a:pt x="418" y="96"/>
                </a:lnTo>
                <a:lnTo>
                  <a:pt x="416" y="88"/>
                </a:lnTo>
                <a:lnTo>
                  <a:pt x="412" y="76"/>
                </a:lnTo>
                <a:lnTo>
                  <a:pt x="407" y="70"/>
                </a:lnTo>
                <a:lnTo>
                  <a:pt x="401" y="65"/>
                </a:lnTo>
                <a:lnTo>
                  <a:pt x="402" y="58"/>
                </a:lnTo>
                <a:lnTo>
                  <a:pt x="398" y="57"/>
                </a:lnTo>
                <a:lnTo>
                  <a:pt x="399" y="53"/>
                </a:lnTo>
                <a:lnTo>
                  <a:pt x="399" y="45"/>
                </a:lnTo>
                <a:lnTo>
                  <a:pt x="396" y="42"/>
                </a:lnTo>
                <a:lnTo>
                  <a:pt x="391" y="41"/>
                </a:lnTo>
                <a:lnTo>
                  <a:pt x="386" y="40"/>
                </a:lnTo>
                <a:lnTo>
                  <a:pt x="383" y="38"/>
                </a:lnTo>
                <a:lnTo>
                  <a:pt x="381" y="32"/>
                </a:lnTo>
                <a:lnTo>
                  <a:pt x="380" y="27"/>
                </a:lnTo>
                <a:lnTo>
                  <a:pt x="377" y="26"/>
                </a:lnTo>
                <a:lnTo>
                  <a:pt x="370" y="25"/>
                </a:lnTo>
                <a:lnTo>
                  <a:pt x="364" y="2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3" name="Freeform 121"/>
          <p:cNvSpPr>
            <a:spLocks/>
          </p:cNvSpPr>
          <p:nvPr/>
        </p:nvSpPr>
        <p:spPr bwMode="auto">
          <a:xfrm>
            <a:off x="5057775" y="3028950"/>
            <a:ext cx="1588" cy="1588"/>
          </a:xfrm>
          <a:custGeom>
            <a:avLst/>
            <a:gdLst>
              <a:gd name="T0" fmla="*/ 0 w 1588"/>
              <a:gd name="T1" fmla="*/ 0 h 1588"/>
              <a:gd name="T2" fmla="*/ 0 w 1588"/>
              <a:gd name="T3" fmla="*/ 0 h 1588"/>
              <a:gd name="T4" fmla="*/ 0 w 1588"/>
              <a:gd name="T5" fmla="*/ 0 h 1588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8" h="1588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4" name="Freeform 122"/>
          <p:cNvSpPr>
            <a:spLocks/>
          </p:cNvSpPr>
          <p:nvPr/>
        </p:nvSpPr>
        <p:spPr bwMode="auto">
          <a:xfrm>
            <a:off x="4910138" y="2824163"/>
            <a:ext cx="895350" cy="758825"/>
          </a:xfrm>
          <a:custGeom>
            <a:avLst/>
            <a:gdLst>
              <a:gd name="T0" fmla="*/ 2147483646 w 286"/>
              <a:gd name="T1" fmla="*/ 2147483646 h 263"/>
              <a:gd name="T2" fmla="*/ 2147483646 w 286"/>
              <a:gd name="T3" fmla="*/ 2147483646 h 263"/>
              <a:gd name="T4" fmla="*/ 2147483646 w 286"/>
              <a:gd name="T5" fmla="*/ 2147483646 h 263"/>
              <a:gd name="T6" fmla="*/ 2147483646 w 286"/>
              <a:gd name="T7" fmla="*/ 2147483646 h 263"/>
              <a:gd name="T8" fmla="*/ 2147483646 w 286"/>
              <a:gd name="T9" fmla="*/ 2147483646 h 263"/>
              <a:gd name="T10" fmla="*/ 2147483646 w 286"/>
              <a:gd name="T11" fmla="*/ 2147483646 h 263"/>
              <a:gd name="T12" fmla="*/ 2147483646 w 286"/>
              <a:gd name="T13" fmla="*/ 2147483646 h 263"/>
              <a:gd name="T14" fmla="*/ 2147483646 w 286"/>
              <a:gd name="T15" fmla="*/ 2147483646 h 263"/>
              <a:gd name="T16" fmla="*/ 2147483646 w 286"/>
              <a:gd name="T17" fmla="*/ 2147483646 h 263"/>
              <a:gd name="T18" fmla="*/ 2147483646 w 286"/>
              <a:gd name="T19" fmla="*/ 2147483646 h 263"/>
              <a:gd name="T20" fmla="*/ 2147483646 w 286"/>
              <a:gd name="T21" fmla="*/ 2147483646 h 263"/>
              <a:gd name="T22" fmla="*/ 2147483646 w 286"/>
              <a:gd name="T23" fmla="*/ 2147483646 h 263"/>
              <a:gd name="T24" fmla="*/ 2147483646 w 286"/>
              <a:gd name="T25" fmla="*/ 2147483646 h 263"/>
              <a:gd name="T26" fmla="*/ 2147483646 w 286"/>
              <a:gd name="T27" fmla="*/ 2147483646 h 263"/>
              <a:gd name="T28" fmla="*/ 2147483646 w 286"/>
              <a:gd name="T29" fmla="*/ 2147483646 h 263"/>
              <a:gd name="T30" fmla="*/ 2147483646 w 286"/>
              <a:gd name="T31" fmla="*/ 2147483646 h 263"/>
              <a:gd name="T32" fmla="*/ 2147483646 w 286"/>
              <a:gd name="T33" fmla="*/ 2147483646 h 263"/>
              <a:gd name="T34" fmla="*/ 2147483646 w 286"/>
              <a:gd name="T35" fmla="*/ 2147483646 h 263"/>
              <a:gd name="T36" fmla="*/ 2147483646 w 286"/>
              <a:gd name="T37" fmla="*/ 2147483646 h 263"/>
              <a:gd name="T38" fmla="*/ 2147483646 w 286"/>
              <a:gd name="T39" fmla="*/ 2147483646 h 263"/>
              <a:gd name="T40" fmla="*/ 2147483646 w 286"/>
              <a:gd name="T41" fmla="*/ 2147483646 h 263"/>
              <a:gd name="T42" fmla="*/ 2147483646 w 286"/>
              <a:gd name="T43" fmla="*/ 2147483646 h 263"/>
              <a:gd name="T44" fmla="*/ 2147483646 w 286"/>
              <a:gd name="T45" fmla="*/ 2147483646 h 263"/>
              <a:gd name="T46" fmla="*/ 2147483646 w 286"/>
              <a:gd name="T47" fmla="*/ 2147483646 h 263"/>
              <a:gd name="T48" fmla="*/ 2147483646 w 286"/>
              <a:gd name="T49" fmla="*/ 2147483646 h 263"/>
              <a:gd name="T50" fmla="*/ 2147483646 w 286"/>
              <a:gd name="T51" fmla="*/ 2147483646 h 263"/>
              <a:gd name="T52" fmla="*/ 2147483646 w 286"/>
              <a:gd name="T53" fmla="*/ 2147483646 h 263"/>
              <a:gd name="T54" fmla="*/ 2147483646 w 286"/>
              <a:gd name="T55" fmla="*/ 2147483646 h 263"/>
              <a:gd name="T56" fmla="*/ 2147483646 w 286"/>
              <a:gd name="T57" fmla="*/ 2147483646 h 263"/>
              <a:gd name="T58" fmla="*/ 2147483646 w 286"/>
              <a:gd name="T59" fmla="*/ 2147483646 h 263"/>
              <a:gd name="T60" fmla="*/ 2147483646 w 286"/>
              <a:gd name="T61" fmla="*/ 2147483646 h 263"/>
              <a:gd name="T62" fmla="*/ 2147483646 w 286"/>
              <a:gd name="T63" fmla="*/ 2147483646 h 263"/>
              <a:gd name="T64" fmla="*/ 2147483646 w 286"/>
              <a:gd name="T65" fmla="*/ 2147483646 h 263"/>
              <a:gd name="T66" fmla="*/ 2147483646 w 286"/>
              <a:gd name="T67" fmla="*/ 2147483646 h 263"/>
              <a:gd name="T68" fmla="*/ 2147483646 w 286"/>
              <a:gd name="T69" fmla="*/ 2147483646 h 263"/>
              <a:gd name="T70" fmla="*/ 2147483646 w 286"/>
              <a:gd name="T71" fmla="*/ 2147483646 h 263"/>
              <a:gd name="T72" fmla="*/ 2147483646 w 286"/>
              <a:gd name="T73" fmla="*/ 2147483646 h 263"/>
              <a:gd name="T74" fmla="*/ 2147483646 w 286"/>
              <a:gd name="T75" fmla="*/ 2147483646 h 263"/>
              <a:gd name="T76" fmla="*/ 2147483646 w 286"/>
              <a:gd name="T77" fmla="*/ 2147483646 h 263"/>
              <a:gd name="T78" fmla="*/ 2147483646 w 286"/>
              <a:gd name="T79" fmla="*/ 2147483646 h 263"/>
              <a:gd name="T80" fmla="*/ 2147483646 w 286"/>
              <a:gd name="T81" fmla="*/ 2147483646 h 263"/>
              <a:gd name="T82" fmla="*/ 2147483646 w 286"/>
              <a:gd name="T83" fmla="*/ 2147483646 h 263"/>
              <a:gd name="T84" fmla="*/ 2147483646 w 286"/>
              <a:gd name="T85" fmla="*/ 2147483646 h 263"/>
              <a:gd name="T86" fmla="*/ 2147483646 w 286"/>
              <a:gd name="T87" fmla="*/ 2147483646 h 263"/>
              <a:gd name="T88" fmla="*/ 2147483646 w 286"/>
              <a:gd name="T89" fmla="*/ 2147483646 h 263"/>
              <a:gd name="T90" fmla="*/ 2147483646 w 286"/>
              <a:gd name="T91" fmla="*/ 2147483646 h 263"/>
              <a:gd name="T92" fmla="*/ 2147483646 w 286"/>
              <a:gd name="T93" fmla="*/ 2147483646 h 263"/>
              <a:gd name="T94" fmla="*/ 2147483646 w 286"/>
              <a:gd name="T95" fmla="*/ 2147483646 h 263"/>
              <a:gd name="T96" fmla="*/ 2147483646 w 286"/>
              <a:gd name="T97" fmla="*/ 2147483646 h 263"/>
              <a:gd name="T98" fmla="*/ 2147483646 w 286"/>
              <a:gd name="T99" fmla="*/ 2147483646 h 263"/>
              <a:gd name="T100" fmla="*/ 2147483646 w 286"/>
              <a:gd name="T101" fmla="*/ 2147483646 h 263"/>
              <a:gd name="T102" fmla="*/ 2147483646 w 286"/>
              <a:gd name="T103" fmla="*/ 2147483646 h 263"/>
              <a:gd name="T104" fmla="*/ 2147483646 w 286"/>
              <a:gd name="T105" fmla="*/ 2147483646 h 263"/>
              <a:gd name="T106" fmla="*/ 2147483646 w 286"/>
              <a:gd name="T107" fmla="*/ 2147483646 h 263"/>
              <a:gd name="T108" fmla="*/ 2147483646 w 286"/>
              <a:gd name="T109" fmla="*/ 2147483646 h 263"/>
              <a:gd name="T110" fmla="*/ 2147483646 w 286"/>
              <a:gd name="T111" fmla="*/ 2147483646 h 263"/>
              <a:gd name="T112" fmla="*/ 2147483646 w 286"/>
              <a:gd name="T113" fmla="*/ 2147483646 h 263"/>
              <a:gd name="T114" fmla="*/ 2147483646 w 286"/>
              <a:gd name="T115" fmla="*/ 2147483646 h 2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6" h="263">
                <a:moveTo>
                  <a:pt x="277" y="204"/>
                </a:moveTo>
                <a:lnTo>
                  <a:pt x="276" y="204"/>
                </a:lnTo>
                <a:lnTo>
                  <a:pt x="276" y="198"/>
                </a:lnTo>
                <a:lnTo>
                  <a:pt x="279" y="190"/>
                </a:lnTo>
                <a:lnTo>
                  <a:pt x="280" y="187"/>
                </a:lnTo>
                <a:lnTo>
                  <a:pt x="280" y="186"/>
                </a:lnTo>
                <a:lnTo>
                  <a:pt x="281" y="184"/>
                </a:lnTo>
                <a:lnTo>
                  <a:pt x="282" y="180"/>
                </a:lnTo>
                <a:lnTo>
                  <a:pt x="286" y="175"/>
                </a:lnTo>
                <a:lnTo>
                  <a:pt x="286" y="173"/>
                </a:lnTo>
                <a:lnTo>
                  <a:pt x="285" y="167"/>
                </a:lnTo>
                <a:lnTo>
                  <a:pt x="284" y="163"/>
                </a:lnTo>
                <a:lnTo>
                  <a:pt x="282" y="159"/>
                </a:lnTo>
                <a:lnTo>
                  <a:pt x="282" y="158"/>
                </a:lnTo>
                <a:lnTo>
                  <a:pt x="277" y="157"/>
                </a:lnTo>
                <a:lnTo>
                  <a:pt x="276" y="155"/>
                </a:lnTo>
                <a:lnTo>
                  <a:pt x="274" y="150"/>
                </a:lnTo>
                <a:lnTo>
                  <a:pt x="271" y="147"/>
                </a:lnTo>
                <a:lnTo>
                  <a:pt x="270" y="141"/>
                </a:lnTo>
                <a:lnTo>
                  <a:pt x="268" y="137"/>
                </a:lnTo>
                <a:lnTo>
                  <a:pt x="267" y="134"/>
                </a:lnTo>
                <a:lnTo>
                  <a:pt x="266" y="133"/>
                </a:lnTo>
                <a:lnTo>
                  <a:pt x="264" y="135"/>
                </a:lnTo>
                <a:lnTo>
                  <a:pt x="263" y="136"/>
                </a:lnTo>
                <a:lnTo>
                  <a:pt x="260" y="142"/>
                </a:lnTo>
                <a:lnTo>
                  <a:pt x="257" y="145"/>
                </a:lnTo>
                <a:lnTo>
                  <a:pt x="256" y="146"/>
                </a:lnTo>
                <a:lnTo>
                  <a:pt x="238" y="140"/>
                </a:lnTo>
                <a:lnTo>
                  <a:pt x="236" y="140"/>
                </a:lnTo>
                <a:lnTo>
                  <a:pt x="236" y="137"/>
                </a:lnTo>
                <a:lnTo>
                  <a:pt x="219" y="137"/>
                </a:lnTo>
                <a:lnTo>
                  <a:pt x="213" y="135"/>
                </a:lnTo>
                <a:lnTo>
                  <a:pt x="209" y="133"/>
                </a:lnTo>
                <a:lnTo>
                  <a:pt x="206" y="131"/>
                </a:lnTo>
                <a:lnTo>
                  <a:pt x="202" y="128"/>
                </a:lnTo>
                <a:lnTo>
                  <a:pt x="202" y="121"/>
                </a:lnTo>
                <a:lnTo>
                  <a:pt x="203" y="115"/>
                </a:lnTo>
                <a:lnTo>
                  <a:pt x="198" y="104"/>
                </a:lnTo>
                <a:lnTo>
                  <a:pt x="199" y="104"/>
                </a:lnTo>
                <a:lnTo>
                  <a:pt x="204" y="105"/>
                </a:lnTo>
                <a:lnTo>
                  <a:pt x="206" y="104"/>
                </a:lnTo>
                <a:lnTo>
                  <a:pt x="207" y="100"/>
                </a:lnTo>
                <a:lnTo>
                  <a:pt x="209" y="101"/>
                </a:lnTo>
                <a:lnTo>
                  <a:pt x="210" y="100"/>
                </a:lnTo>
                <a:lnTo>
                  <a:pt x="213" y="101"/>
                </a:lnTo>
                <a:lnTo>
                  <a:pt x="214" y="101"/>
                </a:lnTo>
                <a:lnTo>
                  <a:pt x="213" y="99"/>
                </a:lnTo>
                <a:lnTo>
                  <a:pt x="208" y="94"/>
                </a:lnTo>
                <a:lnTo>
                  <a:pt x="207" y="93"/>
                </a:lnTo>
                <a:lnTo>
                  <a:pt x="205" y="91"/>
                </a:lnTo>
                <a:lnTo>
                  <a:pt x="207" y="81"/>
                </a:lnTo>
                <a:lnTo>
                  <a:pt x="204" y="77"/>
                </a:lnTo>
                <a:lnTo>
                  <a:pt x="200" y="77"/>
                </a:lnTo>
                <a:lnTo>
                  <a:pt x="200" y="69"/>
                </a:lnTo>
                <a:lnTo>
                  <a:pt x="180" y="60"/>
                </a:lnTo>
                <a:lnTo>
                  <a:pt x="165" y="64"/>
                </a:lnTo>
                <a:lnTo>
                  <a:pt x="158" y="71"/>
                </a:lnTo>
                <a:lnTo>
                  <a:pt x="158" y="76"/>
                </a:lnTo>
                <a:lnTo>
                  <a:pt x="158" y="82"/>
                </a:lnTo>
                <a:lnTo>
                  <a:pt x="155" y="80"/>
                </a:lnTo>
                <a:lnTo>
                  <a:pt x="151" y="80"/>
                </a:lnTo>
                <a:lnTo>
                  <a:pt x="149" y="79"/>
                </a:lnTo>
                <a:lnTo>
                  <a:pt x="147" y="79"/>
                </a:lnTo>
                <a:lnTo>
                  <a:pt x="146" y="82"/>
                </a:lnTo>
                <a:lnTo>
                  <a:pt x="142" y="81"/>
                </a:lnTo>
                <a:lnTo>
                  <a:pt x="140" y="79"/>
                </a:lnTo>
                <a:lnTo>
                  <a:pt x="135" y="80"/>
                </a:lnTo>
                <a:lnTo>
                  <a:pt x="132" y="81"/>
                </a:lnTo>
                <a:lnTo>
                  <a:pt x="129" y="82"/>
                </a:lnTo>
                <a:lnTo>
                  <a:pt x="127" y="78"/>
                </a:lnTo>
                <a:lnTo>
                  <a:pt x="127" y="76"/>
                </a:lnTo>
                <a:lnTo>
                  <a:pt x="124" y="72"/>
                </a:lnTo>
                <a:lnTo>
                  <a:pt x="121" y="69"/>
                </a:lnTo>
                <a:lnTo>
                  <a:pt x="116" y="67"/>
                </a:lnTo>
                <a:lnTo>
                  <a:pt x="116" y="64"/>
                </a:lnTo>
                <a:lnTo>
                  <a:pt x="115" y="63"/>
                </a:lnTo>
                <a:lnTo>
                  <a:pt x="112" y="64"/>
                </a:lnTo>
                <a:lnTo>
                  <a:pt x="109" y="65"/>
                </a:lnTo>
                <a:lnTo>
                  <a:pt x="107" y="64"/>
                </a:lnTo>
                <a:lnTo>
                  <a:pt x="105" y="64"/>
                </a:lnTo>
                <a:lnTo>
                  <a:pt x="103" y="64"/>
                </a:lnTo>
                <a:lnTo>
                  <a:pt x="100" y="62"/>
                </a:lnTo>
                <a:lnTo>
                  <a:pt x="98" y="60"/>
                </a:lnTo>
                <a:lnTo>
                  <a:pt x="91" y="59"/>
                </a:lnTo>
                <a:lnTo>
                  <a:pt x="90" y="62"/>
                </a:lnTo>
                <a:lnTo>
                  <a:pt x="87" y="60"/>
                </a:lnTo>
                <a:lnTo>
                  <a:pt x="83" y="59"/>
                </a:lnTo>
                <a:lnTo>
                  <a:pt x="80" y="56"/>
                </a:lnTo>
                <a:lnTo>
                  <a:pt x="79" y="50"/>
                </a:lnTo>
                <a:lnTo>
                  <a:pt x="76" y="44"/>
                </a:lnTo>
                <a:lnTo>
                  <a:pt x="73" y="39"/>
                </a:lnTo>
                <a:lnTo>
                  <a:pt x="73" y="36"/>
                </a:lnTo>
                <a:lnTo>
                  <a:pt x="74" y="34"/>
                </a:lnTo>
                <a:lnTo>
                  <a:pt x="79" y="32"/>
                </a:lnTo>
                <a:lnTo>
                  <a:pt x="83" y="28"/>
                </a:lnTo>
                <a:lnTo>
                  <a:pt x="87" y="24"/>
                </a:lnTo>
                <a:lnTo>
                  <a:pt x="90" y="20"/>
                </a:lnTo>
                <a:lnTo>
                  <a:pt x="86" y="16"/>
                </a:lnTo>
                <a:lnTo>
                  <a:pt x="83" y="12"/>
                </a:lnTo>
                <a:lnTo>
                  <a:pt x="79" y="8"/>
                </a:lnTo>
                <a:lnTo>
                  <a:pt x="76" y="5"/>
                </a:lnTo>
                <a:lnTo>
                  <a:pt x="74" y="2"/>
                </a:lnTo>
                <a:lnTo>
                  <a:pt x="72" y="0"/>
                </a:lnTo>
                <a:lnTo>
                  <a:pt x="62" y="4"/>
                </a:lnTo>
                <a:lnTo>
                  <a:pt x="55" y="4"/>
                </a:lnTo>
                <a:lnTo>
                  <a:pt x="56" y="8"/>
                </a:lnTo>
                <a:lnTo>
                  <a:pt x="53" y="11"/>
                </a:lnTo>
                <a:lnTo>
                  <a:pt x="50" y="13"/>
                </a:lnTo>
                <a:lnTo>
                  <a:pt x="49" y="11"/>
                </a:lnTo>
                <a:lnTo>
                  <a:pt x="45" y="12"/>
                </a:lnTo>
                <a:lnTo>
                  <a:pt x="43" y="12"/>
                </a:lnTo>
                <a:lnTo>
                  <a:pt x="40" y="8"/>
                </a:lnTo>
                <a:lnTo>
                  <a:pt x="38" y="4"/>
                </a:lnTo>
                <a:lnTo>
                  <a:pt x="36" y="5"/>
                </a:lnTo>
                <a:lnTo>
                  <a:pt x="35" y="8"/>
                </a:lnTo>
                <a:lnTo>
                  <a:pt x="29" y="7"/>
                </a:lnTo>
                <a:lnTo>
                  <a:pt x="27" y="9"/>
                </a:lnTo>
                <a:lnTo>
                  <a:pt x="27" y="11"/>
                </a:lnTo>
                <a:lnTo>
                  <a:pt x="24" y="14"/>
                </a:lnTo>
                <a:lnTo>
                  <a:pt x="22" y="15"/>
                </a:lnTo>
                <a:lnTo>
                  <a:pt x="21" y="18"/>
                </a:lnTo>
                <a:lnTo>
                  <a:pt x="17" y="20"/>
                </a:lnTo>
                <a:lnTo>
                  <a:pt x="12" y="18"/>
                </a:lnTo>
                <a:lnTo>
                  <a:pt x="9" y="18"/>
                </a:lnTo>
                <a:lnTo>
                  <a:pt x="3" y="14"/>
                </a:lnTo>
                <a:lnTo>
                  <a:pt x="0" y="16"/>
                </a:lnTo>
                <a:lnTo>
                  <a:pt x="4" y="18"/>
                </a:lnTo>
                <a:lnTo>
                  <a:pt x="6" y="22"/>
                </a:lnTo>
                <a:lnTo>
                  <a:pt x="8" y="24"/>
                </a:lnTo>
                <a:lnTo>
                  <a:pt x="16" y="24"/>
                </a:lnTo>
                <a:lnTo>
                  <a:pt x="19" y="25"/>
                </a:lnTo>
                <a:lnTo>
                  <a:pt x="24" y="28"/>
                </a:lnTo>
                <a:lnTo>
                  <a:pt x="27" y="31"/>
                </a:lnTo>
                <a:lnTo>
                  <a:pt x="30" y="33"/>
                </a:lnTo>
                <a:lnTo>
                  <a:pt x="33" y="36"/>
                </a:lnTo>
                <a:lnTo>
                  <a:pt x="35" y="40"/>
                </a:lnTo>
                <a:lnTo>
                  <a:pt x="37" y="43"/>
                </a:lnTo>
                <a:lnTo>
                  <a:pt x="39" y="46"/>
                </a:lnTo>
                <a:lnTo>
                  <a:pt x="39" y="48"/>
                </a:lnTo>
                <a:lnTo>
                  <a:pt x="39" y="52"/>
                </a:lnTo>
                <a:lnTo>
                  <a:pt x="39" y="55"/>
                </a:lnTo>
                <a:lnTo>
                  <a:pt x="38" y="56"/>
                </a:lnTo>
                <a:lnTo>
                  <a:pt x="37" y="58"/>
                </a:lnTo>
                <a:lnTo>
                  <a:pt x="36" y="59"/>
                </a:lnTo>
                <a:lnTo>
                  <a:pt x="35" y="63"/>
                </a:lnTo>
                <a:lnTo>
                  <a:pt x="37" y="64"/>
                </a:lnTo>
                <a:lnTo>
                  <a:pt x="40" y="64"/>
                </a:lnTo>
                <a:lnTo>
                  <a:pt x="41" y="65"/>
                </a:lnTo>
                <a:lnTo>
                  <a:pt x="45" y="66"/>
                </a:lnTo>
                <a:lnTo>
                  <a:pt x="48" y="67"/>
                </a:lnTo>
                <a:cubicBezTo>
                  <a:pt x="48" y="68"/>
                  <a:pt x="48" y="69"/>
                  <a:pt x="47" y="70"/>
                </a:cubicBezTo>
                <a:lnTo>
                  <a:pt x="50" y="73"/>
                </a:lnTo>
                <a:lnTo>
                  <a:pt x="51" y="73"/>
                </a:lnTo>
                <a:lnTo>
                  <a:pt x="51" y="75"/>
                </a:lnTo>
                <a:lnTo>
                  <a:pt x="50" y="75"/>
                </a:lnTo>
                <a:lnTo>
                  <a:pt x="49" y="75"/>
                </a:lnTo>
                <a:lnTo>
                  <a:pt x="43" y="79"/>
                </a:lnTo>
                <a:lnTo>
                  <a:pt x="40" y="80"/>
                </a:lnTo>
                <a:lnTo>
                  <a:pt x="36" y="80"/>
                </a:lnTo>
                <a:lnTo>
                  <a:pt x="36" y="81"/>
                </a:lnTo>
                <a:lnTo>
                  <a:pt x="31" y="83"/>
                </a:lnTo>
                <a:lnTo>
                  <a:pt x="27" y="83"/>
                </a:lnTo>
                <a:lnTo>
                  <a:pt x="27" y="82"/>
                </a:lnTo>
                <a:lnTo>
                  <a:pt x="25" y="82"/>
                </a:lnTo>
                <a:lnTo>
                  <a:pt x="11" y="85"/>
                </a:lnTo>
                <a:lnTo>
                  <a:pt x="9" y="87"/>
                </a:lnTo>
                <a:lnTo>
                  <a:pt x="9" y="88"/>
                </a:lnTo>
                <a:lnTo>
                  <a:pt x="10" y="94"/>
                </a:lnTo>
                <a:lnTo>
                  <a:pt x="9" y="94"/>
                </a:lnTo>
                <a:lnTo>
                  <a:pt x="6" y="94"/>
                </a:lnTo>
                <a:lnTo>
                  <a:pt x="5" y="95"/>
                </a:lnTo>
                <a:lnTo>
                  <a:pt x="8" y="97"/>
                </a:lnTo>
                <a:lnTo>
                  <a:pt x="10" y="97"/>
                </a:lnTo>
                <a:lnTo>
                  <a:pt x="12" y="103"/>
                </a:lnTo>
                <a:lnTo>
                  <a:pt x="14" y="105"/>
                </a:lnTo>
                <a:lnTo>
                  <a:pt x="15" y="107"/>
                </a:lnTo>
                <a:lnTo>
                  <a:pt x="17" y="117"/>
                </a:lnTo>
                <a:lnTo>
                  <a:pt x="19" y="118"/>
                </a:lnTo>
                <a:lnTo>
                  <a:pt x="23" y="122"/>
                </a:lnTo>
                <a:lnTo>
                  <a:pt x="27" y="128"/>
                </a:lnTo>
                <a:lnTo>
                  <a:pt x="29" y="134"/>
                </a:lnTo>
                <a:lnTo>
                  <a:pt x="33" y="132"/>
                </a:lnTo>
                <a:lnTo>
                  <a:pt x="35" y="130"/>
                </a:lnTo>
                <a:lnTo>
                  <a:pt x="38" y="133"/>
                </a:lnTo>
                <a:lnTo>
                  <a:pt x="48" y="123"/>
                </a:lnTo>
                <a:lnTo>
                  <a:pt x="52" y="122"/>
                </a:lnTo>
                <a:lnTo>
                  <a:pt x="56" y="123"/>
                </a:lnTo>
                <a:lnTo>
                  <a:pt x="59" y="128"/>
                </a:lnTo>
                <a:lnTo>
                  <a:pt x="60" y="131"/>
                </a:lnTo>
                <a:lnTo>
                  <a:pt x="68" y="135"/>
                </a:lnTo>
                <a:lnTo>
                  <a:pt x="68" y="137"/>
                </a:lnTo>
                <a:lnTo>
                  <a:pt x="69" y="144"/>
                </a:lnTo>
                <a:lnTo>
                  <a:pt x="71" y="148"/>
                </a:lnTo>
                <a:lnTo>
                  <a:pt x="72" y="149"/>
                </a:lnTo>
                <a:lnTo>
                  <a:pt x="71" y="152"/>
                </a:lnTo>
                <a:lnTo>
                  <a:pt x="71" y="155"/>
                </a:lnTo>
                <a:lnTo>
                  <a:pt x="71" y="158"/>
                </a:lnTo>
                <a:lnTo>
                  <a:pt x="75" y="158"/>
                </a:lnTo>
                <a:lnTo>
                  <a:pt x="74" y="162"/>
                </a:lnTo>
                <a:lnTo>
                  <a:pt x="74" y="167"/>
                </a:lnTo>
                <a:lnTo>
                  <a:pt x="71" y="169"/>
                </a:lnTo>
                <a:lnTo>
                  <a:pt x="67" y="171"/>
                </a:lnTo>
                <a:lnTo>
                  <a:pt x="63" y="173"/>
                </a:lnTo>
                <a:lnTo>
                  <a:pt x="66" y="174"/>
                </a:lnTo>
                <a:lnTo>
                  <a:pt x="67" y="176"/>
                </a:lnTo>
                <a:lnTo>
                  <a:pt x="62" y="178"/>
                </a:lnTo>
                <a:lnTo>
                  <a:pt x="63" y="183"/>
                </a:lnTo>
                <a:lnTo>
                  <a:pt x="62" y="188"/>
                </a:lnTo>
                <a:lnTo>
                  <a:pt x="61" y="191"/>
                </a:lnTo>
                <a:lnTo>
                  <a:pt x="64" y="191"/>
                </a:lnTo>
                <a:lnTo>
                  <a:pt x="65" y="194"/>
                </a:lnTo>
                <a:lnTo>
                  <a:pt x="65" y="196"/>
                </a:lnTo>
                <a:lnTo>
                  <a:pt x="69" y="197"/>
                </a:lnTo>
                <a:lnTo>
                  <a:pt x="69" y="200"/>
                </a:lnTo>
                <a:lnTo>
                  <a:pt x="72" y="206"/>
                </a:lnTo>
                <a:lnTo>
                  <a:pt x="74" y="207"/>
                </a:lnTo>
                <a:lnTo>
                  <a:pt x="74" y="210"/>
                </a:lnTo>
                <a:lnTo>
                  <a:pt x="76" y="211"/>
                </a:lnTo>
                <a:lnTo>
                  <a:pt x="76" y="214"/>
                </a:lnTo>
                <a:lnTo>
                  <a:pt x="79" y="214"/>
                </a:lnTo>
                <a:lnTo>
                  <a:pt x="81" y="214"/>
                </a:lnTo>
                <a:lnTo>
                  <a:pt x="80" y="218"/>
                </a:lnTo>
                <a:lnTo>
                  <a:pt x="79" y="220"/>
                </a:lnTo>
                <a:lnTo>
                  <a:pt x="81" y="223"/>
                </a:lnTo>
                <a:lnTo>
                  <a:pt x="83" y="223"/>
                </a:lnTo>
                <a:lnTo>
                  <a:pt x="84" y="225"/>
                </a:lnTo>
                <a:lnTo>
                  <a:pt x="86" y="224"/>
                </a:lnTo>
                <a:lnTo>
                  <a:pt x="85" y="221"/>
                </a:lnTo>
                <a:lnTo>
                  <a:pt x="87" y="220"/>
                </a:lnTo>
                <a:lnTo>
                  <a:pt x="93" y="220"/>
                </a:lnTo>
                <a:lnTo>
                  <a:pt x="96" y="223"/>
                </a:lnTo>
                <a:lnTo>
                  <a:pt x="102" y="223"/>
                </a:lnTo>
                <a:lnTo>
                  <a:pt x="107" y="223"/>
                </a:lnTo>
                <a:lnTo>
                  <a:pt x="112" y="221"/>
                </a:lnTo>
                <a:lnTo>
                  <a:pt x="114" y="223"/>
                </a:lnTo>
                <a:lnTo>
                  <a:pt x="121" y="224"/>
                </a:lnTo>
                <a:lnTo>
                  <a:pt x="126" y="223"/>
                </a:lnTo>
                <a:lnTo>
                  <a:pt x="126" y="220"/>
                </a:lnTo>
                <a:lnTo>
                  <a:pt x="125" y="216"/>
                </a:lnTo>
                <a:lnTo>
                  <a:pt x="139" y="217"/>
                </a:lnTo>
                <a:lnTo>
                  <a:pt x="142" y="225"/>
                </a:lnTo>
                <a:lnTo>
                  <a:pt x="146" y="228"/>
                </a:lnTo>
                <a:lnTo>
                  <a:pt x="149" y="232"/>
                </a:lnTo>
                <a:lnTo>
                  <a:pt x="151" y="232"/>
                </a:lnTo>
                <a:lnTo>
                  <a:pt x="153" y="238"/>
                </a:lnTo>
                <a:lnTo>
                  <a:pt x="157" y="240"/>
                </a:lnTo>
                <a:lnTo>
                  <a:pt x="160" y="239"/>
                </a:lnTo>
                <a:lnTo>
                  <a:pt x="165" y="239"/>
                </a:lnTo>
                <a:lnTo>
                  <a:pt x="172" y="239"/>
                </a:lnTo>
                <a:lnTo>
                  <a:pt x="176" y="238"/>
                </a:lnTo>
                <a:lnTo>
                  <a:pt x="179" y="238"/>
                </a:lnTo>
                <a:lnTo>
                  <a:pt x="181" y="240"/>
                </a:lnTo>
                <a:lnTo>
                  <a:pt x="182" y="243"/>
                </a:lnTo>
                <a:lnTo>
                  <a:pt x="183" y="244"/>
                </a:lnTo>
                <a:lnTo>
                  <a:pt x="187" y="241"/>
                </a:lnTo>
                <a:lnTo>
                  <a:pt x="189" y="242"/>
                </a:lnTo>
                <a:lnTo>
                  <a:pt x="191" y="240"/>
                </a:lnTo>
                <a:lnTo>
                  <a:pt x="196" y="244"/>
                </a:lnTo>
                <a:lnTo>
                  <a:pt x="197" y="253"/>
                </a:lnTo>
                <a:lnTo>
                  <a:pt x="195" y="254"/>
                </a:lnTo>
                <a:lnTo>
                  <a:pt x="195" y="257"/>
                </a:lnTo>
                <a:lnTo>
                  <a:pt x="199" y="258"/>
                </a:lnTo>
                <a:lnTo>
                  <a:pt x="202" y="258"/>
                </a:lnTo>
                <a:lnTo>
                  <a:pt x="205" y="260"/>
                </a:lnTo>
                <a:lnTo>
                  <a:pt x="218" y="263"/>
                </a:lnTo>
                <a:lnTo>
                  <a:pt x="218" y="261"/>
                </a:lnTo>
                <a:lnTo>
                  <a:pt x="235" y="261"/>
                </a:lnTo>
                <a:lnTo>
                  <a:pt x="239" y="260"/>
                </a:lnTo>
                <a:lnTo>
                  <a:pt x="241" y="258"/>
                </a:lnTo>
                <a:lnTo>
                  <a:pt x="242" y="256"/>
                </a:lnTo>
                <a:lnTo>
                  <a:pt x="245" y="247"/>
                </a:lnTo>
                <a:lnTo>
                  <a:pt x="246" y="246"/>
                </a:lnTo>
                <a:lnTo>
                  <a:pt x="250" y="242"/>
                </a:lnTo>
                <a:lnTo>
                  <a:pt x="250" y="240"/>
                </a:lnTo>
                <a:lnTo>
                  <a:pt x="257" y="238"/>
                </a:lnTo>
                <a:lnTo>
                  <a:pt x="260" y="238"/>
                </a:lnTo>
                <a:lnTo>
                  <a:pt x="263" y="232"/>
                </a:lnTo>
                <a:lnTo>
                  <a:pt x="265" y="229"/>
                </a:lnTo>
                <a:lnTo>
                  <a:pt x="266" y="223"/>
                </a:lnTo>
                <a:lnTo>
                  <a:pt x="267" y="221"/>
                </a:lnTo>
                <a:lnTo>
                  <a:pt x="268" y="221"/>
                </a:lnTo>
                <a:lnTo>
                  <a:pt x="272" y="220"/>
                </a:lnTo>
                <a:lnTo>
                  <a:pt x="274" y="221"/>
                </a:lnTo>
                <a:lnTo>
                  <a:pt x="275" y="221"/>
                </a:lnTo>
                <a:lnTo>
                  <a:pt x="276" y="221"/>
                </a:lnTo>
                <a:lnTo>
                  <a:pt x="279" y="220"/>
                </a:lnTo>
                <a:lnTo>
                  <a:pt x="283" y="218"/>
                </a:lnTo>
                <a:lnTo>
                  <a:pt x="284" y="218"/>
                </a:lnTo>
                <a:lnTo>
                  <a:pt x="285" y="215"/>
                </a:lnTo>
                <a:lnTo>
                  <a:pt x="279" y="210"/>
                </a:lnTo>
                <a:lnTo>
                  <a:pt x="277" y="204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5" name="Freeform 123"/>
          <p:cNvSpPr>
            <a:spLocks noEditPoints="1"/>
          </p:cNvSpPr>
          <p:nvPr/>
        </p:nvSpPr>
        <p:spPr bwMode="auto">
          <a:xfrm>
            <a:off x="4773613" y="2832100"/>
            <a:ext cx="287337" cy="236538"/>
          </a:xfrm>
          <a:custGeom>
            <a:avLst/>
            <a:gdLst>
              <a:gd name="T0" fmla="*/ 2147483646 w 92"/>
              <a:gd name="T1" fmla="*/ 2147483646 h 82"/>
              <a:gd name="T2" fmla="*/ 2147483646 w 92"/>
              <a:gd name="T3" fmla="*/ 2147483646 h 82"/>
              <a:gd name="T4" fmla="*/ 2147483646 w 92"/>
              <a:gd name="T5" fmla="*/ 2147483646 h 82"/>
              <a:gd name="T6" fmla="*/ 2147483646 w 92"/>
              <a:gd name="T7" fmla="*/ 2147483646 h 82"/>
              <a:gd name="T8" fmla="*/ 2147483646 w 92"/>
              <a:gd name="T9" fmla="*/ 2147483646 h 82"/>
              <a:gd name="T10" fmla="*/ 2147483646 w 92"/>
              <a:gd name="T11" fmla="*/ 2147483646 h 82"/>
              <a:gd name="T12" fmla="*/ 2147483646 w 92"/>
              <a:gd name="T13" fmla="*/ 2147483646 h 82"/>
              <a:gd name="T14" fmla="*/ 2147483646 w 92"/>
              <a:gd name="T15" fmla="*/ 2147483646 h 82"/>
              <a:gd name="T16" fmla="*/ 2147483646 w 92"/>
              <a:gd name="T17" fmla="*/ 2147483646 h 82"/>
              <a:gd name="T18" fmla="*/ 2147483646 w 92"/>
              <a:gd name="T19" fmla="*/ 2147483646 h 82"/>
              <a:gd name="T20" fmla="*/ 2147483646 w 92"/>
              <a:gd name="T21" fmla="*/ 2147483646 h 82"/>
              <a:gd name="T22" fmla="*/ 2147483646 w 92"/>
              <a:gd name="T23" fmla="*/ 2147483646 h 82"/>
              <a:gd name="T24" fmla="*/ 2147483646 w 92"/>
              <a:gd name="T25" fmla="*/ 2147483646 h 82"/>
              <a:gd name="T26" fmla="*/ 2147483646 w 92"/>
              <a:gd name="T27" fmla="*/ 2147483646 h 82"/>
              <a:gd name="T28" fmla="*/ 2147483646 w 92"/>
              <a:gd name="T29" fmla="*/ 2147483646 h 82"/>
              <a:gd name="T30" fmla="*/ 2147483646 w 92"/>
              <a:gd name="T31" fmla="*/ 2147483646 h 82"/>
              <a:gd name="T32" fmla="*/ 2147483646 w 92"/>
              <a:gd name="T33" fmla="*/ 2147483646 h 82"/>
              <a:gd name="T34" fmla="*/ 2147483646 w 92"/>
              <a:gd name="T35" fmla="*/ 2147483646 h 82"/>
              <a:gd name="T36" fmla="*/ 2147483646 w 92"/>
              <a:gd name="T37" fmla="*/ 2147483646 h 82"/>
              <a:gd name="T38" fmla="*/ 2147483646 w 92"/>
              <a:gd name="T39" fmla="*/ 2147483646 h 82"/>
              <a:gd name="T40" fmla="*/ 2147483646 w 92"/>
              <a:gd name="T41" fmla="*/ 2147483646 h 82"/>
              <a:gd name="T42" fmla="*/ 2147483646 w 92"/>
              <a:gd name="T43" fmla="*/ 2147483646 h 82"/>
              <a:gd name="T44" fmla="*/ 2147483646 w 92"/>
              <a:gd name="T45" fmla="*/ 2147483646 h 82"/>
              <a:gd name="T46" fmla="*/ 2147483646 w 92"/>
              <a:gd name="T47" fmla="*/ 2147483646 h 82"/>
              <a:gd name="T48" fmla="*/ 2147483646 w 92"/>
              <a:gd name="T49" fmla="*/ 2147483646 h 82"/>
              <a:gd name="T50" fmla="*/ 2147483646 w 92"/>
              <a:gd name="T51" fmla="*/ 2147483646 h 82"/>
              <a:gd name="T52" fmla="*/ 2147483646 w 92"/>
              <a:gd name="T53" fmla="*/ 2147483646 h 82"/>
              <a:gd name="T54" fmla="*/ 2147483646 w 92"/>
              <a:gd name="T55" fmla="*/ 2147483646 h 82"/>
              <a:gd name="T56" fmla="*/ 2147483646 w 92"/>
              <a:gd name="T57" fmla="*/ 2147483646 h 82"/>
              <a:gd name="T58" fmla="*/ 2147483646 w 92"/>
              <a:gd name="T59" fmla="*/ 2147483646 h 82"/>
              <a:gd name="T60" fmla="*/ 2147483646 w 92"/>
              <a:gd name="T61" fmla="*/ 2147483646 h 82"/>
              <a:gd name="T62" fmla="*/ 2147483646 w 92"/>
              <a:gd name="T63" fmla="*/ 2147483646 h 82"/>
              <a:gd name="T64" fmla="*/ 2147483646 w 92"/>
              <a:gd name="T65" fmla="*/ 2147483646 h 82"/>
              <a:gd name="T66" fmla="*/ 2147483646 w 92"/>
              <a:gd name="T67" fmla="*/ 2147483646 h 82"/>
              <a:gd name="T68" fmla="*/ 2147483646 w 92"/>
              <a:gd name="T69" fmla="*/ 2147483646 h 82"/>
              <a:gd name="T70" fmla="*/ 2147483646 w 92"/>
              <a:gd name="T71" fmla="*/ 2147483646 h 82"/>
              <a:gd name="T72" fmla="*/ 2147483646 w 92"/>
              <a:gd name="T73" fmla="*/ 2147483646 h 82"/>
              <a:gd name="T74" fmla="*/ 2147483646 w 92"/>
              <a:gd name="T75" fmla="*/ 2147483646 h 82"/>
              <a:gd name="T76" fmla="*/ 2147483646 w 92"/>
              <a:gd name="T77" fmla="*/ 2147483646 h 82"/>
              <a:gd name="T78" fmla="*/ 2147483646 w 92"/>
              <a:gd name="T79" fmla="*/ 2147483646 h 82"/>
              <a:gd name="T80" fmla="*/ 2147483646 w 92"/>
              <a:gd name="T81" fmla="*/ 2147483646 h 82"/>
              <a:gd name="T82" fmla="*/ 2147483646 w 92"/>
              <a:gd name="T83" fmla="*/ 2147483646 h 82"/>
              <a:gd name="T84" fmla="*/ 0 w 92"/>
              <a:gd name="T85" fmla="*/ 2147483646 h 82"/>
              <a:gd name="T86" fmla="*/ 2147483646 w 92"/>
              <a:gd name="T87" fmla="*/ 2147483646 h 82"/>
              <a:gd name="T88" fmla="*/ 2147483646 w 92"/>
              <a:gd name="T89" fmla="*/ 2147483646 h 82"/>
              <a:gd name="T90" fmla="*/ 2147483646 w 92"/>
              <a:gd name="T91" fmla="*/ 2147483646 h 82"/>
              <a:gd name="T92" fmla="*/ 2147483646 w 92"/>
              <a:gd name="T93" fmla="*/ 2147483646 h 82"/>
              <a:gd name="T94" fmla="*/ 2147483646 w 92"/>
              <a:gd name="T95" fmla="*/ 2147483646 h 82"/>
              <a:gd name="T96" fmla="*/ 2147483646 w 92"/>
              <a:gd name="T97" fmla="*/ 0 h 82"/>
              <a:gd name="T98" fmla="*/ 2147483646 w 92"/>
              <a:gd name="T99" fmla="*/ 2147483646 h 82"/>
              <a:gd name="T100" fmla="*/ 2147483646 w 92"/>
              <a:gd name="T101" fmla="*/ 2147483646 h 82"/>
              <a:gd name="T102" fmla="*/ 2147483646 w 92"/>
              <a:gd name="T103" fmla="*/ 2147483646 h 82"/>
              <a:gd name="T104" fmla="*/ 2147483646 w 92"/>
              <a:gd name="T105" fmla="*/ 2147483646 h 82"/>
              <a:gd name="T106" fmla="*/ 2147483646 w 92"/>
              <a:gd name="T107" fmla="*/ 2147483646 h 82"/>
              <a:gd name="T108" fmla="*/ 2147483646 w 92"/>
              <a:gd name="T109" fmla="*/ 2147483646 h 82"/>
              <a:gd name="T110" fmla="*/ 2147483646 w 92"/>
              <a:gd name="T111" fmla="*/ 2147483646 h 8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92" h="82">
                <a:moveTo>
                  <a:pt x="44" y="13"/>
                </a:moveTo>
                <a:lnTo>
                  <a:pt x="48" y="15"/>
                </a:lnTo>
                <a:lnTo>
                  <a:pt x="50" y="19"/>
                </a:lnTo>
                <a:lnTo>
                  <a:pt x="52" y="21"/>
                </a:lnTo>
                <a:lnTo>
                  <a:pt x="60" y="21"/>
                </a:lnTo>
                <a:lnTo>
                  <a:pt x="63" y="22"/>
                </a:lnTo>
                <a:lnTo>
                  <a:pt x="68" y="25"/>
                </a:lnTo>
                <a:lnTo>
                  <a:pt x="71" y="28"/>
                </a:lnTo>
                <a:lnTo>
                  <a:pt x="74" y="30"/>
                </a:lnTo>
                <a:lnTo>
                  <a:pt x="77" y="33"/>
                </a:lnTo>
                <a:lnTo>
                  <a:pt x="79" y="37"/>
                </a:lnTo>
                <a:lnTo>
                  <a:pt x="81" y="40"/>
                </a:lnTo>
                <a:lnTo>
                  <a:pt x="83" y="43"/>
                </a:lnTo>
                <a:lnTo>
                  <a:pt x="83" y="45"/>
                </a:lnTo>
                <a:lnTo>
                  <a:pt x="83" y="49"/>
                </a:lnTo>
                <a:lnTo>
                  <a:pt x="83" y="52"/>
                </a:lnTo>
                <a:lnTo>
                  <a:pt x="82" y="53"/>
                </a:lnTo>
                <a:lnTo>
                  <a:pt x="81" y="55"/>
                </a:lnTo>
                <a:lnTo>
                  <a:pt x="80" y="56"/>
                </a:lnTo>
                <a:lnTo>
                  <a:pt x="79" y="60"/>
                </a:lnTo>
                <a:lnTo>
                  <a:pt x="81" y="61"/>
                </a:lnTo>
                <a:lnTo>
                  <a:pt x="84" y="61"/>
                </a:lnTo>
                <a:lnTo>
                  <a:pt x="85" y="62"/>
                </a:lnTo>
                <a:lnTo>
                  <a:pt x="89" y="63"/>
                </a:lnTo>
                <a:lnTo>
                  <a:pt x="92" y="64"/>
                </a:lnTo>
                <a:cubicBezTo>
                  <a:pt x="92" y="65"/>
                  <a:pt x="92" y="66"/>
                  <a:pt x="91" y="67"/>
                </a:cubicBezTo>
                <a:lnTo>
                  <a:pt x="90" y="65"/>
                </a:lnTo>
                <a:lnTo>
                  <a:pt x="87" y="65"/>
                </a:lnTo>
                <a:lnTo>
                  <a:pt x="86" y="64"/>
                </a:lnTo>
                <a:lnTo>
                  <a:pt x="87" y="65"/>
                </a:lnTo>
                <a:lnTo>
                  <a:pt x="86" y="67"/>
                </a:lnTo>
                <a:lnTo>
                  <a:pt x="83" y="71"/>
                </a:lnTo>
                <a:lnTo>
                  <a:pt x="57" y="79"/>
                </a:lnTo>
                <a:lnTo>
                  <a:pt x="56" y="80"/>
                </a:lnTo>
                <a:lnTo>
                  <a:pt x="53" y="81"/>
                </a:lnTo>
                <a:lnTo>
                  <a:pt x="16" y="82"/>
                </a:lnTo>
                <a:lnTo>
                  <a:pt x="15" y="82"/>
                </a:lnTo>
                <a:lnTo>
                  <a:pt x="13" y="82"/>
                </a:lnTo>
                <a:lnTo>
                  <a:pt x="13" y="81"/>
                </a:lnTo>
                <a:lnTo>
                  <a:pt x="5" y="68"/>
                </a:lnTo>
                <a:lnTo>
                  <a:pt x="2" y="66"/>
                </a:lnTo>
                <a:lnTo>
                  <a:pt x="2" y="64"/>
                </a:lnTo>
                <a:lnTo>
                  <a:pt x="0" y="64"/>
                </a:lnTo>
                <a:lnTo>
                  <a:pt x="1" y="58"/>
                </a:lnTo>
                <a:lnTo>
                  <a:pt x="1" y="27"/>
                </a:lnTo>
                <a:lnTo>
                  <a:pt x="1" y="24"/>
                </a:lnTo>
                <a:lnTo>
                  <a:pt x="16" y="3"/>
                </a:lnTo>
                <a:lnTo>
                  <a:pt x="27" y="1"/>
                </a:lnTo>
                <a:lnTo>
                  <a:pt x="27" y="0"/>
                </a:lnTo>
                <a:lnTo>
                  <a:pt x="32" y="1"/>
                </a:lnTo>
                <a:lnTo>
                  <a:pt x="41" y="9"/>
                </a:lnTo>
                <a:lnTo>
                  <a:pt x="42" y="14"/>
                </a:lnTo>
                <a:lnTo>
                  <a:pt x="44" y="13"/>
                </a:lnTo>
                <a:moveTo>
                  <a:pt x="91" y="68"/>
                </a:moveTo>
                <a:cubicBezTo>
                  <a:pt x="91" y="68"/>
                  <a:pt x="91" y="68"/>
                  <a:pt x="91" y="68"/>
                </a:cubicBezTo>
                <a:cubicBezTo>
                  <a:pt x="91" y="68"/>
                  <a:pt x="91" y="68"/>
                  <a:pt x="91" y="68"/>
                </a:cubicBez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6" name="Freeform 124"/>
          <p:cNvSpPr>
            <a:spLocks/>
          </p:cNvSpPr>
          <p:nvPr/>
        </p:nvSpPr>
        <p:spPr bwMode="auto">
          <a:xfrm>
            <a:off x="4445000" y="3040063"/>
            <a:ext cx="512763" cy="403225"/>
          </a:xfrm>
          <a:custGeom>
            <a:avLst/>
            <a:gdLst>
              <a:gd name="T0" fmla="*/ 2147483646 w 164"/>
              <a:gd name="T1" fmla="*/ 2147483646 h 140"/>
              <a:gd name="T2" fmla="*/ 2147483646 w 164"/>
              <a:gd name="T3" fmla="*/ 2147483646 h 140"/>
              <a:gd name="T4" fmla="*/ 2147483646 w 164"/>
              <a:gd name="T5" fmla="*/ 2147483646 h 140"/>
              <a:gd name="T6" fmla="*/ 2147483646 w 164"/>
              <a:gd name="T7" fmla="*/ 2147483646 h 140"/>
              <a:gd name="T8" fmla="*/ 2147483646 w 164"/>
              <a:gd name="T9" fmla="*/ 2147483646 h 140"/>
              <a:gd name="T10" fmla="*/ 2147483646 w 164"/>
              <a:gd name="T11" fmla="*/ 2147483646 h 140"/>
              <a:gd name="T12" fmla="*/ 2147483646 w 164"/>
              <a:gd name="T13" fmla="*/ 2147483646 h 140"/>
              <a:gd name="T14" fmla="*/ 2147483646 w 164"/>
              <a:gd name="T15" fmla="*/ 2147483646 h 140"/>
              <a:gd name="T16" fmla="*/ 2147483646 w 164"/>
              <a:gd name="T17" fmla="*/ 2147483646 h 140"/>
              <a:gd name="T18" fmla="*/ 2147483646 w 164"/>
              <a:gd name="T19" fmla="*/ 2147483646 h 140"/>
              <a:gd name="T20" fmla="*/ 2147483646 w 164"/>
              <a:gd name="T21" fmla="*/ 2147483646 h 140"/>
              <a:gd name="T22" fmla="*/ 2147483646 w 164"/>
              <a:gd name="T23" fmla="*/ 2147483646 h 140"/>
              <a:gd name="T24" fmla="*/ 2147483646 w 164"/>
              <a:gd name="T25" fmla="*/ 2147483646 h 140"/>
              <a:gd name="T26" fmla="*/ 2147483646 w 164"/>
              <a:gd name="T27" fmla="*/ 2147483646 h 140"/>
              <a:gd name="T28" fmla="*/ 2147483646 w 164"/>
              <a:gd name="T29" fmla="*/ 2147483646 h 140"/>
              <a:gd name="T30" fmla="*/ 2147483646 w 164"/>
              <a:gd name="T31" fmla="*/ 2147483646 h 140"/>
              <a:gd name="T32" fmla="*/ 2147483646 w 164"/>
              <a:gd name="T33" fmla="*/ 2147483646 h 140"/>
              <a:gd name="T34" fmla="*/ 2147483646 w 164"/>
              <a:gd name="T35" fmla="*/ 2147483646 h 140"/>
              <a:gd name="T36" fmla="*/ 2147483646 w 164"/>
              <a:gd name="T37" fmla="*/ 2147483646 h 140"/>
              <a:gd name="T38" fmla="*/ 2147483646 w 164"/>
              <a:gd name="T39" fmla="*/ 2147483646 h 140"/>
              <a:gd name="T40" fmla="*/ 2147483646 w 164"/>
              <a:gd name="T41" fmla="*/ 2147483646 h 140"/>
              <a:gd name="T42" fmla="*/ 2147483646 w 164"/>
              <a:gd name="T43" fmla="*/ 2147483646 h 140"/>
              <a:gd name="T44" fmla="*/ 2147483646 w 164"/>
              <a:gd name="T45" fmla="*/ 2147483646 h 140"/>
              <a:gd name="T46" fmla="*/ 2147483646 w 164"/>
              <a:gd name="T47" fmla="*/ 2147483646 h 140"/>
              <a:gd name="T48" fmla="*/ 2147483646 w 164"/>
              <a:gd name="T49" fmla="*/ 2147483646 h 140"/>
              <a:gd name="T50" fmla="*/ 2147483646 w 164"/>
              <a:gd name="T51" fmla="*/ 2147483646 h 140"/>
              <a:gd name="T52" fmla="*/ 2147483646 w 164"/>
              <a:gd name="T53" fmla="*/ 2147483646 h 140"/>
              <a:gd name="T54" fmla="*/ 2147483646 w 164"/>
              <a:gd name="T55" fmla="*/ 2147483646 h 140"/>
              <a:gd name="T56" fmla="*/ 2147483646 w 164"/>
              <a:gd name="T57" fmla="*/ 2147483646 h 140"/>
              <a:gd name="T58" fmla="*/ 2147483646 w 164"/>
              <a:gd name="T59" fmla="*/ 2147483646 h 140"/>
              <a:gd name="T60" fmla="*/ 2147483646 w 164"/>
              <a:gd name="T61" fmla="*/ 2147483646 h 140"/>
              <a:gd name="T62" fmla="*/ 2147483646 w 164"/>
              <a:gd name="T63" fmla="*/ 2147483646 h 140"/>
              <a:gd name="T64" fmla="*/ 2147483646 w 164"/>
              <a:gd name="T65" fmla="*/ 2147483646 h 140"/>
              <a:gd name="T66" fmla="*/ 2147483646 w 164"/>
              <a:gd name="T67" fmla="*/ 2147483646 h 140"/>
              <a:gd name="T68" fmla="*/ 2147483646 w 164"/>
              <a:gd name="T69" fmla="*/ 2147483646 h 140"/>
              <a:gd name="T70" fmla="*/ 2147483646 w 164"/>
              <a:gd name="T71" fmla="*/ 2147483646 h 140"/>
              <a:gd name="T72" fmla="*/ 0 w 164"/>
              <a:gd name="T73" fmla="*/ 2147483646 h 140"/>
              <a:gd name="T74" fmla="*/ 2147483646 w 164"/>
              <a:gd name="T75" fmla="*/ 2147483646 h 140"/>
              <a:gd name="T76" fmla="*/ 2147483646 w 164"/>
              <a:gd name="T77" fmla="*/ 2147483646 h 140"/>
              <a:gd name="T78" fmla="*/ 2147483646 w 164"/>
              <a:gd name="T79" fmla="*/ 2147483646 h 140"/>
              <a:gd name="T80" fmla="*/ 2147483646 w 164"/>
              <a:gd name="T81" fmla="*/ 2147483646 h 140"/>
              <a:gd name="T82" fmla="*/ 2147483646 w 164"/>
              <a:gd name="T83" fmla="*/ 2147483646 h 140"/>
              <a:gd name="T84" fmla="*/ 2147483646 w 164"/>
              <a:gd name="T85" fmla="*/ 2147483646 h 140"/>
              <a:gd name="T86" fmla="*/ 2147483646 w 164"/>
              <a:gd name="T87" fmla="*/ 2147483646 h 140"/>
              <a:gd name="T88" fmla="*/ 2147483646 w 164"/>
              <a:gd name="T89" fmla="*/ 2147483646 h 140"/>
              <a:gd name="T90" fmla="*/ 2147483646 w 164"/>
              <a:gd name="T91" fmla="*/ 2147483646 h 140"/>
              <a:gd name="T92" fmla="*/ 2147483646 w 164"/>
              <a:gd name="T93" fmla="*/ 2147483646 h 140"/>
              <a:gd name="T94" fmla="*/ 2147483646 w 164"/>
              <a:gd name="T95" fmla="*/ 2147483646 h 140"/>
              <a:gd name="T96" fmla="*/ 2147483646 w 164"/>
              <a:gd name="T97" fmla="*/ 2147483646 h 140"/>
              <a:gd name="T98" fmla="*/ 2147483646 w 164"/>
              <a:gd name="T99" fmla="*/ 2147483646 h 140"/>
              <a:gd name="T100" fmla="*/ 2147483646 w 164"/>
              <a:gd name="T101" fmla="*/ 2147483646 h 140"/>
              <a:gd name="T102" fmla="*/ 2147483646 w 164"/>
              <a:gd name="T103" fmla="*/ 2147483646 h 140"/>
              <a:gd name="T104" fmla="*/ 2147483646 w 164"/>
              <a:gd name="T105" fmla="*/ 2147483646 h 140"/>
              <a:gd name="T106" fmla="*/ 2147483646 w 164"/>
              <a:gd name="T107" fmla="*/ 2147483646 h 140"/>
              <a:gd name="T108" fmla="*/ 2147483646 w 164"/>
              <a:gd name="T109" fmla="*/ 2147483646 h 1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40">
                <a:moveTo>
                  <a:pt x="163" y="33"/>
                </a:moveTo>
                <a:lnTo>
                  <a:pt x="161" y="29"/>
                </a:lnTo>
                <a:lnTo>
                  <a:pt x="154" y="22"/>
                </a:lnTo>
                <a:lnTo>
                  <a:pt x="150" y="21"/>
                </a:lnTo>
                <a:lnTo>
                  <a:pt x="143" y="21"/>
                </a:lnTo>
                <a:lnTo>
                  <a:pt x="142" y="20"/>
                </a:lnTo>
                <a:lnTo>
                  <a:pt x="119" y="14"/>
                </a:lnTo>
                <a:lnTo>
                  <a:pt x="118" y="13"/>
                </a:lnTo>
                <a:lnTo>
                  <a:pt x="118" y="12"/>
                </a:lnTo>
                <a:lnTo>
                  <a:pt x="116" y="11"/>
                </a:lnTo>
                <a:lnTo>
                  <a:pt x="101" y="15"/>
                </a:lnTo>
                <a:lnTo>
                  <a:pt x="98" y="16"/>
                </a:lnTo>
                <a:lnTo>
                  <a:pt x="83" y="30"/>
                </a:lnTo>
                <a:lnTo>
                  <a:pt x="76" y="32"/>
                </a:lnTo>
                <a:lnTo>
                  <a:pt x="73" y="37"/>
                </a:lnTo>
                <a:lnTo>
                  <a:pt x="70" y="41"/>
                </a:lnTo>
                <a:lnTo>
                  <a:pt x="70" y="38"/>
                </a:lnTo>
                <a:lnTo>
                  <a:pt x="71" y="35"/>
                </a:lnTo>
                <a:lnTo>
                  <a:pt x="73" y="31"/>
                </a:lnTo>
                <a:lnTo>
                  <a:pt x="74" y="30"/>
                </a:lnTo>
                <a:lnTo>
                  <a:pt x="76" y="28"/>
                </a:lnTo>
                <a:lnTo>
                  <a:pt x="77" y="26"/>
                </a:lnTo>
                <a:lnTo>
                  <a:pt x="78" y="25"/>
                </a:lnTo>
                <a:lnTo>
                  <a:pt x="78" y="24"/>
                </a:lnTo>
                <a:lnTo>
                  <a:pt x="75" y="15"/>
                </a:lnTo>
                <a:lnTo>
                  <a:pt x="65" y="0"/>
                </a:lnTo>
                <a:lnTo>
                  <a:pt x="63" y="1"/>
                </a:lnTo>
                <a:lnTo>
                  <a:pt x="73" y="17"/>
                </a:lnTo>
                <a:lnTo>
                  <a:pt x="75" y="25"/>
                </a:lnTo>
                <a:lnTo>
                  <a:pt x="75" y="26"/>
                </a:lnTo>
                <a:lnTo>
                  <a:pt x="73" y="27"/>
                </a:lnTo>
                <a:lnTo>
                  <a:pt x="72" y="29"/>
                </a:lnTo>
                <a:lnTo>
                  <a:pt x="71" y="30"/>
                </a:lnTo>
                <a:lnTo>
                  <a:pt x="69" y="34"/>
                </a:lnTo>
                <a:lnTo>
                  <a:pt x="68" y="37"/>
                </a:lnTo>
                <a:lnTo>
                  <a:pt x="69" y="41"/>
                </a:lnTo>
                <a:lnTo>
                  <a:pt x="69" y="42"/>
                </a:lnTo>
                <a:lnTo>
                  <a:pt x="70" y="41"/>
                </a:lnTo>
                <a:lnTo>
                  <a:pt x="71" y="44"/>
                </a:lnTo>
                <a:lnTo>
                  <a:pt x="71" y="45"/>
                </a:lnTo>
                <a:lnTo>
                  <a:pt x="67" y="49"/>
                </a:lnTo>
                <a:lnTo>
                  <a:pt x="61" y="54"/>
                </a:lnTo>
                <a:lnTo>
                  <a:pt x="60" y="53"/>
                </a:lnTo>
                <a:lnTo>
                  <a:pt x="61" y="53"/>
                </a:lnTo>
                <a:lnTo>
                  <a:pt x="60" y="52"/>
                </a:lnTo>
                <a:lnTo>
                  <a:pt x="55" y="57"/>
                </a:lnTo>
                <a:lnTo>
                  <a:pt x="31" y="74"/>
                </a:lnTo>
                <a:lnTo>
                  <a:pt x="25" y="77"/>
                </a:lnTo>
                <a:lnTo>
                  <a:pt x="24" y="78"/>
                </a:lnTo>
                <a:lnTo>
                  <a:pt x="25" y="78"/>
                </a:lnTo>
                <a:lnTo>
                  <a:pt x="24" y="80"/>
                </a:lnTo>
                <a:lnTo>
                  <a:pt x="22" y="80"/>
                </a:lnTo>
                <a:lnTo>
                  <a:pt x="24" y="78"/>
                </a:lnTo>
                <a:lnTo>
                  <a:pt x="21" y="80"/>
                </a:lnTo>
                <a:lnTo>
                  <a:pt x="9" y="87"/>
                </a:lnTo>
                <a:lnTo>
                  <a:pt x="8" y="89"/>
                </a:lnTo>
                <a:lnTo>
                  <a:pt x="1" y="93"/>
                </a:lnTo>
                <a:lnTo>
                  <a:pt x="0" y="95"/>
                </a:lnTo>
                <a:lnTo>
                  <a:pt x="3" y="99"/>
                </a:lnTo>
                <a:lnTo>
                  <a:pt x="3" y="109"/>
                </a:lnTo>
                <a:lnTo>
                  <a:pt x="6" y="111"/>
                </a:lnTo>
                <a:lnTo>
                  <a:pt x="5" y="112"/>
                </a:lnTo>
                <a:lnTo>
                  <a:pt x="6" y="113"/>
                </a:lnTo>
                <a:lnTo>
                  <a:pt x="16" y="110"/>
                </a:lnTo>
                <a:lnTo>
                  <a:pt x="21" y="111"/>
                </a:lnTo>
                <a:lnTo>
                  <a:pt x="29" y="113"/>
                </a:lnTo>
                <a:lnTo>
                  <a:pt x="35" y="116"/>
                </a:lnTo>
                <a:lnTo>
                  <a:pt x="43" y="122"/>
                </a:lnTo>
                <a:lnTo>
                  <a:pt x="58" y="135"/>
                </a:lnTo>
                <a:lnTo>
                  <a:pt x="63" y="139"/>
                </a:lnTo>
                <a:lnTo>
                  <a:pt x="66" y="140"/>
                </a:lnTo>
                <a:lnTo>
                  <a:pt x="77" y="137"/>
                </a:lnTo>
                <a:lnTo>
                  <a:pt x="91" y="132"/>
                </a:lnTo>
                <a:lnTo>
                  <a:pt x="97" y="117"/>
                </a:lnTo>
                <a:lnTo>
                  <a:pt x="95" y="107"/>
                </a:lnTo>
                <a:lnTo>
                  <a:pt x="95" y="104"/>
                </a:lnTo>
                <a:lnTo>
                  <a:pt x="99" y="99"/>
                </a:lnTo>
                <a:lnTo>
                  <a:pt x="104" y="100"/>
                </a:lnTo>
                <a:lnTo>
                  <a:pt x="109" y="99"/>
                </a:lnTo>
                <a:lnTo>
                  <a:pt x="111" y="100"/>
                </a:lnTo>
                <a:lnTo>
                  <a:pt x="110" y="98"/>
                </a:lnTo>
                <a:lnTo>
                  <a:pt x="111" y="97"/>
                </a:lnTo>
                <a:lnTo>
                  <a:pt x="114" y="93"/>
                </a:lnTo>
                <a:lnTo>
                  <a:pt x="122" y="87"/>
                </a:lnTo>
                <a:lnTo>
                  <a:pt x="135" y="81"/>
                </a:lnTo>
                <a:lnTo>
                  <a:pt x="140" y="81"/>
                </a:lnTo>
                <a:lnTo>
                  <a:pt x="147" y="76"/>
                </a:lnTo>
                <a:lnTo>
                  <a:pt x="151" y="72"/>
                </a:lnTo>
                <a:lnTo>
                  <a:pt x="161" y="56"/>
                </a:lnTo>
                <a:lnTo>
                  <a:pt x="163" y="52"/>
                </a:lnTo>
                <a:lnTo>
                  <a:pt x="164" y="48"/>
                </a:lnTo>
                <a:lnTo>
                  <a:pt x="164" y="45"/>
                </a:lnTo>
                <a:lnTo>
                  <a:pt x="164" y="37"/>
                </a:lnTo>
                <a:lnTo>
                  <a:pt x="163" y="3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7" name="Freeform 125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3638550" y="4116388"/>
            <a:ext cx="198438" cy="119062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48" name="Text Box 126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486400" y="2286000"/>
            <a:ext cx="733425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Groningen</a:t>
            </a:r>
          </a:p>
        </p:txBody>
      </p:sp>
      <p:pic>
        <p:nvPicPr>
          <p:cNvPr id="24649" name="Picture 127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7800" y="2286000"/>
            <a:ext cx="185738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50" name="Picture 128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6400" y="2819400"/>
            <a:ext cx="152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651" name="Text Box 12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715000" y="2874963"/>
            <a:ext cx="514350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Wijster</a:t>
            </a:r>
          </a:p>
        </p:txBody>
      </p:sp>
      <p:pic>
        <p:nvPicPr>
          <p:cNvPr id="24652" name="Picture 130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75" y="3910013"/>
            <a:ext cx="150813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53" name="Picture 131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063" y="4179888"/>
            <a:ext cx="150812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654" name="Picture 132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450" y="4111625"/>
            <a:ext cx="150813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655" name="Text Box 133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81400" y="3733800"/>
            <a:ext cx="6270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Moerdijk</a:t>
            </a:r>
          </a:p>
        </p:txBody>
      </p:sp>
      <p:sp>
        <p:nvSpPr>
          <p:cNvPr id="24656" name="Text Box 134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643438" y="3976688"/>
            <a:ext cx="519112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Deurne</a:t>
            </a:r>
          </a:p>
        </p:txBody>
      </p:sp>
      <p:sp>
        <p:nvSpPr>
          <p:cNvPr id="24657" name="Text Box 135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159375" y="4381500"/>
            <a:ext cx="403225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Venlo</a:t>
            </a:r>
          </a:p>
        </p:txBody>
      </p:sp>
      <p:sp>
        <p:nvSpPr>
          <p:cNvPr id="24658" name="Text Box 136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233863" y="4987925"/>
            <a:ext cx="741362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Maastricht</a:t>
            </a:r>
          </a:p>
        </p:txBody>
      </p:sp>
      <p:pic>
        <p:nvPicPr>
          <p:cNvPr id="24659" name="Picture 137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1600" y="4191000"/>
            <a:ext cx="158750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660" name="Freeform 138"/>
          <p:cNvSpPr>
            <a:spLocks/>
          </p:cNvSpPr>
          <p:nvPr/>
        </p:nvSpPr>
        <p:spPr bwMode="auto">
          <a:xfrm>
            <a:off x="7677150" y="3148013"/>
            <a:ext cx="1588" cy="3175"/>
          </a:xfrm>
          <a:custGeom>
            <a:avLst/>
            <a:gdLst>
              <a:gd name="T0" fmla="*/ 0 w 1588"/>
              <a:gd name="T1" fmla="*/ 2147483646 h 3"/>
              <a:gd name="T2" fmla="*/ 0 w 1588"/>
              <a:gd name="T3" fmla="*/ 0 h 3"/>
              <a:gd name="T4" fmla="*/ 0 w 1588"/>
              <a:gd name="T5" fmla="*/ 0 h 3"/>
              <a:gd name="T6" fmla="*/ 0 w 1588"/>
              <a:gd name="T7" fmla="*/ 0 h 3"/>
              <a:gd name="T8" fmla="*/ 0 w 1588"/>
              <a:gd name="T9" fmla="*/ 0 h 3"/>
              <a:gd name="T10" fmla="*/ 0 w 1588"/>
              <a:gd name="T11" fmla="*/ 2147483646 h 3"/>
              <a:gd name="T12" fmla="*/ 0 w 1588"/>
              <a:gd name="T13" fmla="*/ 2147483646 h 3"/>
              <a:gd name="T14" fmla="*/ 0 w 1588"/>
              <a:gd name="T15" fmla="*/ 2147483646 h 3"/>
              <a:gd name="T16" fmla="*/ 0 w 1588"/>
              <a:gd name="T17" fmla="*/ 2147483646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88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1" name="Freeform 139"/>
          <p:cNvSpPr>
            <a:spLocks/>
          </p:cNvSpPr>
          <p:nvPr/>
        </p:nvSpPr>
        <p:spPr bwMode="auto">
          <a:xfrm>
            <a:off x="7681913" y="3135313"/>
            <a:ext cx="3175" cy="0"/>
          </a:xfrm>
          <a:custGeom>
            <a:avLst/>
            <a:gdLst>
              <a:gd name="T0" fmla="*/ 2147483646 w 3"/>
              <a:gd name="T1" fmla="*/ 0 w 3"/>
              <a:gd name="T2" fmla="*/ 0 w 3"/>
              <a:gd name="T3" fmla="*/ 0 w 3"/>
              <a:gd name="T4" fmla="*/ 0 w 3"/>
              <a:gd name="T5" fmla="*/ 2147483646 w 3"/>
              <a:gd name="T6" fmla="*/ 2147483646 w 3"/>
              <a:gd name="T7" fmla="*/ 2147483646 w 3"/>
              <a:gd name="T8" fmla="*/ 2147483646 w 3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3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2" name="Freeform 140"/>
          <p:cNvSpPr>
            <a:spLocks/>
          </p:cNvSpPr>
          <p:nvPr/>
        </p:nvSpPr>
        <p:spPr bwMode="auto">
          <a:xfrm>
            <a:off x="7667625" y="3138488"/>
            <a:ext cx="6350" cy="0"/>
          </a:xfrm>
          <a:custGeom>
            <a:avLst/>
            <a:gdLst>
              <a:gd name="T0" fmla="*/ 2147483646 w 6"/>
              <a:gd name="T1" fmla="*/ 2147483646 w 6"/>
              <a:gd name="T2" fmla="*/ 2147483646 w 6"/>
              <a:gd name="T3" fmla="*/ 0 w 6"/>
              <a:gd name="T4" fmla="*/ 0 w 6"/>
              <a:gd name="T5" fmla="*/ 2147483646 w 6"/>
              <a:gd name="T6" fmla="*/ 2147483646 w 6"/>
              <a:gd name="T7" fmla="*/ 2147483646 w 6"/>
              <a:gd name="T8" fmla="*/ 2147483646 w 6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6">
                <a:moveTo>
                  <a:pt x="6" y="0"/>
                </a:move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3" name="Freeform 141"/>
          <p:cNvSpPr>
            <a:spLocks/>
          </p:cNvSpPr>
          <p:nvPr/>
        </p:nvSpPr>
        <p:spPr bwMode="auto">
          <a:xfrm>
            <a:off x="7667625" y="3138488"/>
            <a:ext cx="6350" cy="0"/>
          </a:xfrm>
          <a:custGeom>
            <a:avLst/>
            <a:gdLst>
              <a:gd name="T0" fmla="*/ 0 w 6"/>
              <a:gd name="T1" fmla="*/ 2147483646 w 6"/>
              <a:gd name="T2" fmla="*/ 2147483646 w 6"/>
              <a:gd name="T3" fmla="*/ 2147483646 w 6"/>
              <a:gd name="T4" fmla="*/ 2147483646 w 6"/>
              <a:gd name="T5" fmla="*/ 0 w 6"/>
              <a:gd name="T6" fmla="*/ 2147483646 w 6"/>
              <a:gd name="T7" fmla="*/ 2147483646 w 6"/>
              <a:gd name="T8" fmla="*/ 2147483646 w 6"/>
              <a:gd name="T9" fmla="*/ 0 w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</a:gdLst>
            <a:ahLst/>
            <a:cxnLst>
              <a:cxn ang="T10">
                <a:pos x="T0" y="0"/>
              </a:cxn>
              <a:cxn ang="T11">
                <a:pos x="T1" y="0"/>
              </a:cxn>
              <a:cxn ang="T12">
                <a:pos x="T2" y="0"/>
              </a:cxn>
              <a:cxn ang="T13">
                <a:pos x="T3" y="0"/>
              </a:cxn>
              <a:cxn ang="T14">
                <a:pos x="T4" y="0"/>
              </a:cxn>
              <a:cxn ang="T15">
                <a:pos x="T5" y="0"/>
              </a:cxn>
              <a:cxn ang="T16">
                <a:pos x="T6" y="0"/>
              </a:cxn>
              <a:cxn ang="T17">
                <a:pos x="T7" y="0"/>
              </a:cxn>
              <a:cxn ang="T18">
                <a:pos x="T8" y="0"/>
              </a:cxn>
              <a:cxn ang="T19">
                <a:pos x="T9" y="0"/>
              </a:cxn>
            </a:cxnLst>
            <a:rect l="0" t="0" r="r" b="b"/>
            <a:pathLst>
              <a:path w="6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4" name="Freeform 142"/>
          <p:cNvSpPr>
            <a:spLocks/>
          </p:cNvSpPr>
          <p:nvPr/>
        </p:nvSpPr>
        <p:spPr bwMode="auto">
          <a:xfrm>
            <a:off x="7666038" y="3141663"/>
            <a:ext cx="0" cy="3175"/>
          </a:xfrm>
          <a:custGeom>
            <a:avLst/>
            <a:gdLst>
              <a:gd name="T0" fmla="*/ 2147483646 h 3"/>
              <a:gd name="T1" fmla="*/ 2147483646 h 3"/>
              <a:gd name="T2" fmla="*/ 2147483646 h 3"/>
              <a:gd name="T3" fmla="*/ 2147483646 h 3"/>
              <a:gd name="T4" fmla="*/ 2147483646 h 3"/>
              <a:gd name="T5" fmla="*/ 2147483646 h 3"/>
              <a:gd name="T6" fmla="*/ 0 h 3"/>
              <a:gd name="T7" fmla="*/ 2147483646 h 3"/>
              <a:gd name="T8" fmla="*/ 2147483646 h 3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0" y="T0"/>
              </a:cxn>
              <a:cxn ang="T10">
                <a:pos x="0" y="T1"/>
              </a:cxn>
              <a:cxn ang="T11">
                <a:pos x="0" y="T2"/>
              </a:cxn>
              <a:cxn ang="T12">
                <a:pos x="0" y="T3"/>
              </a:cxn>
              <a:cxn ang="T13">
                <a:pos x="0" y="T4"/>
              </a:cxn>
              <a:cxn ang="T14">
                <a:pos x="0" y="T5"/>
              </a:cxn>
              <a:cxn ang="T15">
                <a:pos x="0" y="T6"/>
              </a:cxn>
              <a:cxn ang="T16">
                <a:pos x="0" y="T7"/>
              </a:cxn>
              <a:cxn ang="T17">
                <a:pos x="0" y="T8"/>
              </a:cxn>
            </a:cxnLst>
            <a:rect l="0" t="0" r="r" b="b"/>
            <a:pathLst>
              <a:path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5" name="Freeform 143"/>
          <p:cNvSpPr>
            <a:spLocks/>
          </p:cNvSpPr>
          <p:nvPr/>
        </p:nvSpPr>
        <p:spPr bwMode="auto">
          <a:xfrm>
            <a:off x="7646988" y="3173413"/>
            <a:ext cx="1587" cy="0"/>
          </a:xfrm>
          <a:custGeom>
            <a:avLst/>
            <a:gdLst>
              <a:gd name="T0" fmla="*/ 0 w 2"/>
              <a:gd name="T1" fmla="*/ 2147483646 w 2"/>
              <a:gd name="T2" fmla="*/ 2147483646 w 2"/>
              <a:gd name="T3" fmla="*/ 2147483646 w 2"/>
              <a:gd name="T4" fmla="*/ 2147483646 w 2"/>
              <a:gd name="T5" fmla="*/ 0 w 2"/>
              <a:gd name="T6" fmla="*/ 0 w 2"/>
              <a:gd name="T7" fmla="*/ 0 w 2"/>
              <a:gd name="T8" fmla="*/ 0 w 2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2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6" name="Freeform 144"/>
          <p:cNvSpPr>
            <a:spLocks/>
          </p:cNvSpPr>
          <p:nvPr/>
        </p:nvSpPr>
        <p:spPr bwMode="auto">
          <a:xfrm>
            <a:off x="7386638" y="2970213"/>
            <a:ext cx="4762" cy="3175"/>
          </a:xfrm>
          <a:custGeom>
            <a:avLst/>
            <a:gdLst>
              <a:gd name="T0" fmla="*/ 2147483646 w 4"/>
              <a:gd name="T1" fmla="*/ 0 h 3"/>
              <a:gd name="T2" fmla="*/ 0 w 4"/>
              <a:gd name="T3" fmla="*/ 0 h 3"/>
              <a:gd name="T4" fmla="*/ 0 w 4"/>
              <a:gd name="T5" fmla="*/ 2147483646 h 3"/>
              <a:gd name="T6" fmla="*/ 2147483646 w 4"/>
              <a:gd name="T7" fmla="*/ 2147483646 h 3"/>
              <a:gd name="T8" fmla="*/ 2147483646 w 4"/>
              <a:gd name="T9" fmla="*/ 0 h 3"/>
              <a:gd name="T10" fmla="*/ 2147483646 w 4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0" y="0"/>
                </a:lnTo>
                <a:lnTo>
                  <a:pt x="0" y="3"/>
                </a:lnTo>
                <a:lnTo>
                  <a:pt x="4" y="3"/>
                </a:lnTo>
                <a:lnTo>
                  <a:pt x="4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7" name="Freeform 145"/>
          <p:cNvSpPr>
            <a:spLocks/>
          </p:cNvSpPr>
          <p:nvPr/>
        </p:nvSpPr>
        <p:spPr bwMode="auto">
          <a:xfrm>
            <a:off x="7399338" y="2933700"/>
            <a:ext cx="4762" cy="1588"/>
          </a:xfrm>
          <a:custGeom>
            <a:avLst/>
            <a:gdLst>
              <a:gd name="T0" fmla="*/ 2147483646 w 5"/>
              <a:gd name="T1" fmla="*/ 0 h 1588"/>
              <a:gd name="T2" fmla="*/ 2147483646 w 5"/>
              <a:gd name="T3" fmla="*/ 0 h 1588"/>
              <a:gd name="T4" fmla="*/ 2147483646 w 5"/>
              <a:gd name="T5" fmla="*/ 0 h 1588"/>
              <a:gd name="T6" fmla="*/ 0 w 5"/>
              <a:gd name="T7" fmla="*/ 0 h 1588"/>
              <a:gd name="T8" fmla="*/ 0 w 5"/>
              <a:gd name="T9" fmla="*/ 0 h 1588"/>
              <a:gd name="T10" fmla="*/ 2147483646 w 5"/>
              <a:gd name="T11" fmla="*/ 0 h 1588"/>
              <a:gd name="T12" fmla="*/ 2147483646 w 5"/>
              <a:gd name="T13" fmla="*/ 0 h 1588"/>
              <a:gd name="T14" fmla="*/ 2147483646 w 5"/>
              <a:gd name="T15" fmla="*/ 0 h 1588"/>
              <a:gd name="T16" fmla="*/ 2147483646 w 5"/>
              <a:gd name="T17" fmla="*/ 0 h 15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88">
                <a:moveTo>
                  <a:pt x="5" y="0"/>
                </a:moveTo>
                <a:lnTo>
                  <a:pt x="5" y="0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8" name="Freeform 146"/>
          <p:cNvSpPr>
            <a:spLocks/>
          </p:cNvSpPr>
          <p:nvPr/>
        </p:nvSpPr>
        <p:spPr bwMode="auto">
          <a:xfrm>
            <a:off x="7399338" y="2933700"/>
            <a:ext cx="4762" cy="1588"/>
          </a:xfrm>
          <a:custGeom>
            <a:avLst/>
            <a:gdLst>
              <a:gd name="T0" fmla="*/ 0 w 5"/>
              <a:gd name="T1" fmla="*/ 0 h 1588"/>
              <a:gd name="T2" fmla="*/ 2147483646 w 5"/>
              <a:gd name="T3" fmla="*/ 0 h 1588"/>
              <a:gd name="T4" fmla="*/ 2147483646 w 5"/>
              <a:gd name="T5" fmla="*/ 0 h 1588"/>
              <a:gd name="T6" fmla="*/ 2147483646 w 5"/>
              <a:gd name="T7" fmla="*/ 0 h 1588"/>
              <a:gd name="T8" fmla="*/ 2147483646 w 5"/>
              <a:gd name="T9" fmla="*/ 0 h 1588"/>
              <a:gd name="T10" fmla="*/ 0 w 5"/>
              <a:gd name="T11" fmla="*/ 0 h 1588"/>
              <a:gd name="T12" fmla="*/ 2147483646 w 5"/>
              <a:gd name="T13" fmla="*/ 0 h 1588"/>
              <a:gd name="T14" fmla="*/ 2147483646 w 5"/>
              <a:gd name="T15" fmla="*/ 0 h 1588"/>
              <a:gd name="T16" fmla="*/ 2147483646 w 5"/>
              <a:gd name="T17" fmla="*/ 0 h 1588"/>
              <a:gd name="T18" fmla="*/ 0 w 5"/>
              <a:gd name="T19" fmla="*/ 0 h 15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" h="1588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69" name="Freeform 147"/>
          <p:cNvSpPr>
            <a:spLocks/>
          </p:cNvSpPr>
          <p:nvPr/>
        </p:nvSpPr>
        <p:spPr bwMode="auto">
          <a:xfrm>
            <a:off x="7532688" y="2543175"/>
            <a:ext cx="12700" cy="6350"/>
          </a:xfrm>
          <a:custGeom>
            <a:avLst/>
            <a:gdLst>
              <a:gd name="T0" fmla="*/ 2147483646 w 12"/>
              <a:gd name="T1" fmla="*/ 0 h 6"/>
              <a:gd name="T2" fmla="*/ 0 w 12"/>
              <a:gd name="T3" fmla="*/ 0 h 6"/>
              <a:gd name="T4" fmla="*/ 0 w 12"/>
              <a:gd name="T5" fmla="*/ 2147483646 h 6"/>
              <a:gd name="T6" fmla="*/ 2147483646 w 12"/>
              <a:gd name="T7" fmla="*/ 2147483646 h 6"/>
              <a:gd name="T8" fmla="*/ 2147483646 w 12"/>
              <a:gd name="T9" fmla="*/ 0 h 6"/>
              <a:gd name="T10" fmla="*/ 2147483646 w 12"/>
              <a:gd name="T11" fmla="*/ 0 h 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6">
                <a:moveTo>
                  <a:pt x="12" y="0"/>
                </a:moveTo>
                <a:lnTo>
                  <a:pt x="0" y="0"/>
                </a:lnTo>
                <a:lnTo>
                  <a:pt x="0" y="6"/>
                </a:lnTo>
                <a:lnTo>
                  <a:pt x="12" y="6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0" name="Freeform 148"/>
          <p:cNvSpPr>
            <a:spLocks/>
          </p:cNvSpPr>
          <p:nvPr/>
        </p:nvSpPr>
        <p:spPr bwMode="auto">
          <a:xfrm>
            <a:off x="7583488" y="2471738"/>
            <a:ext cx="1587" cy="6350"/>
          </a:xfrm>
          <a:custGeom>
            <a:avLst/>
            <a:gdLst>
              <a:gd name="T0" fmla="*/ 0 w 1587"/>
              <a:gd name="T1" fmla="*/ 2147483646 h 6"/>
              <a:gd name="T2" fmla="*/ 0 w 1587"/>
              <a:gd name="T3" fmla="*/ 0 h 6"/>
              <a:gd name="T4" fmla="*/ 0 w 1587"/>
              <a:gd name="T5" fmla="*/ 0 h 6"/>
              <a:gd name="T6" fmla="*/ 0 w 1587"/>
              <a:gd name="T7" fmla="*/ 0 h 6"/>
              <a:gd name="T8" fmla="*/ 0 w 1587"/>
              <a:gd name="T9" fmla="*/ 0 h 6"/>
              <a:gd name="T10" fmla="*/ 0 w 1587"/>
              <a:gd name="T11" fmla="*/ 2147483646 h 6"/>
              <a:gd name="T12" fmla="*/ 0 w 1587"/>
              <a:gd name="T13" fmla="*/ 2147483646 h 6"/>
              <a:gd name="T14" fmla="*/ 0 w 1587"/>
              <a:gd name="T15" fmla="*/ 2147483646 h 6"/>
              <a:gd name="T16" fmla="*/ 0 w 1587"/>
              <a:gd name="T17" fmla="*/ 2147483646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587" h="6">
                <a:moveTo>
                  <a:pt x="0" y="6"/>
                </a:moveTo>
                <a:lnTo>
                  <a:pt x="0" y="0"/>
                </a:lnTo>
                <a:lnTo>
                  <a:pt x="0" y="6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1" name="Freeform 149"/>
          <p:cNvSpPr>
            <a:spLocks/>
          </p:cNvSpPr>
          <p:nvPr/>
        </p:nvSpPr>
        <p:spPr bwMode="auto">
          <a:xfrm>
            <a:off x="7583488" y="2447925"/>
            <a:ext cx="14287" cy="6350"/>
          </a:xfrm>
          <a:custGeom>
            <a:avLst/>
            <a:gdLst>
              <a:gd name="T0" fmla="*/ 2147483646 w 12"/>
              <a:gd name="T1" fmla="*/ 0 h 6"/>
              <a:gd name="T2" fmla="*/ 0 w 12"/>
              <a:gd name="T3" fmla="*/ 0 h 6"/>
              <a:gd name="T4" fmla="*/ 0 w 12"/>
              <a:gd name="T5" fmla="*/ 2147483646 h 6"/>
              <a:gd name="T6" fmla="*/ 2147483646 w 12"/>
              <a:gd name="T7" fmla="*/ 2147483646 h 6"/>
              <a:gd name="T8" fmla="*/ 2147483646 w 12"/>
              <a:gd name="T9" fmla="*/ 0 h 6"/>
              <a:gd name="T10" fmla="*/ 2147483646 w 12"/>
              <a:gd name="T11" fmla="*/ 0 h 6"/>
              <a:gd name="T12" fmla="*/ 2147483646 w 12"/>
              <a:gd name="T13" fmla="*/ 0 h 6"/>
              <a:gd name="T14" fmla="*/ 2147483646 w 12"/>
              <a:gd name="T15" fmla="*/ 0 h 6"/>
              <a:gd name="T16" fmla="*/ 2147483646 w 12"/>
              <a:gd name="T17" fmla="*/ 0 h 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12" h="6">
                <a:moveTo>
                  <a:pt x="12" y="0"/>
                </a:moveTo>
                <a:lnTo>
                  <a:pt x="0" y="0"/>
                </a:lnTo>
                <a:lnTo>
                  <a:pt x="0" y="6"/>
                </a:lnTo>
                <a:lnTo>
                  <a:pt x="12" y="6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2" name="Freeform 150"/>
          <p:cNvSpPr>
            <a:spLocks/>
          </p:cNvSpPr>
          <p:nvPr/>
        </p:nvSpPr>
        <p:spPr bwMode="auto">
          <a:xfrm>
            <a:off x="7521575" y="2525713"/>
            <a:ext cx="4763" cy="1587"/>
          </a:xfrm>
          <a:custGeom>
            <a:avLst/>
            <a:gdLst>
              <a:gd name="T0" fmla="*/ 0 w 6"/>
              <a:gd name="T1" fmla="*/ 0 h 1587"/>
              <a:gd name="T2" fmla="*/ 2147483646 w 6"/>
              <a:gd name="T3" fmla="*/ 0 h 1587"/>
              <a:gd name="T4" fmla="*/ 2147483646 w 6"/>
              <a:gd name="T5" fmla="*/ 0 h 1587"/>
              <a:gd name="T6" fmla="*/ 2147483646 w 6"/>
              <a:gd name="T7" fmla="*/ 0 h 1587"/>
              <a:gd name="T8" fmla="*/ 2147483646 w 6"/>
              <a:gd name="T9" fmla="*/ 0 h 1587"/>
              <a:gd name="T10" fmla="*/ 0 w 6"/>
              <a:gd name="T11" fmla="*/ 0 h 1587"/>
              <a:gd name="T12" fmla="*/ 0 w 6"/>
              <a:gd name="T13" fmla="*/ 0 h 1587"/>
              <a:gd name="T14" fmla="*/ 0 w 6"/>
              <a:gd name="T15" fmla="*/ 0 h 1587"/>
              <a:gd name="T16" fmla="*/ 0 w 6"/>
              <a:gd name="T17" fmla="*/ 0 h 158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587">
                <a:moveTo>
                  <a:pt x="0" y="0"/>
                </a:move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3" name="Freeform 151"/>
          <p:cNvSpPr>
            <a:spLocks/>
          </p:cNvSpPr>
          <p:nvPr/>
        </p:nvSpPr>
        <p:spPr bwMode="auto">
          <a:xfrm>
            <a:off x="8135938" y="2574925"/>
            <a:ext cx="14287" cy="17463"/>
          </a:xfrm>
          <a:custGeom>
            <a:avLst/>
            <a:gdLst>
              <a:gd name="T0" fmla="*/ 2147483646 w 12"/>
              <a:gd name="T1" fmla="*/ 0 h 18"/>
              <a:gd name="T2" fmla="*/ 0 w 12"/>
              <a:gd name="T3" fmla="*/ 0 h 18"/>
              <a:gd name="T4" fmla="*/ 0 w 12"/>
              <a:gd name="T5" fmla="*/ 2147483646 h 18"/>
              <a:gd name="T6" fmla="*/ 2147483646 w 12"/>
              <a:gd name="T7" fmla="*/ 2147483646 h 18"/>
              <a:gd name="T8" fmla="*/ 2147483646 w 12"/>
              <a:gd name="T9" fmla="*/ 0 h 18"/>
              <a:gd name="T10" fmla="*/ 2147483646 w 12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18">
                <a:moveTo>
                  <a:pt x="12" y="0"/>
                </a:moveTo>
                <a:lnTo>
                  <a:pt x="0" y="0"/>
                </a:lnTo>
                <a:lnTo>
                  <a:pt x="0" y="18"/>
                </a:lnTo>
                <a:lnTo>
                  <a:pt x="12" y="18"/>
                </a:lnTo>
                <a:lnTo>
                  <a:pt x="12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4" name="Freeform 152"/>
          <p:cNvSpPr>
            <a:spLocks/>
          </p:cNvSpPr>
          <p:nvPr/>
        </p:nvSpPr>
        <p:spPr bwMode="auto">
          <a:xfrm>
            <a:off x="8791575" y="2230438"/>
            <a:ext cx="6350" cy="25400"/>
          </a:xfrm>
          <a:custGeom>
            <a:avLst/>
            <a:gdLst>
              <a:gd name="T0" fmla="*/ 2147483646 w 6"/>
              <a:gd name="T1" fmla="*/ 0 h 24"/>
              <a:gd name="T2" fmla="*/ 0 w 6"/>
              <a:gd name="T3" fmla="*/ 0 h 24"/>
              <a:gd name="T4" fmla="*/ 0 w 6"/>
              <a:gd name="T5" fmla="*/ 2147483646 h 24"/>
              <a:gd name="T6" fmla="*/ 2147483646 w 6"/>
              <a:gd name="T7" fmla="*/ 2147483646 h 24"/>
              <a:gd name="T8" fmla="*/ 2147483646 w 6"/>
              <a:gd name="T9" fmla="*/ 0 h 24"/>
              <a:gd name="T10" fmla="*/ 2147483646 w 6"/>
              <a:gd name="T11" fmla="*/ 0 h 24"/>
              <a:gd name="T12" fmla="*/ 2147483646 w 6"/>
              <a:gd name="T13" fmla="*/ 0 h 24"/>
              <a:gd name="T14" fmla="*/ 2147483646 w 6"/>
              <a:gd name="T15" fmla="*/ 0 h 24"/>
              <a:gd name="T16" fmla="*/ 0 w 6"/>
              <a:gd name="T17" fmla="*/ 0 h 24"/>
              <a:gd name="T18" fmla="*/ 2147483646 w 6"/>
              <a:gd name="T19" fmla="*/ 0 h 2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" h="24">
                <a:moveTo>
                  <a:pt x="6" y="0"/>
                </a:moveTo>
                <a:lnTo>
                  <a:pt x="0" y="0"/>
                </a:lnTo>
                <a:lnTo>
                  <a:pt x="0" y="24"/>
                </a:lnTo>
                <a:lnTo>
                  <a:pt x="6" y="24"/>
                </a:ln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5" name="Freeform 153"/>
          <p:cNvSpPr>
            <a:spLocks/>
          </p:cNvSpPr>
          <p:nvPr/>
        </p:nvSpPr>
        <p:spPr bwMode="auto">
          <a:xfrm>
            <a:off x="8220075" y="1905000"/>
            <a:ext cx="6350" cy="11113"/>
          </a:xfrm>
          <a:custGeom>
            <a:avLst/>
            <a:gdLst>
              <a:gd name="T0" fmla="*/ 2147483646 w 6"/>
              <a:gd name="T1" fmla="*/ 2147483646 h 12"/>
              <a:gd name="T2" fmla="*/ 2147483646 w 6"/>
              <a:gd name="T3" fmla="*/ 2147483646 h 12"/>
              <a:gd name="T4" fmla="*/ 2147483646 w 6"/>
              <a:gd name="T5" fmla="*/ 0 h 12"/>
              <a:gd name="T6" fmla="*/ 0 w 6"/>
              <a:gd name="T7" fmla="*/ 0 h 12"/>
              <a:gd name="T8" fmla="*/ 0 w 6"/>
              <a:gd name="T9" fmla="*/ 2147483646 h 12"/>
              <a:gd name="T10" fmla="*/ 2147483646 w 6"/>
              <a:gd name="T11" fmla="*/ 2147483646 h 12"/>
              <a:gd name="T12" fmla="*/ 0 w 6"/>
              <a:gd name="T13" fmla="*/ 2147483646 h 12"/>
              <a:gd name="T14" fmla="*/ 2147483646 w 6"/>
              <a:gd name="T15" fmla="*/ 2147483646 h 12"/>
              <a:gd name="T16" fmla="*/ 2147483646 w 6"/>
              <a:gd name="T17" fmla="*/ 2147483646 h 1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" h="12">
                <a:moveTo>
                  <a:pt x="6" y="12"/>
                </a:moveTo>
                <a:lnTo>
                  <a:pt x="6" y="12"/>
                </a:lnTo>
                <a:lnTo>
                  <a:pt x="6" y="0"/>
                </a:lnTo>
                <a:lnTo>
                  <a:pt x="0" y="0"/>
                </a:lnTo>
                <a:lnTo>
                  <a:pt x="0" y="12"/>
                </a:lnTo>
                <a:lnTo>
                  <a:pt x="6" y="12"/>
                </a:lnTo>
                <a:lnTo>
                  <a:pt x="0" y="12"/>
                </a:lnTo>
                <a:lnTo>
                  <a:pt x="6" y="12"/>
                </a:lnTo>
                <a:close/>
              </a:path>
            </a:pathLst>
          </a:custGeom>
          <a:solidFill>
            <a:srgbClr val="9CAC11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6" name="Freeform 154"/>
          <p:cNvSpPr>
            <a:spLocks/>
          </p:cNvSpPr>
          <p:nvPr/>
        </p:nvSpPr>
        <p:spPr bwMode="auto">
          <a:xfrm>
            <a:off x="6796088" y="4433888"/>
            <a:ext cx="6350" cy="6350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0 h 2"/>
              <a:gd name="T4" fmla="*/ 0 w 2"/>
              <a:gd name="T5" fmla="*/ 2147483646 h 2"/>
              <a:gd name="T6" fmla="*/ 0 w 2"/>
              <a:gd name="T7" fmla="*/ 2147483646 h 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0"/>
                </a:lnTo>
                <a:lnTo>
                  <a:pt x="0" y="2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7" name="Freeform 155"/>
          <p:cNvSpPr>
            <a:spLocks/>
          </p:cNvSpPr>
          <p:nvPr/>
        </p:nvSpPr>
        <p:spPr bwMode="auto">
          <a:xfrm>
            <a:off x="6624638" y="4154488"/>
            <a:ext cx="195262" cy="120650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8" name="Freeform 156"/>
          <p:cNvSpPr>
            <a:spLocks/>
          </p:cNvSpPr>
          <p:nvPr/>
        </p:nvSpPr>
        <p:spPr bwMode="auto">
          <a:xfrm>
            <a:off x="6705600" y="4110038"/>
            <a:ext cx="80963" cy="47625"/>
          </a:xfrm>
          <a:custGeom>
            <a:avLst/>
            <a:gdLst>
              <a:gd name="T0" fmla="*/ 2147483646 w 26"/>
              <a:gd name="T1" fmla="*/ 2147483646 h 16"/>
              <a:gd name="T2" fmla="*/ 2147483646 w 26"/>
              <a:gd name="T3" fmla="*/ 2147483646 h 16"/>
              <a:gd name="T4" fmla="*/ 2147483646 w 26"/>
              <a:gd name="T5" fmla="*/ 2147483646 h 16"/>
              <a:gd name="T6" fmla="*/ 2147483646 w 26"/>
              <a:gd name="T7" fmla="*/ 2147483646 h 16"/>
              <a:gd name="T8" fmla="*/ 2147483646 w 26"/>
              <a:gd name="T9" fmla="*/ 2147483646 h 16"/>
              <a:gd name="T10" fmla="*/ 2147483646 w 26"/>
              <a:gd name="T11" fmla="*/ 0 h 16"/>
              <a:gd name="T12" fmla="*/ 2147483646 w 26"/>
              <a:gd name="T13" fmla="*/ 2147483646 h 16"/>
              <a:gd name="T14" fmla="*/ 2147483646 w 26"/>
              <a:gd name="T15" fmla="*/ 2147483646 h 16"/>
              <a:gd name="T16" fmla="*/ 2147483646 w 26"/>
              <a:gd name="T17" fmla="*/ 2147483646 h 16"/>
              <a:gd name="T18" fmla="*/ 0 w 26"/>
              <a:gd name="T19" fmla="*/ 2147483646 h 16"/>
              <a:gd name="T20" fmla="*/ 0 w 26"/>
              <a:gd name="T21" fmla="*/ 2147483646 h 16"/>
              <a:gd name="T22" fmla="*/ 2147483646 w 26"/>
              <a:gd name="T23" fmla="*/ 2147483646 h 16"/>
              <a:gd name="T24" fmla="*/ 2147483646 w 26"/>
              <a:gd name="T25" fmla="*/ 2147483646 h 16"/>
              <a:gd name="T26" fmla="*/ 2147483646 w 26"/>
              <a:gd name="T27" fmla="*/ 2147483646 h 16"/>
              <a:gd name="T28" fmla="*/ 2147483646 w 26"/>
              <a:gd name="T29" fmla="*/ 2147483646 h 16"/>
              <a:gd name="T30" fmla="*/ 2147483646 w 26"/>
              <a:gd name="T31" fmla="*/ 2147483646 h 16"/>
              <a:gd name="T32" fmla="*/ 2147483646 w 26"/>
              <a:gd name="T33" fmla="*/ 2147483646 h 16"/>
              <a:gd name="T34" fmla="*/ 2147483646 w 26"/>
              <a:gd name="T35" fmla="*/ 2147483646 h 16"/>
              <a:gd name="T36" fmla="*/ 2147483646 w 26"/>
              <a:gd name="T37" fmla="*/ 2147483646 h 16"/>
              <a:gd name="T38" fmla="*/ 2147483646 w 26"/>
              <a:gd name="T39" fmla="*/ 2147483646 h 16"/>
              <a:gd name="T40" fmla="*/ 2147483646 w 26"/>
              <a:gd name="T41" fmla="*/ 2147483646 h 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6" h="16">
                <a:moveTo>
                  <a:pt x="26" y="8"/>
                </a:moveTo>
                <a:lnTo>
                  <a:pt x="26" y="8"/>
                </a:lnTo>
                <a:lnTo>
                  <a:pt x="24" y="9"/>
                </a:lnTo>
                <a:lnTo>
                  <a:pt x="22" y="8"/>
                </a:lnTo>
                <a:lnTo>
                  <a:pt x="19" y="7"/>
                </a:lnTo>
                <a:lnTo>
                  <a:pt x="7" y="0"/>
                </a:lnTo>
                <a:lnTo>
                  <a:pt x="5" y="1"/>
                </a:lnTo>
                <a:lnTo>
                  <a:pt x="3" y="2"/>
                </a:lnTo>
                <a:lnTo>
                  <a:pt x="1" y="4"/>
                </a:lnTo>
                <a:lnTo>
                  <a:pt x="0" y="6"/>
                </a:lnTo>
                <a:lnTo>
                  <a:pt x="0" y="8"/>
                </a:lnTo>
                <a:lnTo>
                  <a:pt x="4" y="11"/>
                </a:lnTo>
                <a:lnTo>
                  <a:pt x="6" y="15"/>
                </a:lnTo>
                <a:lnTo>
                  <a:pt x="7" y="16"/>
                </a:lnTo>
                <a:lnTo>
                  <a:pt x="8" y="15"/>
                </a:lnTo>
                <a:lnTo>
                  <a:pt x="12" y="16"/>
                </a:lnTo>
                <a:lnTo>
                  <a:pt x="16" y="14"/>
                </a:lnTo>
                <a:lnTo>
                  <a:pt x="20" y="15"/>
                </a:lnTo>
                <a:lnTo>
                  <a:pt x="20" y="16"/>
                </a:lnTo>
                <a:lnTo>
                  <a:pt x="26" y="14"/>
                </a:lnTo>
                <a:lnTo>
                  <a:pt x="26" y="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79" name="Freeform 157"/>
          <p:cNvSpPr>
            <a:spLocks/>
          </p:cNvSpPr>
          <p:nvPr/>
        </p:nvSpPr>
        <p:spPr bwMode="auto">
          <a:xfrm>
            <a:off x="6229350" y="4160838"/>
            <a:ext cx="708025" cy="273050"/>
          </a:xfrm>
          <a:custGeom>
            <a:avLst/>
            <a:gdLst>
              <a:gd name="T0" fmla="*/ 2147483646 w 226"/>
              <a:gd name="T1" fmla="*/ 2147483646 h 93"/>
              <a:gd name="T2" fmla="*/ 2147483646 w 226"/>
              <a:gd name="T3" fmla="*/ 2147483646 h 93"/>
              <a:gd name="T4" fmla="*/ 2147483646 w 226"/>
              <a:gd name="T5" fmla="*/ 2147483646 h 93"/>
              <a:gd name="T6" fmla="*/ 2147483646 w 226"/>
              <a:gd name="T7" fmla="*/ 2147483646 h 93"/>
              <a:gd name="T8" fmla="*/ 2147483646 w 226"/>
              <a:gd name="T9" fmla="*/ 2147483646 h 93"/>
              <a:gd name="T10" fmla="*/ 2147483646 w 226"/>
              <a:gd name="T11" fmla="*/ 2147483646 h 93"/>
              <a:gd name="T12" fmla="*/ 2147483646 w 226"/>
              <a:gd name="T13" fmla="*/ 2147483646 h 93"/>
              <a:gd name="T14" fmla="*/ 2147483646 w 226"/>
              <a:gd name="T15" fmla="*/ 2147483646 h 93"/>
              <a:gd name="T16" fmla="*/ 2147483646 w 226"/>
              <a:gd name="T17" fmla="*/ 2147483646 h 93"/>
              <a:gd name="T18" fmla="*/ 2147483646 w 226"/>
              <a:gd name="T19" fmla="*/ 2147483646 h 93"/>
              <a:gd name="T20" fmla="*/ 2147483646 w 226"/>
              <a:gd name="T21" fmla="*/ 2147483646 h 93"/>
              <a:gd name="T22" fmla="*/ 2147483646 w 226"/>
              <a:gd name="T23" fmla="*/ 2147483646 h 93"/>
              <a:gd name="T24" fmla="*/ 2147483646 w 226"/>
              <a:gd name="T25" fmla="*/ 2147483646 h 93"/>
              <a:gd name="T26" fmla="*/ 2147483646 w 226"/>
              <a:gd name="T27" fmla="*/ 2147483646 h 93"/>
              <a:gd name="T28" fmla="*/ 2147483646 w 226"/>
              <a:gd name="T29" fmla="*/ 2147483646 h 93"/>
              <a:gd name="T30" fmla="*/ 2147483646 w 226"/>
              <a:gd name="T31" fmla="*/ 0 h 93"/>
              <a:gd name="T32" fmla="*/ 2147483646 w 226"/>
              <a:gd name="T33" fmla="*/ 2147483646 h 93"/>
              <a:gd name="T34" fmla="*/ 2147483646 w 226"/>
              <a:gd name="T35" fmla="*/ 2147483646 h 93"/>
              <a:gd name="T36" fmla="*/ 2147483646 w 226"/>
              <a:gd name="T37" fmla="*/ 2147483646 h 93"/>
              <a:gd name="T38" fmla="*/ 2147483646 w 226"/>
              <a:gd name="T39" fmla="*/ 2147483646 h 93"/>
              <a:gd name="T40" fmla="*/ 2147483646 w 226"/>
              <a:gd name="T41" fmla="*/ 2147483646 h 93"/>
              <a:gd name="T42" fmla="*/ 2147483646 w 226"/>
              <a:gd name="T43" fmla="*/ 2147483646 h 93"/>
              <a:gd name="T44" fmla="*/ 0 w 226"/>
              <a:gd name="T45" fmla="*/ 2147483646 h 93"/>
              <a:gd name="T46" fmla="*/ 2147483646 w 226"/>
              <a:gd name="T47" fmla="*/ 2147483646 h 93"/>
              <a:gd name="T48" fmla="*/ 2147483646 w 226"/>
              <a:gd name="T49" fmla="*/ 2147483646 h 93"/>
              <a:gd name="T50" fmla="*/ 2147483646 w 226"/>
              <a:gd name="T51" fmla="*/ 2147483646 h 93"/>
              <a:gd name="T52" fmla="*/ 2147483646 w 226"/>
              <a:gd name="T53" fmla="*/ 2147483646 h 93"/>
              <a:gd name="T54" fmla="*/ 2147483646 w 226"/>
              <a:gd name="T55" fmla="*/ 2147483646 h 93"/>
              <a:gd name="T56" fmla="*/ 2147483646 w 226"/>
              <a:gd name="T57" fmla="*/ 2147483646 h 93"/>
              <a:gd name="T58" fmla="*/ 2147483646 w 226"/>
              <a:gd name="T59" fmla="*/ 2147483646 h 93"/>
              <a:gd name="T60" fmla="*/ 2147483646 w 226"/>
              <a:gd name="T61" fmla="*/ 2147483646 h 93"/>
              <a:gd name="T62" fmla="*/ 2147483646 w 226"/>
              <a:gd name="T63" fmla="*/ 2147483646 h 93"/>
              <a:gd name="T64" fmla="*/ 2147483646 w 226"/>
              <a:gd name="T65" fmla="*/ 2147483646 h 93"/>
              <a:gd name="T66" fmla="*/ 2147483646 w 226"/>
              <a:gd name="T67" fmla="*/ 2147483646 h 93"/>
              <a:gd name="T68" fmla="*/ 2147483646 w 226"/>
              <a:gd name="T69" fmla="*/ 2147483646 h 93"/>
              <a:gd name="T70" fmla="*/ 2147483646 w 226"/>
              <a:gd name="T71" fmla="*/ 2147483646 h 93"/>
              <a:gd name="T72" fmla="*/ 2147483646 w 226"/>
              <a:gd name="T73" fmla="*/ 2147483646 h 93"/>
              <a:gd name="T74" fmla="*/ 2147483646 w 226"/>
              <a:gd name="T75" fmla="*/ 2147483646 h 93"/>
              <a:gd name="T76" fmla="*/ 2147483646 w 226"/>
              <a:gd name="T77" fmla="*/ 2147483646 h 93"/>
              <a:gd name="T78" fmla="*/ 2147483646 w 226"/>
              <a:gd name="T79" fmla="*/ 2147483646 h 93"/>
              <a:gd name="T80" fmla="*/ 2147483646 w 226"/>
              <a:gd name="T81" fmla="*/ 2147483646 h 93"/>
              <a:gd name="T82" fmla="*/ 2147483646 w 226"/>
              <a:gd name="T83" fmla="*/ 2147483646 h 93"/>
              <a:gd name="T84" fmla="*/ 2147483646 w 226"/>
              <a:gd name="T85" fmla="*/ 2147483646 h 93"/>
              <a:gd name="T86" fmla="*/ 2147483646 w 226"/>
              <a:gd name="T87" fmla="*/ 2147483646 h 93"/>
              <a:gd name="T88" fmla="*/ 2147483646 w 226"/>
              <a:gd name="T89" fmla="*/ 2147483646 h 93"/>
              <a:gd name="T90" fmla="*/ 2147483646 w 226"/>
              <a:gd name="T91" fmla="*/ 2147483646 h 93"/>
              <a:gd name="T92" fmla="*/ 2147483646 w 226"/>
              <a:gd name="T93" fmla="*/ 2147483646 h 93"/>
              <a:gd name="T94" fmla="*/ 2147483646 w 226"/>
              <a:gd name="T95" fmla="*/ 2147483646 h 93"/>
              <a:gd name="T96" fmla="*/ 2147483646 w 226"/>
              <a:gd name="T97" fmla="*/ 2147483646 h 93"/>
              <a:gd name="T98" fmla="*/ 2147483646 w 226"/>
              <a:gd name="T99" fmla="*/ 2147483646 h 9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226" h="93">
                <a:moveTo>
                  <a:pt x="204" y="66"/>
                </a:moveTo>
                <a:lnTo>
                  <a:pt x="198" y="56"/>
                </a:lnTo>
                <a:lnTo>
                  <a:pt x="196" y="45"/>
                </a:lnTo>
                <a:lnTo>
                  <a:pt x="211" y="27"/>
                </a:lnTo>
                <a:lnTo>
                  <a:pt x="205" y="22"/>
                </a:lnTo>
                <a:lnTo>
                  <a:pt x="189" y="39"/>
                </a:lnTo>
                <a:lnTo>
                  <a:pt x="189" y="40"/>
                </a:lnTo>
                <a:lnTo>
                  <a:pt x="188" y="42"/>
                </a:lnTo>
                <a:lnTo>
                  <a:pt x="193" y="45"/>
                </a:lnTo>
                <a:lnTo>
                  <a:pt x="193" y="48"/>
                </a:lnTo>
                <a:lnTo>
                  <a:pt x="194" y="50"/>
                </a:lnTo>
                <a:lnTo>
                  <a:pt x="195" y="52"/>
                </a:lnTo>
                <a:lnTo>
                  <a:pt x="195" y="59"/>
                </a:lnTo>
                <a:lnTo>
                  <a:pt x="193" y="60"/>
                </a:lnTo>
                <a:lnTo>
                  <a:pt x="192" y="61"/>
                </a:lnTo>
                <a:lnTo>
                  <a:pt x="189" y="61"/>
                </a:lnTo>
                <a:lnTo>
                  <a:pt x="187" y="60"/>
                </a:lnTo>
                <a:lnTo>
                  <a:pt x="186" y="62"/>
                </a:lnTo>
                <a:lnTo>
                  <a:pt x="180" y="65"/>
                </a:lnTo>
                <a:lnTo>
                  <a:pt x="178" y="64"/>
                </a:lnTo>
                <a:lnTo>
                  <a:pt x="174" y="61"/>
                </a:lnTo>
                <a:lnTo>
                  <a:pt x="172" y="63"/>
                </a:lnTo>
                <a:lnTo>
                  <a:pt x="168" y="61"/>
                </a:lnTo>
                <a:lnTo>
                  <a:pt x="162" y="64"/>
                </a:lnTo>
                <a:lnTo>
                  <a:pt x="159" y="64"/>
                </a:lnTo>
                <a:lnTo>
                  <a:pt x="157" y="62"/>
                </a:lnTo>
                <a:lnTo>
                  <a:pt x="155" y="62"/>
                </a:lnTo>
                <a:lnTo>
                  <a:pt x="153" y="60"/>
                </a:lnTo>
                <a:lnTo>
                  <a:pt x="150" y="58"/>
                </a:lnTo>
                <a:lnTo>
                  <a:pt x="148" y="54"/>
                </a:lnTo>
                <a:lnTo>
                  <a:pt x="147" y="53"/>
                </a:lnTo>
                <a:lnTo>
                  <a:pt x="142" y="47"/>
                </a:lnTo>
                <a:lnTo>
                  <a:pt x="141" y="45"/>
                </a:lnTo>
                <a:lnTo>
                  <a:pt x="142" y="44"/>
                </a:lnTo>
                <a:lnTo>
                  <a:pt x="140" y="38"/>
                </a:lnTo>
                <a:lnTo>
                  <a:pt x="137" y="37"/>
                </a:lnTo>
                <a:lnTo>
                  <a:pt x="136" y="35"/>
                </a:lnTo>
                <a:lnTo>
                  <a:pt x="134" y="35"/>
                </a:lnTo>
                <a:lnTo>
                  <a:pt x="132" y="33"/>
                </a:lnTo>
                <a:lnTo>
                  <a:pt x="129" y="32"/>
                </a:lnTo>
                <a:lnTo>
                  <a:pt x="122" y="29"/>
                </a:lnTo>
                <a:lnTo>
                  <a:pt x="118" y="28"/>
                </a:lnTo>
                <a:lnTo>
                  <a:pt x="115" y="29"/>
                </a:lnTo>
                <a:lnTo>
                  <a:pt x="112" y="23"/>
                </a:lnTo>
                <a:lnTo>
                  <a:pt x="111" y="23"/>
                </a:lnTo>
                <a:lnTo>
                  <a:pt x="108" y="22"/>
                </a:lnTo>
                <a:lnTo>
                  <a:pt x="107" y="23"/>
                </a:lnTo>
                <a:lnTo>
                  <a:pt x="103" y="23"/>
                </a:lnTo>
                <a:lnTo>
                  <a:pt x="100" y="24"/>
                </a:lnTo>
                <a:lnTo>
                  <a:pt x="100" y="23"/>
                </a:lnTo>
                <a:lnTo>
                  <a:pt x="99" y="21"/>
                </a:lnTo>
                <a:lnTo>
                  <a:pt x="100" y="20"/>
                </a:lnTo>
                <a:lnTo>
                  <a:pt x="100" y="19"/>
                </a:lnTo>
                <a:lnTo>
                  <a:pt x="106" y="17"/>
                </a:lnTo>
                <a:lnTo>
                  <a:pt x="107" y="16"/>
                </a:lnTo>
                <a:lnTo>
                  <a:pt x="104" y="11"/>
                </a:lnTo>
                <a:lnTo>
                  <a:pt x="103" y="9"/>
                </a:lnTo>
                <a:lnTo>
                  <a:pt x="100" y="3"/>
                </a:lnTo>
                <a:lnTo>
                  <a:pt x="99" y="2"/>
                </a:lnTo>
                <a:lnTo>
                  <a:pt x="96" y="1"/>
                </a:lnTo>
                <a:lnTo>
                  <a:pt x="94" y="1"/>
                </a:lnTo>
                <a:lnTo>
                  <a:pt x="93" y="0"/>
                </a:lnTo>
                <a:lnTo>
                  <a:pt x="90" y="0"/>
                </a:lnTo>
                <a:lnTo>
                  <a:pt x="85" y="0"/>
                </a:lnTo>
                <a:lnTo>
                  <a:pt x="83" y="1"/>
                </a:lnTo>
                <a:lnTo>
                  <a:pt x="79" y="2"/>
                </a:lnTo>
                <a:lnTo>
                  <a:pt x="75" y="2"/>
                </a:lnTo>
                <a:lnTo>
                  <a:pt x="72" y="3"/>
                </a:lnTo>
                <a:lnTo>
                  <a:pt x="69" y="3"/>
                </a:lnTo>
                <a:lnTo>
                  <a:pt x="65" y="4"/>
                </a:lnTo>
                <a:lnTo>
                  <a:pt x="64" y="3"/>
                </a:lnTo>
                <a:lnTo>
                  <a:pt x="61" y="2"/>
                </a:lnTo>
                <a:lnTo>
                  <a:pt x="53" y="3"/>
                </a:lnTo>
                <a:lnTo>
                  <a:pt x="46" y="5"/>
                </a:lnTo>
                <a:lnTo>
                  <a:pt x="44" y="5"/>
                </a:lnTo>
                <a:lnTo>
                  <a:pt x="40" y="3"/>
                </a:lnTo>
                <a:lnTo>
                  <a:pt x="37" y="3"/>
                </a:lnTo>
                <a:lnTo>
                  <a:pt x="35" y="2"/>
                </a:lnTo>
                <a:lnTo>
                  <a:pt x="33" y="2"/>
                </a:lnTo>
                <a:lnTo>
                  <a:pt x="31" y="3"/>
                </a:lnTo>
                <a:lnTo>
                  <a:pt x="24" y="8"/>
                </a:lnTo>
                <a:lnTo>
                  <a:pt x="22" y="8"/>
                </a:lnTo>
                <a:lnTo>
                  <a:pt x="9" y="17"/>
                </a:lnTo>
                <a:lnTo>
                  <a:pt x="7" y="18"/>
                </a:lnTo>
                <a:lnTo>
                  <a:pt x="1" y="22"/>
                </a:lnTo>
                <a:lnTo>
                  <a:pt x="0" y="26"/>
                </a:lnTo>
                <a:lnTo>
                  <a:pt x="1" y="27"/>
                </a:lnTo>
                <a:lnTo>
                  <a:pt x="2" y="28"/>
                </a:lnTo>
                <a:lnTo>
                  <a:pt x="4" y="31"/>
                </a:lnTo>
                <a:lnTo>
                  <a:pt x="7" y="33"/>
                </a:lnTo>
                <a:lnTo>
                  <a:pt x="14" y="38"/>
                </a:lnTo>
                <a:lnTo>
                  <a:pt x="18" y="44"/>
                </a:lnTo>
                <a:lnTo>
                  <a:pt x="18" y="45"/>
                </a:lnTo>
                <a:lnTo>
                  <a:pt x="22" y="51"/>
                </a:lnTo>
                <a:lnTo>
                  <a:pt x="29" y="55"/>
                </a:lnTo>
                <a:lnTo>
                  <a:pt x="32" y="59"/>
                </a:lnTo>
                <a:lnTo>
                  <a:pt x="34" y="59"/>
                </a:lnTo>
                <a:lnTo>
                  <a:pt x="36" y="59"/>
                </a:lnTo>
                <a:lnTo>
                  <a:pt x="36" y="58"/>
                </a:lnTo>
                <a:lnTo>
                  <a:pt x="40" y="59"/>
                </a:lnTo>
                <a:lnTo>
                  <a:pt x="47" y="58"/>
                </a:lnTo>
                <a:lnTo>
                  <a:pt x="49" y="56"/>
                </a:lnTo>
                <a:lnTo>
                  <a:pt x="51" y="56"/>
                </a:lnTo>
                <a:lnTo>
                  <a:pt x="52" y="55"/>
                </a:lnTo>
                <a:lnTo>
                  <a:pt x="51" y="54"/>
                </a:lnTo>
                <a:lnTo>
                  <a:pt x="52" y="53"/>
                </a:lnTo>
                <a:lnTo>
                  <a:pt x="57" y="51"/>
                </a:lnTo>
                <a:lnTo>
                  <a:pt x="58" y="52"/>
                </a:lnTo>
                <a:lnTo>
                  <a:pt x="60" y="50"/>
                </a:lnTo>
                <a:lnTo>
                  <a:pt x="61" y="51"/>
                </a:lnTo>
                <a:lnTo>
                  <a:pt x="60" y="53"/>
                </a:lnTo>
                <a:lnTo>
                  <a:pt x="63" y="55"/>
                </a:lnTo>
                <a:lnTo>
                  <a:pt x="61" y="56"/>
                </a:lnTo>
                <a:lnTo>
                  <a:pt x="59" y="53"/>
                </a:lnTo>
                <a:lnTo>
                  <a:pt x="58" y="53"/>
                </a:lnTo>
                <a:lnTo>
                  <a:pt x="56" y="56"/>
                </a:lnTo>
                <a:lnTo>
                  <a:pt x="62" y="60"/>
                </a:lnTo>
                <a:lnTo>
                  <a:pt x="65" y="64"/>
                </a:lnTo>
                <a:lnTo>
                  <a:pt x="66" y="69"/>
                </a:lnTo>
                <a:lnTo>
                  <a:pt x="69" y="70"/>
                </a:lnTo>
                <a:lnTo>
                  <a:pt x="71" y="70"/>
                </a:lnTo>
                <a:lnTo>
                  <a:pt x="73" y="69"/>
                </a:lnTo>
                <a:lnTo>
                  <a:pt x="73" y="70"/>
                </a:lnTo>
                <a:lnTo>
                  <a:pt x="78" y="71"/>
                </a:lnTo>
                <a:lnTo>
                  <a:pt x="78" y="72"/>
                </a:lnTo>
                <a:lnTo>
                  <a:pt x="87" y="80"/>
                </a:lnTo>
                <a:lnTo>
                  <a:pt x="95" y="78"/>
                </a:lnTo>
                <a:lnTo>
                  <a:pt x="96" y="78"/>
                </a:lnTo>
                <a:lnTo>
                  <a:pt x="99" y="76"/>
                </a:lnTo>
                <a:lnTo>
                  <a:pt x="100" y="76"/>
                </a:lnTo>
                <a:lnTo>
                  <a:pt x="105" y="78"/>
                </a:lnTo>
                <a:lnTo>
                  <a:pt x="106" y="77"/>
                </a:lnTo>
                <a:lnTo>
                  <a:pt x="112" y="62"/>
                </a:lnTo>
                <a:lnTo>
                  <a:pt x="111" y="59"/>
                </a:lnTo>
                <a:lnTo>
                  <a:pt x="112" y="57"/>
                </a:lnTo>
                <a:lnTo>
                  <a:pt x="114" y="58"/>
                </a:lnTo>
                <a:lnTo>
                  <a:pt x="118" y="55"/>
                </a:lnTo>
                <a:lnTo>
                  <a:pt x="122" y="54"/>
                </a:lnTo>
                <a:lnTo>
                  <a:pt x="123" y="53"/>
                </a:lnTo>
                <a:lnTo>
                  <a:pt x="125" y="54"/>
                </a:lnTo>
                <a:lnTo>
                  <a:pt x="127" y="57"/>
                </a:lnTo>
                <a:lnTo>
                  <a:pt x="130" y="60"/>
                </a:lnTo>
                <a:lnTo>
                  <a:pt x="133" y="62"/>
                </a:lnTo>
                <a:lnTo>
                  <a:pt x="135" y="62"/>
                </a:lnTo>
                <a:lnTo>
                  <a:pt x="137" y="63"/>
                </a:lnTo>
                <a:lnTo>
                  <a:pt x="137" y="64"/>
                </a:lnTo>
                <a:lnTo>
                  <a:pt x="139" y="65"/>
                </a:lnTo>
                <a:lnTo>
                  <a:pt x="141" y="68"/>
                </a:lnTo>
                <a:lnTo>
                  <a:pt x="141" y="69"/>
                </a:lnTo>
                <a:lnTo>
                  <a:pt x="142" y="70"/>
                </a:lnTo>
                <a:lnTo>
                  <a:pt x="145" y="71"/>
                </a:lnTo>
                <a:lnTo>
                  <a:pt x="145" y="72"/>
                </a:lnTo>
                <a:lnTo>
                  <a:pt x="152" y="74"/>
                </a:lnTo>
                <a:lnTo>
                  <a:pt x="158" y="76"/>
                </a:lnTo>
                <a:lnTo>
                  <a:pt x="162" y="78"/>
                </a:lnTo>
                <a:lnTo>
                  <a:pt x="163" y="77"/>
                </a:lnTo>
                <a:lnTo>
                  <a:pt x="170" y="75"/>
                </a:lnTo>
                <a:lnTo>
                  <a:pt x="171" y="73"/>
                </a:lnTo>
                <a:lnTo>
                  <a:pt x="174" y="73"/>
                </a:lnTo>
                <a:lnTo>
                  <a:pt x="175" y="76"/>
                </a:lnTo>
                <a:lnTo>
                  <a:pt x="179" y="75"/>
                </a:lnTo>
                <a:lnTo>
                  <a:pt x="181" y="73"/>
                </a:lnTo>
                <a:lnTo>
                  <a:pt x="181" y="76"/>
                </a:lnTo>
                <a:lnTo>
                  <a:pt x="183" y="78"/>
                </a:lnTo>
                <a:lnTo>
                  <a:pt x="184" y="81"/>
                </a:lnTo>
                <a:lnTo>
                  <a:pt x="186" y="83"/>
                </a:lnTo>
                <a:lnTo>
                  <a:pt x="186" y="84"/>
                </a:lnTo>
                <a:lnTo>
                  <a:pt x="183" y="83"/>
                </a:lnTo>
                <a:lnTo>
                  <a:pt x="184" y="85"/>
                </a:lnTo>
                <a:lnTo>
                  <a:pt x="191" y="85"/>
                </a:lnTo>
                <a:lnTo>
                  <a:pt x="196" y="85"/>
                </a:lnTo>
                <a:lnTo>
                  <a:pt x="204" y="85"/>
                </a:lnTo>
                <a:lnTo>
                  <a:pt x="205" y="87"/>
                </a:lnTo>
                <a:lnTo>
                  <a:pt x="206" y="92"/>
                </a:lnTo>
                <a:lnTo>
                  <a:pt x="207" y="92"/>
                </a:lnTo>
                <a:lnTo>
                  <a:pt x="212" y="93"/>
                </a:lnTo>
                <a:lnTo>
                  <a:pt x="215" y="93"/>
                </a:lnTo>
                <a:lnTo>
                  <a:pt x="218" y="93"/>
                </a:lnTo>
                <a:lnTo>
                  <a:pt x="223" y="90"/>
                </a:lnTo>
                <a:lnTo>
                  <a:pt x="224" y="89"/>
                </a:lnTo>
                <a:lnTo>
                  <a:pt x="226" y="90"/>
                </a:lnTo>
                <a:lnTo>
                  <a:pt x="225" y="87"/>
                </a:lnTo>
                <a:lnTo>
                  <a:pt x="226" y="86"/>
                </a:lnTo>
                <a:lnTo>
                  <a:pt x="218" y="74"/>
                </a:lnTo>
                <a:lnTo>
                  <a:pt x="215" y="69"/>
                </a:lnTo>
                <a:lnTo>
                  <a:pt x="218" y="67"/>
                </a:lnTo>
                <a:lnTo>
                  <a:pt x="218" y="65"/>
                </a:lnTo>
                <a:lnTo>
                  <a:pt x="218" y="62"/>
                </a:lnTo>
                <a:lnTo>
                  <a:pt x="218" y="60"/>
                </a:lnTo>
                <a:lnTo>
                  <a:pt x="216" y="61"/>
                </a:lnTo>
                <a:lnTo>
                  <a:pt x="215" y="60"/>
                </a:lnTo>
                <a:lnTo>
                  <a:pt x="215" y="59"/>
                </a:lnTo>
                <a:lnTo>
                  <a:pt x="211" y="58"/>
                </a:lnTo>
                <a:lnTo>
                  <a:pt x="204" y="6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0" name="Freeform 158"/>
          <p:cNvSpPr>
            <a:spLocks/>
          </p:cNvSpPr>
          <p:nvPr/>
        </p:nvSpPr>
        <p:spPr bwMode="auto">
          <a:xfrm>
            <a:off x="6407150" y="3906838"/>
            <a:ext cx="511175" cy="247650"/>
          </a:xfrm>
          <a:custGeom>
            <a:avLst/>
            <a:gdLst>
              <a:gd name="T0" fmla="*/ 2147483646 w 163"/>
              <a:gd name="T1" fmla="*/ 2147483646 h 84"/>
              <a:gd name="T2" fmla="*/ 2147483646 w 163"/>
              <a:gd name="T3" fmla="*/ 2147483646 h 84"/>
              <a:gd name="T4" fmla="*/ 2147483646 w 163"/>
              <a:gd name="T5" fmla="*/ 2147483646 h 84"/>
              <a:gd name="T6" fmla="*/ 2147483646 w 163"/>
              <a:gd name="T7" fmla="*/ 2147483646 h 84"/>
              <a:gd name="T8" fmla="*/ 2147483646 w 163"/>
              <a:gd name="T9" fmla="*/ 2147483646 h 84"/>
              <a:gd name="T10" fmla="*/ 2147483646 w 163"/>
              <a:gd name="T11" fmla="*/ 2147483646 h 84"/>
              <a:gd name="T12" fmla="*/ 2147483646 w 163"/>
              <a:gd name="T13" fmla="*/ 2147483646 h 84"/>
              <a:gd name="T14" fmla="*/ 2147483646 w 163"/>
              <a:gd name="T15" fmla="*/ 2147483646 h 84"/>
              <a:gd name="T16" fmla="*/ 2147483646 w 163"/>
              <a:gd name="T17" fmla="*/ 2147483646 h 84"/>
              <a:gd name="T18" fmla="*/ 2147483646 w 163"/>
              <a:gd name="T19" fmla="*/ 2147483646 h 84"/>
              <a:gd name="T20" fmla="*/ 2147483646 w 163"/>
              <a:gd name="T21" fmla="*/ 2147483646 h 84"/>
              <a:gd name="T22" fmla="*/ 2147483646 w 163"/>
              <a:gd name="T23" fmla="*/ 2147483646 h 84"/>
              <a:gd name="T24" fmla="*/ 2147483646 w 163"/>
              <a:gd name="T25" fmla="*/ 2147483646 h 84"/>
              <a:gd name="T26" fmla="*/ 2147483646 w 163"/>
              <a:gd name="T27" fmla="*/ 2147483646 h 84"/>
              <a:gd name="T28" fmla="*/ 2147483646 w 163"/>
              <a:gd name="T29" fmla="*/ 2147483646 h 84"/>
              <a:gd name="T30" fmla="*/ 2147483646 w 163"/>
              <a:gd name="T31" fmla="*/ 2147483646 h 84"/>
              <a:gd name="T32" fmla="*/ 2147483646 w 163"/>
              <a:gd name="T33" fmla="*/ 2147483646 h 84"/>
              <a:gd name="T34" fmla="*/ 2147483646 w 163"/>
              <a:gd name="T35" fmla="*/ 2147483646 h 84"/>
              <a:gd name="T36" fmla="*/ 2147483646 w 163"/>
              <a:gd name="T37" fmla="*/ 2147483646 h 84"/>
              <a:gd name="T38" fmla="*/ 2147483646 w 163"/>
              <a:gd name="T39" fmla="*/ 2147483646 h 84"/>
              <a:gd name="T40" fmla="*/ 2147483646 w 163"/>
              <a:gd name="T41" fmla="*/ 2147483646 h 84"/>
              <a:gd name="T42" fmla="*/ 2147483646 w 163"/>
              <a:gd name="T43" fmla="*/ 2147483646 h 84"/>
              <a:gd name="T44" fmla="*/ 2147483646 w 163"/>
              <a:gd name="T45" fmla="*/ 2147483646 h 84"/>
              <a:gd name="T46" fmla="*/ 2147483646 w 163"/>
              <a:gd name="T47" fmla="*/ 2147483646 h 84"/>
              <a:gd name="T48" fmla="*/ 2147483646 w 163"/>
              <a:gd name="T49" fmla="*/ 2147483646 h 84"/>
              <a:gd name="T50" fmla="*/ 2147483646 w 163"/>
              <a:gd name="T51" fmla="*/ 2147483646 h 84"/>
              <a:gd name="T52" fmla="*/ 2147483646 w 163"/>
              <a:gd name="T53" fmla="*/ 2147483646 h 84"/>
              <a:gd name="T54" fmla="*/ 2147483646 w 163"/>
              <a:gd name="T55" fmla="*/ 2147483646 h 84"/>
              <a:gd name="T56" fmla="*/ 2147483646 w 163"/>
              <a:gd name="T57" fmla="*/ 2147483646 h 84"/>
              <a:gd name="T58" fmla="*/ 2147483646 w 163"/>
              <a:gd name="T59" fmla="*/ 2147483646 h 84"/>
              <a:gd name="T60" fmla="*/ 2147483646 w 163"/>
              <a:gd name="T61" fmla="*/ 2147483646 h 84"/>
              <a:gd name="T62" fmla="*/ 2147483646 w 163"/>
              <a:gd name="T63" fmla="*/ 2147483646 h 84"/>
              <a:gd name="T64" fmla="*/ 2147483646 w 163"/>
              <a:gd name="T65" fmla="*/ 2147483646 h 84"/>
              <a:gd name="T66" fmla="*/ 2147483646 w 163"/>
              <a:gd name="T67" fmla="*/ 2147483646 h 84"/>
              <a:gd name="T68" fmla="*/ 2147483646 w 163"/>
              <a:gd name="T69" fmla="*/ 2147483646 h 84"/>
              <a:gd name="T70" fmla="*/ 2147483646 w 163"/>
              <a:gd name="T71" fmla="*/ 2147483646 h 84"/>
              <a:gd name="T72" fmla="*/ 2147483646 w 163"/>
              <a:gd name="T73" fmla="*/ 2147483646 h 84"/>
              <a:gd name="T74" fmla="*/ 2147483646 w 163"/>
              <a:gd name="T75" fmla="*/ 2147483646 h 84"/>
              <a:gd name="T76" fmla="*/ 2147483646 w 163"/>
              <a:gd name="T77" fmla="*/ 2147483646 h 84"/>
              <a:gd name="T78" fmla="*/ 2147483646 w 163"/>
              <a:gd name="T79" fmla="*/ 2147483646 h 84"/>
              <a:gd name="T80" fmla="*/ 2147483646 w 163"/>
              <a:gd name="T81" fmla="*/ 2147483646 h 84"/>
              <a:gd name="T82" fmla="*/ 2147483646 w 163"/>
              <a:gd name="T83" fmla="*/ 2147483646 h 84"/>
              <a:gd name="T84" fmla="*/ 2147483646 w 163"/>
              <a:gd name="T85" fmla="*/ 2147483646 h 84"/>
              <a:gd name="T86" fmla="*/ 2147483646 w 163"/>
              <a:gd name="T87" fmla="*/ 2147483646 h 84"/>
              <a:gd name="T88" fmla="*/ 2147483646 w 163"/>
              <a:gd name="T89" fmla="*/ 2147483646 h 84"/>
              <a:gd name="T90" fmla="*/ 2147483646 w 163"/>
              <a:gd name="T91" fmla="*/ 2147483646 h 84"/>
              <a:gd name="T92" fmla="*/ 2147483646 w 163"/>
              <a:gd name="T93" fmla="*/ 2147483646 h 84"/>
              <a:gd name="T94" fmla="*/ 2147483646 w 163"/>
              <a:gd name="T95" fmla="*/ 2147483646 h 84"/>
              <a:gd name="T96" fmla="*/ 2147483646 w 163"/>
              <a:gd name="T97" fmla="*/ 2147483646 h 84"/>
              <a:gd name="T98" fmla="*/ 2147483646 w 163"/>
              <a:gd name="T99" fmla="*/ 2147483646 h 8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63" h="84">
                <a:moveTo>
                  <a:pt x="84" y="5"/>
                </a:moveTo>
                <a:lnTo>
                  <a:pt x="83" y="6"/>
                </a:lnTo>
                <a:lnTo>
                  <a:pt x="81" y="7"/>
                </a:lnTo>
                <a:lnTo>
                  <a:pt x="82" y="7"/>
                </a:lnTo>
                <a:lnTo>
                  <a:pt x="81" y="8"/>
                </a:lnTo>
                <a:lnTo>
                  <a:pt x="76" y="3"/>
                </a:lnTo>
                <a:lnTo>
                  <a:pt x="75" y="2"/>
                </a:lnTo>
                <a:lnTo>
                  <a:pt x="76" y="1"/>
                </a:lnTo>
                <a:lnTo>
                  <a:pt x="77" y="1"/>
                </a:lnTo>
                <a:lnTo>
                  <a:pt x="76" y="0"/>
                </a:lnTo>
                <a:lnTo>
                  <a:pt x="73" y="0"/>
                </a:lnTo>
                <a:lnTo>
                  <a:pt x="68" y="1"/>
                </a:lnTo>
                <a:lnTo>
                  <a:pt x="61" y="2"/>
                </a:lnTo>
                <a:lnTo>
                  <a:pt x="54" y="6"/>
                </a:lnTo>
                <a:lnTo>
                  <a:pt x="50" y="6"/>
                </a:lnTo>
                <a:lnTo>
                  <a:pt x="45" y="8"/>
                </a:lnTo>
                <a:lnTo>
                  <a:pt x="42" y="10"/>
                </a:lnTo>
                <a:lnTo>
                  <a:pt x="41" y="12"/>
                </a:lnTo>
                <a:lnTo>
                  <a:pt x="41" y="16"/>
                </a:lnTo>
                <a:lnTo>
                  <a:pt x="43" y="20"/>
                </a:lnTo>
                <a:lnTo>
                  <a:pt x="43" y="22"/>
                </a:lnTo>
                <a:lnTo>
                  <a:pt x="41" y="29"/>
                </a:lnTo>
                <a:lnTo>
                  <a:pt x="38" y="30"/>
                </a:lnTo>
                <a:lnTo>
                  <a:pt x="33" y="31"/>
                </a:lnTo>
                <a:lnTo>
                  <a:pt x="34" y="34"/>
                </a:lnTo>
                <a:lnTo>
                  <a:pt x="33" y="37"/>
                </a:lnTo>
                <a:lnTo>
                  <a:pt x="32" y="37"/>
                </a:lnTo>
                <a:lnTo>
                  <a:pt x="22" y="36"/>
                </a:lnTo>
                <a:lnTo>
                  <a:pt x="14" y="39"/>
                </a:lnTo>
                <a:lnTo>
                  <a:pt x="7" y="40"/>
                </a:lnTo>
                <a:lnTo>
                  <a:pt x="4" y="42"/>
                </a:lnTo>
                <a:lnTo>
                  <a:pt x="1" y="46"/>
                </a:lnTo>
                <a:lnTo>
                  <a:pt x="0" y="50"/>
                </a:lnTo>
                <a:lnTo>
                  <a:pt x="0" y="54"/>
                </a:lnTo>
                <a:lnTo>
                  <a:pt x="3" y="59"/>
                </a:lnTo>
                <a:lnTo>
                  <a:pt x="7" y="63"/>
                </a:lnTo>
                <a:lnTo>
                  <a:pt x="10" y="63"/>
                </a:lnTo>
                <a:lnTo>
                  <a:pt x="17" y="61"/>
                </a:lnTo>
                <a:lnTo>
                  <a:pt x="18" y="60"/>
                </a:lnTo>
                <a:lnTo>
                  <a:pt x="21" y="58"/>
                </a:lnTo>
                <a:lnTo>
                  <a:pt x="27" y="56"/>
                </a:lnTo>
                <a:lnTo>
                  <a:pt x="28" y="56"/>
                </a:lnTo>
                <a:lnTo>
                  <a:pt x="28" y="55"/>
                </a:lnTo>
                <a:lnTo>
                  <a:pt x="26" y="55"/>
                </a:lnTo>
                <a:lnTo>
                  <a:pt x="25" y="54"/>
                </a:lnTo>
                <a:lnTo>
                  <a:pt x="26" y="54"/>
                </a:lnTo>
                <a:lnTo>
                  <a:pt x="30" y="53"/>
                </a:lnTo>
                <a:lnTo>
                  <a:pt x="32" y="54"/>
                </a:lnTo>
                <a:lnTo>
                  <a:pt x="32" y="55"/>
                </a:lnTo>
                <a:lnTo>
                  <a:pt x="33" y="57"/>
                </a:lnTo>
                <a:lnTo>
                  <a:pt x="31" y="56"/>
                </a:lnTo>
                <a:lnTo>
                  <a:pt x="31" y="57"/>
                </a:lnTo>
                <a:lnTo>
                  <a:pt x="33" y="57"/>
                </a:lnTo>
                <a:lnTo>
                  <a:pt x="39" y="61"/>
                </a:lnTo>
                <a:lnTo>
                  <a:pt x="40" y="60"/>
                </a:lnTo>
                <a:lnTo>
                  <a:pt x="44" y="64"/>
                </a:lnTo>
                <a:lnTo>
                  <a:pt x="46" y="67"/>
                </a:lnTo>
                <a:lnTo>
                  <a:pt x="47" y="68"/>
                </a:lnTo>
                <a:lnTo>
                  <a:pt x="48" y="76"/>
                </a:lnTo>
                <a:lnTo>
                  <a:pt x="49" y="76"/>
                </a:lnTo>
                <a:lnTo>
                  <a:pt x="54" y="78"/>
                </a:lnTo>
                <a:lnTo>
                  <a:pt x="57" y="78"/>
                </a:lnTo>
                <a:lnTo>
                  <a:pt x="58" y="76"/>
                </a:lnTo>
                <a:lnTo>
                  <a:pt x="59" y="76"/>
                </a:lnTo>
                <a:lnTo>
                  <a:pt x="59" y="78"/>
                </a:lnTo>
                <a:lnTo>
                  <a:pt x="61" y="80"/>
                </a:lnTo>
                <a:lnTo>
                  <a:pt x="64" y="83"/>
                </a:lnTo>
                <a:lnTo>
                  <a:pt x="65" y="84"/>
                </a:lnTo>
                <a:lnTo>
                  <a:pt x="67" y="83"/>
                </a:lnTo>
                <a:lnTo>
                  <a:pt x="69" y="83"/>
                </a:lnTo>
                <a:lnTo>
                  <a:pt x="71" y="83"/>
                </a:lnTo>
                <a:lnTo>
                  <a:pt x="73" y="83"/>
                </a:lnTo>
                <a:lnTo>
                  <a:pt x="79" y="80"/>
                </a:lnTo>
                <a:lnTo>
                  <a:pt x="84" y="78"/>
                </a:lnTo>
                <a:lnTo>
                  <a:pt x="85" y="79"/>
                </a:lnTo>
                <a:lnTo>
                  <a:pt x="88" y="77"/>
                </a:lnTo>
                <a:lnTo>
                  <a:pt x="91" y="73"/>
                </a:lnTo>
                <a:lnTo>
                  <a:pt x="93" y="73"/>
                </a:lnTo>
                <a:lnTo>
                  <a:pt x="95" y="70"/>
                </a:lnTo>
                <a:lnTo>
                  <a:pt x="95" y="69"/>
                </a:lnTo>
                <a:lnTo>
                  <a:pt x="97" y="68"/>
                </a:lnTo>
                <a:lnTo>
                  <a:pt x="95" y="65"/>
                </a:lnTo>
                <a:lnTo>
                  <a:pt x="86" y="60"/>
                </a:lnTo>
                <a:lnTo>
                  <a:pt x="83" y="58"/>
                </a:lnTo>
                <a:lnTo>
                  <a:pt x="80" y="58"/>
                </a:lnTo>
                <a:lnTo>
                  <a:pt x="79" y="57"/>
                </a:lnTo>
                <a:lnTo>
                  <a:pt x="77" y="57"/>
                </a:lnTo>
                <a:lnTo>
                  <a:pt x="76" y="57"/>
                </a:lnTo>
                <a:lnTo>
                  <a:pt x="75" y="53"/>
                </a:lnTo>
                <a:lnTo>
                  <a:pt x="70" y="46"/>
                </a:lnTo>
                <a:lnTo>
                  <a:pt x="69" y="43"/>
                </a:lnTo>
                <a:lnTo>
                  <a:pt x="68" y="41"/>
                </a:lnTo>
                <a:lnTo>
                  <a:pt x="66" y="40"/>
                </a:lnTo>
                <a:lnTo>
                  <a:pt x="58" y="40"/>
                </a:lnTo>
                <a:lnTo>
                  <a:pt x="54" y="41"/>
                </a:lnTo>
                <a:lnTo>
                  <a:pt x="52" y="40"/>
                </a:lnTo>
                <a:lnTo>
                  <a:pt x="50" y="38"/>
                </a:lnTo>
                <a:lnTo>
                  <a:pt x="48" y="38"/>
                </a:lnTo>
                <a:lnTo>
                  <a:pt x="47" y="36"/>
                </a:lnTo>
                <a:lnTo>
                  <a:pt x="44" y="37"/>
                </a:lnTo>
                <a:lnTo>
                  <a:pt x="42" y="38"/>
                </a:lnTo>
                <a:lnTo>
                  <a:pt x="35" y="37"/>
                </a:lnTo>
                <a:lnTo>
                  <a:pt x="35" y="34"/>
                </a:lnTo>
                <a:lnTo>
                  <a:pt x="36" y="32"/>
                </a:lnTo>
                <a:lnTo>
                  <a:pt x="38" y="31"/>
                </a:lnTo>
                <a:lnTo>
                  <a:pt x="44" y="34"/>
                </a:lnTo>
                <a:lnTo>
                  <a:pt x="45" y="32"/>
                </a:lnTo>
                <a:lnTo>
                  <a:pt x="43" y="31"/>
                </a:lnTo>
                <a:lnTo>
                  <a:pt x="42" y="31"/>
                </a:lnTo>
                <a:lnTo>
                  <a:pt x="41" y="31"/>
                </a:lnTo>
                <a:lnTo>
                  <a:pt x="43" y="29"/>
                </a:lnTo>
                <a:lnTo>
                  <a:pt x="45" y="23"/>
                </a:lnTo>
                <a:lnTo>
                  <a:pt x="47" y="24"/>
                </a:lnTo>
                <a:lnTo>
                  <a:pt x="49" y="23"/>
                </a:lnTo>
                <a:lnTo>
                  <a:pt x="50" y="20"/>
                </a:lnTo>
                <a:lnTo>
                  <a:pt x="54" y="17"/>
                </a:lnTo>
                <a:lnTo>
                  <a:pt x="58" y="17"/>
                </a:lnTo>
                <a:lnTo>
                  <a:pt x="62" y="15"/>
                </a:lnTo>
                <a:lnTo>
                  <a:pt x="66" y="16"/>
                </a:lnTo>
                <a:lnTo>
                  <a:pt x="67" y="16"/>
                </a:lnTo>
                <a:lnTo>
                  <a:pt x="73" y="17"/>
                </a:lnTo>
                <a:lnTo>
                  <a:pt x="74" y="20"/>
                </a:lnTo>
                <a:lnTo>
                  <a:pt x="78" y="25"/>
                </a:lnTo>
                <a:lnTo>
                  <a:pt x="78" y="27"/>
                </a:lnTo>
                <a:lnTo>
                  <a:pt x="77" y="33"/>
                </a:lnTo>
                <a:lnTo>
                  <a:pt x="78" y="37"/>
                </a:lnTo>
                <a:lnTo>
                  <a:pt x="80" y="36"/>
                </a:lnTo>
                <a:lnTo>
                  <a:pt x="81" y="37"/>
                </a:lnTo>
                <a:lnTo>
                  <a:pt x="81" y="39"/>
                </a:lnTo>
                <a:lnTo>
                  <a:pt x="84" y="46"/>
                </a:lnTo>
                <a:lnTo>
                  <a:pt x="84" y="49"/>
                </a:lnTo>
                <a:lnTo>
                  <a:pt x="85" y="50"/>
                </a:lnTo>
                <a:lnTo>
                  <a:pt x="86" y="48"/>
                </a:lnTo>
                <a:lnTo>
                  <a:pt x="87" y="50"/>
                </a:lnTo>
                <a:lnTo>
                  <a:pt x="94" y="50"/>
                </a:lnTo>
                <a:lnTo>
                  <a:pt x="99" y="50"/>
                </a:lnTo>
                <a:lnTo>
                  <a:pt x="103" y="52"/>
                </a:lnTo>
                <a:lnTo>
                  <a:pt x="107" y="53"/>
                </a:lnTo>
                <a:lnTo>
                  <a:pt x="109" y="56"/>
                </a:lnTo>
                <a:lnTo>
                  <a:pt x="110" y="57"/>
                </a:lnTo>
                <a:lnTo>
                  <a:pt x="110" y="58"/>
                </a:lnTo>
                <a:lnTo>
                  <a:pt x="112" y="59"/>
                </a:lnTo>
                <a:lnTo>
                  <a:pt x="114" y="59"/>
                </a:lnTo>
                <a:lnTo>
                  <a:pt x="117" y="61"/>
                </a:lnTo>
                <a:lnTo>
                  <a:pt x="119" y="61"/>
                </a:lnTo>
                <a:lnTo>
                  <a:pt x="122" y="63"/>
                </a:lnTo>
                <a:lnTo>
                  <a:pt x="124" y="64"/>
                </a:lnTo>
                <a:lnTo>
                  <a:pt x="126" y="66"/>
                </a:lnTo>
                <a:lnTo>
                  <a:pt x="135" y="70"/>
                </a:lnTo>
                <a:lnTo>
                  <a:pt x="139" y="69"/>
                </a:lnTo>
                <a:lnTo>
                  <a:pt x="142" y="69"/>
                </a:lnTo>
                <a:lnTo>
                  <a:pt x="143" y="68"/>
                </a:lnTo>
                <a:lnTo>
                  <a:pt x="144" y="68"/>
                </a:lnTo>
                <a:lnTo>
                  <a:pt x="150" y="66"/>
                </a:lnTo>
                <a:lnTo>
                  <a:pt x="155" y="63"/>
                </a:lnTo>
                <a:lnTo>
                  <a:pt x="156" y="58"/>
                </a:lnTo>
                <a:lnTo>
                  <a:pt x="158" y="57"/>
                </a:lnTo>
                <a:lnTo>
                  <a:pt x="159" y="55"/>
                </a:lnTo>
                <a:lnTo>
                  <a:pt x="160" y="55"/>
                </a:lnTo>
                <a:lnTo>
                  <a:pt x="160" y="57"/>
                </a:lnTo>
                <a:lnTo>
                  <a:pt x="161" y="55"/>
                </a:lnTo>
                <a:lnTo>
                  <a:pt x="162" y="55"/>
                </a:lnTo>
                <a:lnTo>
                  <a:pt x="163" y="50"/>
                </a:lnTo>
                <a:lnTo>
                  <a:pt x="161" y="50"/>
                </a:lnTo>
                <a:lnTo>
                  <a:pt x="160" y="52"/>
                </a:lnTo>
                <a:lnTo>
                  <a:pt x="159" y="52"/>
                </a:lnTo>
                <a:lnTo>
                  <a:pt x="158" y="51"/>
                </a:lnTo>
                <a:lnTo>
                  <a:pt x="157" y="50"/>
                </a:lnTo>
                <a:lnTo>
                  <a:pt x="156" y="52"/>
                </a:lnTo>
                <a:lnTo>
                  <a:pt x="152" y="53"/>
                </a:lnTo>
                <a:lnTo>
                  <a:pt x="145" y="51"/>
                </a:lnTo>
                <a:lnTo>
                  <a:pt x="142" y="50"/>
                </a:lnTo>
                <a:lnTo>
                  <a:pt x="141" y="47"/>
                </a:lnTo>
                <a:lnTo>
                  <a:pt x="135" y="46"/>
                </a:lnTo>
                <a:lnTo>
                  <a:pt x="132" y="43"/>
                </a:lnTo>
                <a:lnTo>
                  <a:pt x="128" y="38"/>
                </a:lnTo>
                <a:lnTo>
                  <a:pt x="128" y="37"/>
                </a:lnTo>
                <a:lnTo>
                  <a:pt x="123" y="33"/>
                </a:lnTo>
                <a:lnTo>
                  <a:pt x="118" y="28"/>
                </a:lnTo>
                <a:lnTo>
                  <a:pt x="117" y="25"/>
                </a:lnTo>
                <a:lnTo>
                  <a:pt x="115" y="27"/>
                </a:lnTo>
                <a:lnTo>
                  <a:pt x="114" y="26"/>
                </a:lnTo>
                <a:lnTo>
                  <a:pt x="105" y="21"/>
                </a:lnTo>
                <a:lnTo>
                  <a:pt x="102" y="19"/>
                </a:lnTo>
                <a:lnTo>
                  <a:pt x="101" y="18"/>
                </a:lnTo>
                <a:lnTo>
                  <a:pt x="99" y="18"/>
                </a:lnTo>
                <a:lnTo>
                  <a:pt x="93" y="13"/>
                </a:lnTo>
                <a:lnTo>
                  <a:pt x="88" y="12"/>
                </a:lnTo>
                <a:lnTo>
                  <a:pt x="86" y="10"/>
                </a:lnTo>
                <a:lnTo>
                  <a:pt x="84" y="11"/>
                </a:lnTo>
                <a:lnTo>
                  <a:pt x="83" y="10"/>
                </a:lnTo>
                <a:lnTo>
                  <a:pt x="84" y="9"/>
                </a:lnTo>
                <a:lnTo>
                  <a:pt x="84" y="8"/>
                </a:lnTo>
                <a:lnTo>
                  <a:pt x="86" y="6"/>
                </a:lnTo>
                <a:lnTo>
                  <a:pt x="87" y="5"/>
                </a:lnTo>
                <a:lnTo>
                  <a:pt x="86" y="4"/>
                </a:lnTo>
                <a:lnTo>
                  <a:pt x="84" y="5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1" name="Freeform 159"/>
          <p:cNvSpPr>
            <a:spLocks/>
          </p:cNvSpPr>
          <p:nvPr/>
        </p:nvSpPr>
        <p:spPr bwMode="auto">
          <a:xfrm>
            <a:off x="6172200" y="4367213"/>
            <a:ext cx="623888" cy="227012"/>
          </a:xfrm>
          <a:custGeom>
            <a:avLst/>
            <a:gdLst>
              <a:gd name="T0" fmla="*/ 2147483646 w 199"/>
              <a:gd name="T1" fmla="*/ 2147483646 h 77"/>
              <a:gd name="T2" fmla="*/ 2147483646 w 199"/>
              <a:gd name="T3" fmla="*/ 2147483646 h 77"/>
              <a:gd name="T4" fmla="*/ 2147483646 w 199"/>
              <a:gd name="T5" fmla="*/ 2147483646 h 77"/>
              <a:gd name="T6" fmla="*/ 2147483646 w 199"/>
              <a:gd name="T7" fmla="*/ 2147483646 h 77"/>
              <a:gd name="T8" fmla="*/ 2147483646 w 199"/>
              <a:gd name="T9" fmla="*/ 2147483646 h 77"/>
              <a:gd name="T10" fmla="*/ 2147483646 w 199"/>
              <a:gd name="T11" fmla="*/ 2147483646 h 77"/>
              <a:gd name="T12" fmla="*/ 2147483646 w 199"/>
              <a:gd name="T13" fmla="*/ 2147483646 h 77"/>
              <a:gd name="T14" fmla="*/ 2147483646 w 199"/>
              <a:gd name="T15" fmla="*/ 2147483646 h 77"/>
              <a:gd name="T16" fmla="*/ 2147483646 w 199"/>
              <a:gd name="T17" fmla="*/ 2147483646 h 77"/>
              <a:gd name="T18" fmla="*/ 2147483646 w 199"/>
              <a:gd name="T19" fmla="*/ 2147483646 h 77"/>
              <a:gd name="T20" fmla="*/ 2147483646 w 199"/>
              <a:gd name="T21" fmla="*/ 2147483646 h 77"/>
              <a:gd name="T22" fmla="*/ 2147483646 w 199"/>
              <a:gd name="T23" fmla="*/ 2147483646 h 77"/>
              <a:gd name="T24" fmla="*/ 2147483646 w 199"/>
              <a:gd name="T25" fmla="*/ 2147483646 h 77"/>
              <a:gd name="T26" fmla="*/ 2147483646 w 199"/>
              <a:gd name="T27" fmla="*/ 2147483646 h 77"/>
              <a:gd name="T28" fmla="*/ 2147483646 w 199"/>
              <a:gd name="T29" fmla="*/ 2147483646 h 77"/>
              <a:gd name="T30" fmla="*/ 2147483646 w 199"/>
              <a:gd name="T31" fmla="*/ 2147483646 h 77"/>
              <a:gd name="T32" fmla="*/ 2147483646 w 199"/>
              <a:gd name="T33" fmla="*/ 2147483646 h 77"/>
              <a:gd name="T34" fmla="*/ 2147483646 w 199"/>
              <a:gd name="T35" fmla="*/ 2147483646 h 77"/>
              <a:gd name="T36" fmla="*/ 2147483646 w 199"/>
              <a:gd name="T37" fmla="*/ 2147483646 h 77"/>
              <a:gd name="T38" fmla="*/ 2147483646 w 199"/>
              <a:gd name="T39" fmla="*/ 2147483646 h 77"/>
              <a:gd name="T40" fmla="*/ 2147483646 w 199"/>
              <a:gd name="T41" fmla="*/ 2147483646 h 77"/>
              <a:gd name="T42" fmla="*/ 2147483646 w 199"/>
              <a:gd name="T43" fmla="*/ 2147483646 h 77"/>
              <a:gd name="T44" fmla="*/ 2147483646 w 199"/>
              <a:gd name="T45" fmla="*/ 2147483646 h 77"/>
              <a:gd name="T46" fmla="*/ 2147483646 w 199"/>
              <a:gd name="T47" fmla="*/ 2147483646 h 77"/>
              <a:gd name="T48" fmla="*/ 2147483646 w 199"/>
              <a:gd name="T49" fmla="*/ 2147483646 h 77"/>
              <a:gd name="T50" fmla="*/ 2147483646 w 199"/>
              <a:gd name="T51" fmla="*/ 2147483646 h 77"/>
              <a:gd name="T52" fmla="*/ 2147483646 w 199"/>
              <a:gd name="T53" fmla="*/ 2147483646 h 77"/>
              <a:gd name="T54" fmla="*/ 2147483646 w 199"/>
              <a:gd name="T55" fmla="*/ 2147483646 h 77"/>
              <a:gd name="T56" fmla="*/ 2147483646 w 199"/>
              <a:gd name="T57" fmla="*/ 2147483646 h 77"/>
              <a:gd name="T58" fmla="*/ 2147483646 w 199"/>
              <a:gd name="T59" fmla="*/ 2147483646 h 77"/>
              <a:gd name="T60" fmla="*/ 2147483646 w 199"/>
              <a:gd name="T61" fmla="*/ 2147483646 h 77"/>
              <a:gd name="T62" fmla="*/ 2147483646 w 199"/>
              <a:gd name="T63" fmla="*/ 2147483646 h 77"/>
              <a:gd name="T64" fmla="*/ 2147483646 w 199"/>
              <a:gd name="T65" fmla="*/ 2147483646 h 77"/>
              <a:gd name="T66" fmla="*/ 2147483646 w 199"/>
              <a:gd name="T67" fmla="*/ 2147483646 h 77"/>
              <a:gd name="T68" fmla="*/ 2147483646 w 199"/>
              <a:gd name="T69" fmla="*/ 2147483646 h 77"/>
              <a:gd name="T70" fmla="*/ 2147483646 w 199"/>
              <a:gd name="T71" fmla="*/ 2147483646 h 77"/>
              <a:gd name="T72" fmla="*/ 2147483646 w 199"/>
              <a:gd name="T73" fmla="*/ 2147483646 h 77"/>
              <a:gd name="T74" fmla="*/ 2147483646 w 199"/>
              <a:gd name="T75" fmla="*/ 2147483646 h 77"/>
              <a:gd name="T76" fmla="*/ 2147483646 w 199"/>
              <a:gd name="T77" fmla="*/ 2147483646 h 77"/>
              <a:gd name="T78" fmla="*/ 2147483646 w 199"/>
              <a:gd name="T79" fmla="*/ 2147483646 h 77"/>
              <a:gd name="T80" fmla="*/ 2147483646 w 199"/>
              <a:gd name="T81" fmla="*/ 2147483646 h 77"/>
              <a:gd name="T82" fmla="*/ 2147483646 w 199"/>
              <a:gd name="T83" fmla="*/ 2147483646 h 77"/>
              <a:gd name="T84" fmla="*/ 2147483646 w 199"/>
              <a:gd name="T85" fmla="*/ 2147483646 h 77"/>
              <a:gd name="T86" fmla="*/ 2147483646 w 199"/>
              <a:gd name="T87" fmla="*/ 2147483646 h 77"/>
              <a:gd name="T88" fmla="*/ 2147483646 w 199"/>
              <a:gd name="T89" fmla="*/ 2147483646 h 77"/>
              <a:gd name="T90" fmla="*/ 2147483646 w 199"/>
              <a:gd name="T91" fmla="*/ 2147483646 h 77"/>
              <a:gd name="T92" fmla="*/ 2147483646 w 199"/>
              <a:gd name="T93" fmla="*/ 2147483646 h 77"/>
              <a:gd name="T94" fmla="*/ 2147483646 w 199"/>
              <a:gd name="T95" fmla="*/ 2147483646 h 77"/>
              <a:gd name="T96" fmla="*/ 2147483646 w 199"/>
              <a:gd name="T97" fmla="*/ 2147483646 h 7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99" h="77">
                <a:moveTo>
                  <a:pt x="196" y="21"/>
                </a:moveTo>
                <a:lnTo>
                  <a:pt x="195" y="18"/>
                </a:lnTo>
                <a:lnTo>
                  <a:pt x="193" y="15"/>
                </a:lnTo>
                <a:lnTo>
                  <a:pt x="188" y="15"/>
                </a:lnTo>
                <a:lnTo>
                  <a:pt x="188" y="17"/>
                </a:lnTo>
                <a:lnTo>
                  <a:pt x="186" y="17"/>
                </a:lnTo>
                <a:lnTo>
                  <a:pt x="185" y="20"/>
                </a:lnTo>
                <a:lnTo>
                  <a:pt x="185" y="17"/>
                </a:lnTo>
                <a:lnTo>
                  <a:pt x="182" y="17"/>
                </a:lnTo>
                <a:lnTo>
                  <a:pt x="181" y="17"/>
                </a:lnTo>
                <a:lnTo>
                  <a:pt x="180" y="19"/>
                </a:lnTo>
                <a:lnTo>
                  <a:pt x="182" y="21"/>
                </a:lnTo>
                <a:lnTo>
                  <a:pt x="185" y="23"/>
                </a:lnTo>
                <a:lnTo>
                  <a:pt x="187" y="24"/>
                </a:lnTo>
                <a:lnTo>
                  <a:pt x="188" y="26"/>
                </a:lnTo>
                <a:lnTo>
                  <a:pt x="187" y="27"/>
                </a:lnTo>
                <a:lnTo>
                  <a:pt x="185" y="25"/>
                </a:lnTo>
                <a:lnTo>
                  <a:pt x="184" y="25"/>
                </a:lnTo>
                <a:lnTo>
                  <a:pt x="182" y="24"/>
                </a:lnTo>
                <a:lnTo>
                  <a:pt x="181" y="24"/>
                </a:lnTo>
                <a:lnTo>
                  <a:pt x="181" y="25"/>
                </a:lnTo>
                <a:lnTo>
                  <a:pt x="180" y="26"/>
                </a:lnTo>
                <a:lnTo>
                  <a:pt x="179" y="23"/>
                </a:lnTo>
                <a:lnTo>
                  <a:pt x="178" y="22"/>
                </a:lnTo>
                <a:lnTo>
                  <a:pt x="175" y="23"/>
                </a:lnTo>
                <a:lnTo>
                  <a:pt x="178" y="27"/>
                </a:lnTo>
                <a:lnTo>
                  <a:pt x="180" y="30"/>
                </a:lnTo>
                <a:lnTo>
                  <a:pt x="178" y="30"/>
                </a:lnTo>
                <a:lnTo>
                  <a:pt x="171" y="22"/>
                </a:lnTo>
                <a:lnTo>
                  <a:pt x="170" y="21"/>
                </a:lnTo>
                <a:lnTo>
                  <a:pt x="167" y="21"/>
                </a:lnTo>
                <a:lnTo>
                  <a:pt x="166" y="18"/>
                </a:lnTo>
                <a:lnTo>
                  <a:pt x="158" y="17"/>
                </a:lnTo>
                <a:lnTo>
                  <a:pt x="152" y="8"/>
                </a:lnTo>
                <a:lnTo>
                  <a:pt x="149" y="5"/>
                </a:lnTo>
                <a:lnTo>
                  <a:pt x="140" y="3"/>
                </a:lnTo>
                <a:lnTo>
                  <a:pt x="138" y="6"/>
                </a:lnTo>
                <a:lnTo>
                  <a:pt x="138" y="11"/>
                </a:lnTo>
                <a:lnTo>
                  <a:pt x="136" y="18"/>
                </a:lnTo>
                <a:lnTo>
                  <a:pt x="133" y="17"/>
                </a:lnTo>
                <a:lnTo>
                  <a:pt x="125" y="20"/>
                </a:lnTo>
                <a:lnTo>
                  <a:pt x="120" y="24"/>
                </a:lnTo>
                <a:lnTo>
                  <a:pt x="118" y="24"/>
                </a:lnTo>
                <a:lnTo>
                  <a:pt x="115" y="28"/>
                </a:lnTo>
                <a:lnTo>
                  <a:pt x="113" y="28"/>
                </a:lnTo>
                <a:lnTo>
                  <a:pt x="109" y="27"/>
                </a:lnTo>
                <a:lnTo>
                  <a:pt x="104" y="25"/>
                </a:lnTo>
                <a:lnTo>
                  <a:pt x="104" y="30"/>
                </a:lnTo>
                <a:lnTo>
                  <a:pt x="103" y="30"/>
                </a:lnTo>
                <a:lnTo>
                  <a:pt x="103" y="27"/>
                </a:lnTo>
                <a:lnTo>
                  <a:pt x="103" y="25"/>
                </a:lnTo>
                <a:lnTo>
                  <a:pt x="101" y="24"/>
                </a:lnTo>
                <a:lnTo>
                  <a:pt x="98" y="23"/>
                </a:lnTo>
                <a:lnTo>
                  <a:pt x="94" y="22"/>
                </a:lnTo>
                <a:lnTo>
                  <a:pt x="93" y="26"/>
                </a:lnTo>
                <a:lnTo>
                  <a:pt x="90" y="24"/>
                </a:lnTo>
                <a:lnTo>
                  <a:pt x="88" y="24"/>
                </a:lnTo>
                <a:lnTo>
                  <a:pt x="88" y="25"/>
                </a:lnTo>
                <a:lnTo>
                  <a:pt x="86" y="24"/>
                </a:lnTo>
                <a:lnTo>
                  <a:pt x="85" y="23"/>
                </a:lnTo>
                <a:lnTo>
                  <a:pt x="83" y="22"/>
                </a:lnTo>
                <a:lnTo>
                  <a:pt x="80" y="20"/>
                </a:lnTo>
                <a:lnTo>
                  <a:pt x="77" y="18"/>
                </a:lnTo>
                <a:lnTo>
                  <a:pt x="77" y="17"/>
                </a:lnTo>
                <a:lnTo>
                  <a:pt x="75" y="15"/>
                </a:lnTo>
                <a:lnTo>
                  <a:pt x="61" y="11"/>
                </a:lnTo>
                <a:lnTo>
                  <a:pt x="53" y="8"/>
                </a:lnTo>
                <a:lnTo>
                  <a:pt x="49" y="5"/>
                </a:lnTo>
                <a:lnTo>
                  <a:pt x="44" y="3"/>
                </a:lnTo>
                <a:lnTo>
                  <a:pt x="43" y="2"/>
                </a:lnTo>
                <a:lnTo>
                  <a:pt x="40" y="2"/>
                </a:lnTo>
                <a:lnTo>
                  <a:pt x="37" y="0"/>
                </a:lnTo>
                <a:lnTo>
                  <a:pt x="35" y="0"/>
                </a:lnTo>
                <a:lnTo>
                  <a:pt x="29" y="4"/>
                </a:lnTo>
                <a:lnTo>
                  <a:pt x="24" y="5"/>
                </a:lnTo>
                <a:lnTo>
                  <a:pt x="20" y="6"/>
                </a:lnTo>
                <a:lnTo>
                  <a:pt x="18" y="6"/>
                </a:lnTo>
                <a:lnTo>
                  <a:pt x="16" y="6"/>
                </a:lnTo>
                <a:lnTo>
                  <a:pt x="10" y="9"/>
                </a:lnTo>
                <a:lnTo>
                  <a:pt x="8" y="9"/>
                </a:lnTo>
                <a:lnTo>
                  <a:pt x="4" y="11"/>
                </a:lnTo>
                <a:lnTo>
                  <a:pt x="3" y="13"/>
                </a:lnTo>
                <a:lnTo>
                  <a:pt x="5" y="17"/>
                </a:lnTo>
                <a:lnTo>
                  <a:pt x="4" y="21"/>
                </a:lnTo>
                <a:lnTo>
                  <a:pt x="7" y="23"/>
                </a:lnTo>
                <a:lnTo>
                  <a:pt x="7" y="26"/>
                </a:lnTo>
                <a:lnTo>
                  <a:pt x="0" y="33"/>
                </a:lnTo>
                <a:lnTo>
                  <a:pt x="3" y="36"/>
                </a:lnTo>
                <a:lnTo>
                  <a:pt x="5" y="37"/>
                </a:lnTo>
                <a:lnTo>
                  <a:pt x="2" y="39"/>
                </a:lnTo>
                <a:lnTo>
                  <a:pt x="3" y="41"/>
                </a:lnTo>
                <a:lnTo>
                  <a:pt x="5" y="43"/>
                </a:lnTo>
                <a:lnTo>
                  <a:pt x="6" y="45"/>
                </a:lnTo>
                <a:lnTo>
                  <a:pt x="4" y="46"/>
                </a:lnTo>
                <a:lnTo>
                  <a:pt x="5" y="47"/>
                </a:lnTo>
                <a:lnTo>
                  <a:pt x="7" y="48"/>
                </a:lnTo>
                <a:lnTo>
                  <a:pt x="8" y="51"/>
                </a:lnTo>
                <a:lnTo>
                  <a:pt x="10" y="52"/>
                </a:lnTo>
                <a:lnTo>
                  <a:pt x="11" y="54"/>
                </a:lnTo>
                <a:lnTo>
                  <a:pt x="12" y="54"/>
                </a:lnTo>
                <a:lnTo>
                  <a:pt x="13" y="53"/>
                </a:lnTo>
                <a:lnTo>
                  <a:pt x="15" y="55"/>
                </a:lnTo>
                <a:lnTo>
                  <a:pt x="15" y="58"/>
                </a:lnTo>
                <a:lnTo>
                  <a:pt x="16" y="58"/>
                </a:lnTo>
                <a:lnTo>
                  <a:pt x="20" y="60"/>
                </a:lnTo>
                <a:lnTo>
                  <a:pt x="26" y="60"/>
                </a:lnTo>
                <a:lnTo>
                  <a:pt x="38" y="58"/>
                </a:lnTo>
                <a:lnTo>
                  <a:pt x="36" y="44"/>
                </a:lnTo>
                <a:lnTo>
                  <a:pt x="38" y="43"/>
                </a:lnTo>
                <a:lnTo>
                  <a:pt x="40" y="45"/>
                </a:lnTo>
                <a:lnTo>
                  <a:pt x="41" y="45"/>
                </a:lnTo>
                <a:lnTo>
                  <a:pt x="42" y="43"/>
                </a:lnTo>
                <a:lnTo>
                  <a:pt x="45" y="43"/>
                </a:lnTo>
                <a:lnTo>
                  <a:pt x="46" y="41"/>
                </a:lnTo>
                <a:lnTo>
                  <a:pt x="47" y="41"/>
                </a:lnTo>
                <a:lnTo>
                  <a:pt x="49" y="43"/>
                </a:lnTo>
                <a:lnTo>
                  <a:pt x="50" y="44"/>
                </a:lnTo>
                <a:lnTo>
                  <a:pt x="50" y="43"/>
                </a:lnTo>
                <a:lnTo>
                  <a:pt x="51" y="44"/>
                </a:lnTo>
                <a:lnTo>
                  <a:pt x="51" y="43"/>
                </a:lnTo>
                <a:lnTo>
                  <a:pt x="52" y="42"/>
                </a:lnTo>
                <a:lnTo>
                  <a:pt x="51" y="40"/>
                </a:lnTo>
                <a:lnTo>
                  <a:pt x="53" y="38"/>
                </a:lnTo>
                <a:lnTo>
                  <a:pt x="58" y="41"/>
                </a:lnTo>
                <a:lnTo>
                  <a:pt x="60" y="42"/>
                </a:lnTo>
                <a:lnTo>
                  <a:pt x="61" y="42"/>
                </a:lnTo>
                <a:lnTo>
                  <a:pt x="64" y="44"/>
                </a:lnTo>
                <a:lnTo>
                  <a:pt x="65" y="43"/>
                </a:lnTo>
                <a:lnTo>
                  <a:pt x="69" y="44"/>
                </a:lnTo>
                <a:lnTo>
                  <a:pt x="72" y="46"/>
                </a:lnTo>
                <a:lnTo>
                  <a:pt x="73" y="47"/>
                </a:lnTo>
                <a:lnTo>
                  <a:pt x="75" y="47"/>
                </a:lnTo>
                <a:lnTo>
                  <a:pt x="76" y="49"/>
                </a:lnTo>
                <a:lnTo>
                  <a:pt x="82" y="51"/>
                </a:lnTo>
                <a:lnTo>
                  <a:pt x="83" y="50"/>
                </a:lnTo>
                <a:lnTo>
                  <a:pt x="89" y="51"/>
                </a:lnTo>
                <a:lnTo>
                  <a:pt x="90" y="51"/>
                </a:lnTo>
                <a:lnTo>
                  <a:pt x="92" y="54"/>
                </a:lnTo>
                <a:lnTo>
                  <a:pt x="93" y="55"/>
                </a:lnTo>
                <a:lnTo>
                  <a:pt x="94" y="54"/>
                </a:lnTo>
                <a:lnTo>
                  <a:pt x="99" y="57"/>
                </a:lnTo>
                <a:lnTo>
                  <a:pt x="98" y="60"/>
                </a:lnTo>
                <a:lnTo>
                  <a:pt x="97" y="68"/>
                </a:lnTo>
                <a:lnTo>
                  <a:pt x="98" y="72"/>
                </a:lnTo>
                <a:lnTo>
                  <a:pt x="101" y="73"/>
                </a:lnTo>
                <a:lnTo>
                  <a:pt x="101" y="72"/>
                </a:lnTo>
                <a:lnTo>
                  <a:pt x="105" y="74"/>
                </a:lnTo>
                <a:lnTo>
                  <a:pt x="107" y="73"/>
                </a:lnTo>
                <a:lnTo>
                  <a:pt x="108" y="72"/>
                </a:lnTo>
                <a:lnTo>
                  <a:pt x="111" y="73"/>
                </a:lnTo>
                <a:lnTo>
                  <a:pt x="112" y="73"/>
                </a:lnTo>
                <a:lnTo>
                  <a:pt x="113" y="73"/>
                </a:lnTo>
                <a:lnTo>
                  <a:pt x="114" y="73"/>
                </a:lnTo>
                <a:lnTo>
                  <a:pt x="114" y="72"/>
                </a:lnTo>
                <a:lnTo>
                  <a:pt x="120" y="69"/>
                </a:lnTo>
                <a:lnTo>
                  <a:pt x="121" y="71"/>
                </a:lnTo>
                <a:lnTo>
                  <a:pt x="120" y="73"/>
                </a:lnTo>
                <a:lnTo>
                  <a:pt x="118" y="74"/>
                </a:lnTo>
                <a:lnTo>
                  <a:pt x="119" y="77"/>
                </a:lnTo>
                <a:lnTo>
                  <a:pt x="122" y="77"/>
                </a:lnTo>
                <a:lnTo>
                  <a:pt x="125" y="76"/>
                </a:lnTo>
                <a:lnTo>
                  <a:pt x="126" y="74"/>
                </a:lnTo>
                <a:lnTo>
                  <a:pt x="126" y="72"/>
                </a:lnTo>
                <a:lnTo>
                  <a:pt x="127" y="72"/>
                </a:lnTo>
                <a:lnTo>
                  <a:pt x="129" y="71"/>
                </a:lnTo>
                <a:lnTo>
                  <a:pt x="129" y="70"/>
                </a:lnTo>
                <a:lnTo>
                  <a:pt x="131" y="73"/>
                </a:lnTo>
                <a:lnTo>
                  <a:pt x="135" y="72"/>
                </a:lnTo>
                <a:lnTo>
                  <a:pt x="136" y="72"/>
                </a:lnTo>
                <a:lnTo>
                  <a:pt x="137" y="69"/>
                </a:lnTo>
                <a:lnTo>
                  <a:pt x="140" y="69"/>
                </a:lnTo>
                <a:lnTo>
                  <a:pt x="142" y="66"/>
                </a:lnTo>
                <a:lnTo>
                  <a:pt x="143" y="66"/>
                </a:lnTo>
                <a:lnTo>
                  <a:pt x="145" y="64"/>
                </a:lnTo>
                <a:lnTo>
                  <a:pt x="146" y="63"/>
                </a:lnTo>
                <a:lnTo>
                  <a:pt x="147" y="62"/>
                </a:lnTo>
                <a:lnTo>
                  <a:pt x="150" y="62"/>
                </a:lnTo>
                <a:lnTo>
                  <a:pt x="151" y="62"/>
                </a:lnTo>
                <a:lnTo>
                  <a:pt x="154" y="62"/>
                </a:lnTo>
                <a:lnTo>
                  <a:pt x="155" y="63"/>
                </a:lnTo>
                <a:lnTo>
                  <a:pt x="157" y="63"/>
                </a:lnTo>
                <a:lnTo>
                  <a:pt x="159" y="62"/>
                </a:lnTo>
                <a:lnTo>
                  <a:pt x="162" y="60"/>
                </a:lnTo>
                <a:lnTo>
                  <a:pt x="184" y="45"/>
                </a:lnTo>
                <a:lnTo>
                  <a:pt x="196" y="28"/>
                </a:lnTo>
                <a:lnTo>
                  <a:pt x="199" y="25"/>
                </a:lnTo>
                <a:lnTo>
                  <a:pt x="197" y="24"/>
                </a:lnTo>
                <a:lnTo>
                  <a:pt x="196" y="2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2" name="Freeform 160"/>
          <p:cNvSpPr>
            <a:spLocks/>
          </p:cNvSpPr>
          <p:nvPr/>
        </p:nvSpPr>
        <p:spPr bwMode="auto">
          <a:xfrm>
            <a:off x="7410450" y="3189288"/>
            <a:ext cx="1222375" cy="841375"/>
          </a:xfrm>
          <a:custGeom>
            <a:avLst/>
            <a:gdLst>
              <a:gd name="T0" fmla="*/ 2147483646 w 390"/>
              <a:gd name="T1" fmla="*/ 2147483646 h 286"/>
              <a:gd name="T2" fmla="*/ 2147483646 w 390"/>
              <a:gd name="T3" fmla="*/ 2147483646 h 286"/>
              <a:gd name="T4" fmla="*/ 2147483646 w 390"/>
              <a:gd name="T5" fmla="*/ 2147483646 h 286"/>
              <a:gd name="T6" fmla="*/ 2147483646 w 390"/>
              <a:gd name="T7" fmla="*/ 2147483646 h 286"/>
              <a:gd name="T8" fmla="*/ 2147483646 w 390"/>
              <a:gd name="T9" fmla="*/ 2147483646 h 286"/>
              <a:gd name="T10" fmla="*/ 2147483646 w 390"/>
              <a:gd name="T11" fmla="*/ 2147483646 h 286"/>
              <a:gd name="T12" fmla="*/ 2147483646 w 390"/>
              <a:gd name="T13" fmla="*/ 2147483646 h 286"/>
              <a:gd name="T14" fmla="*/ 2147483646 w 390"/>
              <a:gd name="T15" fmla="*/ 2147483646 h 286"/>
              <a:gd name="T16" fmla="*/ 2147483646 w 390"/>
              <a:gd name="T17" fmla="*/ 2147483646 h 286"/>
              <a:gd name="T18" fmla="*/ 2147483646 w 390"/>
              <a:gd name="T19" fmla="*/ 2147483646 h 286"/>
              <a:gd name="T20" fmla="*/ 2147483646 w 390"/>
              <a:gd name="T21" fmla="*/ 2147483646 h 286"/>
              <a:gd name="T22" fmla="*/ 2147483646 w 390"/>
              <a:gd name="T23" fmla="*/ 2147483646 h 286"/>
              <a:gd name="T24" fmla="*/ 2147483646 w 390"/>
              <a:gd name="T25" fmla="*/ 2147483646 h 286"/>
              <a:gd name="T26" fmla="*/ 2147483646 w 390"/>
              <a:gd name="T27" fmla="*/ 2147483646 h 286"/>
              <a:gd name="T28" fmla="*/ 2147483646 w 390"/>
              <a:gd name="T29" fmla="*/ 2147483646 h 286"/>
              <a:gd name="T30" fmla="*/ 2147483646 w 390"/>
              <a:gd name="T31" fmla="*/ 2147483646 h 286"/>
              <a:gd name="T32" fmla="*/ 2147483646 w 390"/>
              <a:gd name="T33" fmla="*/ 2147483646 h 286"/>
              <a:gd name="T34" fmla="*/ 2147483646 w 390"/>
              <a:gd name="T35" fmla="*/ 2147483646 h 286"/>
              <a:gd name="T36" fmla="*/ 2147483646 w 390"/>
              <a:gd name="T37" fmla="*/ 2147483646 h 286"/>
              <a:gd name="T38" fmla="*/ 2147483646 w 390"/>
              <a:gd name="T39" fmla="*/ 2147483646 h 286"/>
              <a:gd name="T40" fmla="*/ 2147483646 w 390"/>
              <a:gd name="T41" fmla="*/ 2147483646 h 286"/>
              <a:gd name="T42" fmla="*/ 2147483646 w 390"/>
              <a:gd name="T43" fmla="*/ 2147483646 h 286"/>
              <a:gd name="T44" fmla="*/ 2147483646 w 390"/>
              <a:gd name="T45" fmla="*/ 2147483646 h 286"/>
              <a:gd name="T46" fmla="*/ 2147483646 w 390"/>
              <a:gd name="T47" fmla="*/ 2147483646 h 286"/>
              <a:gd name="T48" fmla="*/ 2147483646 w 390"/>
              <a:gd name="T49" fmla="*/ 2147483646 h 286"/>
              <a:gd name="T50" fmla="*/ 2147483646 w 390"/>
              <a:gd name="T51" fmla="*/ 2147483646 h 286"/>
              <a:gd name="T52" fmla="*/ 2147483646 w 390"/>
              <a:gd name="T53" fmla="*/ 2147483646 h 286"/>
              <a:gd name="T54" fmla="*/ 2147483646 w 390"/>
              <a:gd name="T55" fmla="*/ 2147483646 h 286"/>
              <a:gd name="T56" fmla="*/ 2147483646 w 390"/>
              <a:gd name="T57" fmla="*/ 2147483646 h 286"/>
              <a:gd name="T58" fmla="*/ 2147483646 w 390"/>
              <a:gd name="T59" fmla="*/ 2147483646 h 286"/>
              <a:gd name="T60" fmla="*/ 2147483646 w 390"/>
              <a:gd name="T61" fmla="*/ 2147483646 h 286"/>
              <a:gd name="T62" fmla="*/ 2147483646 w 390"/>
              <a:gd name="T63" fmla="*/ 2147483646 h 286"/>
              <a:gd name="T64" fmla="*/ 2147483646 w 390"/>
              <a:gd name="T65" fmla="*/ 2147483646 h 286"/>
              <a:gd name="T66" fmla="*/ 2147483646 w 390"/>
              <a:gd name="T67" fmla="*/ 2147483646 h 286"/>
              <a:gd name="T68" fmla="*/ 2147483646 w 390"/>
              <a:gd name="T69" fmla="*/ 2147483646 h 286"/>
              <a:gd name="T70" fmla="*/ 2147483646 w 390"/>
              <a:gd name="T71" fmla="*/ 2147483646 h 286"/>
              <a:gd name="T72" fmla="*/ 2147483646 w 390"/>
              <a:gd name="T73" fmla="*/ 2147483646 h 286"/>
              <a:gd name="T74" fmla="*/ 2147483646 w 390"/>
              <a:gd name="T75" fmla="*/ 2147483646 h 286"/>
              <a:gd name="T76" fmla="*/ 2147483646 w 390"/>
              <a:gd name="T77" fmla="*/ 2147483646 h 286"/>
              <a:gd name="T78" fmla="*/ 2147483646 w 390"/>
              <a:gd name="T79" fmla="*/ 2147483646 h 286"/>
              <a:gd name="T80" fmla="*/ 2147483646 w 390"/>
              <a:gd name="T81" fmla="*/ 2147483646 h 286"/>
              <a:gd name="T82" fmla="*/ 2147483646 w 390"/>
              <a:gd name="T83" fmla="*/ 2147483646 h 286"/>
              <a:gd name="T84" fmla="*/ 2147483646 w 390"/>
              <a:gd name="T85" fmla="*/ 2147483646 h 286"/>
              <a:gd name="T86" fmla="*/ 2147483646 w 390"/>
              <a:gd name="T87" fmla="*/ 2147483646 h 286"/>
              <a:gd name="T88" fmla="*/ 2147483646 w 390"/>
              <a:gd name="T89" fmla="*/ 2147483646 h 286"/>
              <a:gd name="T90" fmla="*/ 2147483646 w 390"/>
              <a:gd name="T91" fmla="*/ 2147483646 h 286"/>
              <a:gd name="T92" fmla="*/ 2147483646 w 390"/>
              <a:gd name="T93" fmla="*/ 2147483646 h 286"/>
              <a:gd name="T94" fmla="*/ 2147483646 w 390"/>
              <a:gd name="T95" fmla="*/ 2147483646 h 286"/>
              <a:gd name="T96" fmla="*/ 2147483646 w 390"/>
              <a:gd name="T97" fmla="*/ 2147483646 h 286"/>
              <a:gd name="T98" fmla="*/ 2147483646 w 390"/>
              <a:gd name="T99" fmla="*/ 2147483646 h 286"/>
              <a:gd name="T100" fmla="*/ 2147483646 w 390"/>
              <a:gd name="T101" fmla="*/ 2147483646 h 286"/>
              <a:gd name="T102" fmla="*/ 2147483646 w 390"/>
              <a:gd name="T103" fmla="*/ 2147483646 h 286"/>
              <a:gd name="T104" fmla="*/ 2147483646 w 390"/>
              <a:gd name="T105" fmla="*/ 2147483646 h 286"/>
              <a:gd name="T106" fmla="*/ 2147483646 w 390"/>
              <a:gd name="T107" fmla="*/ 2147483646 h 286"/>
              <a:gd name="T108" fmla="*/ 2147483646 w 390"/>
              <a:gd name="T109" fmla="*/ 2147483646 h 286"/>
              <a:gd name="T110" fmla="*/ 2147483646 w 390"/>
              <a:gd name="T111" fmla="*/ 2147483646 h 286"/>
              <a:gd name="T112" fmla="*/ 2147483646 w 390"/>
              <a:gd name="T113" fmla="*/ 2147483646 h 286"/>
              <a:gd name="T114" fmla="*/ 2147483646 w 390"/>
              <a:gd name="T115" fmla="*/ 2147483646 h 28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90" h="286">
                <a:moveTo>
                  <a:pt x="389" y="196"/>
                </a:moveTo>
                <a:lnTo>
                  <a:pt x="389" y="192"/>
                </a:lnTo>
                <a:lnTo>
                  <a:pt x="389" y="190"/>
                </a:lnTo>
                <a:lnTo>
                  <a:pt x="384" y="189"/>
                </a:lnTo>
                <a:lnTo>
                  <a:pt x="385" y="188"/>
                </a:lnTo>
                <a:lnTo>
                  <a:pt x="382" y="186"/>
                </a:lnTo>
                <a:lnTo>
                  <a:pt x="378" y="182"/>
                </a:lnTo>
                <a:lnTo>
                  <a:pt x="375" y="181"/>
                </a:lnTo>
                <a:lnTo>
                  <a:pt x="374" y="179"/>
                </a:lnTo>
                <a:lnTo>
                  <a:pt x="371" y="177"/>
                </a:lnTo>
                <a:lnTo>
                  <a:pt x="363" y="173"/>
                </a:lnTo>
                <a:lnTo>
                  <a:pt x="357" y="173"/>
                </a:lnTo>
                <a:lnTo>
                  <a:pt x="357" y="167"/>
                </a:lnTo>
                <a:lnTo>
                  <a:pt x="358" y="165"/>
                </a:lnTo>
                <a:lnTo>
                  <a:pt x="359" y="163"/>
                </a:lnTo>
                <a:lnTo>
                  <a:pt x="358" y="162"/>
                </a:lnTo>
                <a:lnTo>
                  <a:pt x="367" y="160"/>
                </a:lnTo>
                <a:lnTo>
                  <a:pt x="370" y="158"/>
                </a:lnTo>
                <a:lnTo>
                  <a:pt x="371" y="156"/>
                </a:lnTo>
                <a:lnTo>
                  <a:pt x="370" y="156"/>
                </a:lnTo>
                <a:lnTo>
                  <a:pt x="369" y="154"/>
                </a:lnTo>
                <a:lnTo>
                  <a:pt x="371" y="152"/>
                </a:lnTo>
                <a:lnTo>
                  <a:pt x="371" y="153"/>
                </a:lnTo>
                <a:lnTo>
                  <a:pt x="372" y="152"/>
                </a:lnTo>
                <a:lnTo>
                  <a:pt x="373" y="146"/>
                </a:lnTo>
                <a:lnTo>
                  <a:pt x="360" y="143"/>
                </a:lnTo>
                <a:lnTo>
                  <a:pt x="357" y="141"/>
                </a:lnTo>
                <a:lnTo>
                  <a:pt x="354" y="141"/>
                </a:lnTo>
                <a:lnTo>
                  <a:pt x="350" y="140"/>
                </a:lnTo>
                <a:lnTo>
                  <a:pt x="350" y="137"/>
                </a:lnTo>
                <a:lnTo>
                  <a:pt x="352" y="136"/>
                </a:lnTo>
                <a:lnTo>
                  <a:pt x="351" y="127"/>
                </a:lnTo>
                <a:lnTo>
                  <a:pt x="346" y="123"/>
                </a:lnTo>
                <a:lnTo>
                  <a:pt x="344" y="125"/>
                </a:lnTo>
                <a:lnTo>
                  <a:pt x="342" y="124"/>
                </a:lnTo>
                <a:lnTo>
                  <a:pt x="338" y="127"/>
                </a:lnTo>
                <a:lnTo>
                  <a:pt x="337" y="126"/>
                </a:lnTo>
                <a:lnTo>
                  <a:pt x="336" y="123"/>
                </a:lnTo>
                <a:lnTo>
                  <a:pt x="334" y="121"/>
                </a:lnTo>
                <a:lnTo>
                  <a:pt x="331" y="121"/>
                </a:lnTo>
                <a:lnTo>
                  <a:pt x="327" y="122"/>
                </a:lnTo>
                <a:lnTo>
                  <a:pt x="320" y="122"/>
                </a:lnTo>
                <a:lnTo>
                  <a:pt x="315" y="122"/>
                </a:lnTo>
                <a:lnTo>
                  <a:pt x="312" y="123"/>
                </a:lnTo>
                <a:lnTo>
                  <a:pt x="308" y="121"/>
                </a:lnTo>
                <a:lnTo>
                  <a:pt x="306" y="115"/>
                </a:lnTo>
                <a:lnTo>
                  <a:pt x="304" y="115"/>
                </a:lnTo>
                <a:lnTo>
                  <a:pt x="301" y="111"/>
                </a:lnTo>
                <a:lnTo>
                  <a:pt x="297" y="108"/>
                </a:lnTo>
                <a:lnTo>
                  <a:pt x="294" y="100"/>
                </a:lnTo>
                <a:lnTo>
                  <a:pt x="280" y="99"/>
                </a:lnTo>
                <a:lnTo>
                  <a:pt x="281" y="103"/>
                </a:lnTo>
                <a:lnTo>
                  <a:pt x="281" y="106"/>
                </a:lnTo>
                <a:lnTo>
                  <a:pt x="276" y="107"/>
                </a:lnTo>
                <a:lnTo>
                  <a:pt x="269" y="106"/>
                </a:lnTo>
                <a:lnTo>
                  <a:pt x="267" y="104"/>
                </a:lnTo>
                <a:lnTo>
                  <a:pt x="262" y="106"/>
                </a:lnTo>
                <a:lnTo>
                  <a:pt x="257" y="106"/>
                </a:lnTo>
                <a:lnTo>
                  <a:pt x="251" y="106"/>
                </a:lnTo>
                <a:lnTo>
                  <a:pt x="248" y="103"/>
                </a:lnTo>
                <a:lnTo>
                  <a:pt x="242" y="103"/>
                </a:lnTo>
                <a:lnTo>
                  <a:pt x="240" y="104"/>
                </a:lnTo>
                <a:lnTo>
                  <a:pt x="241" y="107"/>
                </a:lnTo>
                <a:lnTo>
                  <a:pt x="239" y="108"/>
                </a:lnTo>
                <a:lnTo>
                  <a:pt x="238" y="106"/>
                </a:lnTo>
                <a:lnTo>
                  <a:pt x="236" y="106"/>
                </a:lnTo>
                <a:lnTo>
                  <a:pt x="234" y="103"/>
                </a:lnTo>
                <a:lnTo>
                  <a:pt x="235" y="101"/>
                </a:lnTo>
                <a:lnTo>
                  <a:pt x="236" y="97"/>
                </a:lnTo>
                <a:lnTo>
                  <a:pt x="234" y="97"/>
                </a:lnTo>
                <a:lnTo>
                  <a:pt x="231" y="97"/>
                </a:lnTo>
                <a:lnTo>
                  <a:pt x="231" y="94"/>
                </a:lnTo>
                <a:lnTo>
                  <a:pt x="229" y="93"/>
                </a:lnTo>
                <a:lnTo>
                  <a:pt x="229" y="90"/>
                </a:lnTo>
                <a:lnTo>
                  <a:pt x="227" y="89"/>
                </a:lnTo>
                <a:lnTo>
                  <a:pt x="224" y="83"/>
                </a:lnTo>
                <a:lnTo>
                  <a:pt x="224" y="80"/>
                </a:lnTo>
                <a:lnTo>
                  <a:pt x="220" y="79"/>
                </a:lnTo>
                <a:lnTo>
                  <a:pt x="220" y="77"/>
                </a:lnTo>
                <a:lnTo>
                  <a:pt x="219" y="74"/>
                </a:lnTo>
                <a:lnTo>
                  <a:pt x="216" y="74"/>
                </a:lnTo>
                <a:lnTo>
                  <a:pt x="217" y="71"/>
                </a:lnTo>
                <a:lnTo>
                  <a:pt x="218" y="66"/>
                </a:lnTo>
                <a:lnTo>
                  <a:pt x="217" y="61"/>
                </a:lnTo>
                <a:lnTo>
                  <a:pt x="222" y="59"/>
                </a:lnTo>
                <a:lnTo>
                  <a:pt x="221" y="57"/>
                </a:lnTo>
                <a:lnTo>
                  <a:pt x="218" y="56"/>
                </a:lnTo>
                <a:lnTo>
                  <a:pt x="222" y="54"/>
                </a:lnTo>
                <a:lnTo>
                  <a:pt x="226" y="52"/>
                </a:lnTo>
                <a:lnTo>
                  <a:pt x="229" y="50"/>
                </a:lnTo>
                <a:lnTo>
                  <a:pt x="229" y="45"/>
                </a:lnTo>
                <a:lnTo>
                  <a:pt x="230" y="41"/>
                </a:lnTo>
                <a:lnTo>
                  <a:pt x="226" y="41"/>
                </a:lnTo>
                <a:lnTo>
                  <a:pt x="226" y="38"/>
                </a:lnTo>
                <a:lnTo>
                  <a:pt x="226" y="35"/>
                </a:lnTo>
                <a:lnTo>
                  <a:pt x="227" y="32"/>
                </a:lnTo>
                <a:lnTo>
                  <a:pt x="226" y="31"/>
                </a:lnTo>
                <a:lnTo>
                  <a:pt x="224" y="27"/>
                </a:lnTo>
                <a:lnTo>
                  <a:pt x="223" y="20"/>
                </a:lnTo>
                <a:lnTo>
                  <a:pt x="223" y="18"/>
                </a:lnTo>
                <a:lnTo>
                  <a:pt x="215" y="14"/>
                </a:lnTo>
                <a:lnTo>
                  <a:pt x="214" y="11"/>
                </a:lnTo>
                <a:lnTo>
                  <a:pt x="211" y="6"/>
                </a:lnTo>
                <a:lnTo>
                  <a:pt x="207" y="5"/>
                </a:lnTo>
                <a:lnTo>
                  <a:pt x="203" y="6"/>
                </a:lnTo>
                <a:lnTo>
                  <a:pt x="193" y="16"/>
                </a:lnTo>
                <a:lnTo>
                  <a:pt x="190" y="13"/>
                </a:lnTo>
                <a:lnTo>
                  <a:pt x="188" y="15"/>
                </a:lnTo>
                <a:lnTo>
                  <a:pt x="184" y="17"/>
                </a:lnTo>
                <a:lnTo>
                  <a:pt x="182" y="11"/>
                </a:lnTo>
                <a:lnTo>
                  <a:pt x="178" y="5"/>
                </a:lnTo>
                <a:lnTo>
                  <a:pt x="174" y="1"/>
                </a:lnTo>
                <a:lnTo>
                  <a:pt x="172" y="0"/>
                </a:lnTo>
                <a:lnTo>
                  <a:pt x="172" y="1"/>
                </a:lnTo>
                <a:lnTo>
                  <a:pt x="172" y="3"/>
                </a:lnTo>
                <a:lnTo>
                  <a:pt x="171" y="7"/>
                </a:lnTo>
                <a:lnTo>
                  <a:pt x="169" y="10"/>
                </a:lnTo>
                <a:lnTo>
                  <a:pt x="167" y="19"/>
                </a:lnTo>
                <a:lnTo>
                  <a:pt x="165" y="22"/>
                </a:lnTo>
                <a:lnTo>
                  <a:pt x="164" y="24"/>
                </a:lnTo>
                <a:lnTo>
                  <a:pt x="163" y="23"/>
                </a:lnTo>
                <a:lnTo>
                  <a:pt x="164" y="20"/>
                </a:lnTo>
                <a:lnTo>
                  <a:pt x="162" y="24"/>
                </a:lnTo>
                <a:lnTo>
                  <a:pt x="163" y="25"/>
                </a:lnTo>
                <a:lnTo>
                  <a:pt x="163" y="26"/>
                </a:lnTo>
                <a:lnTo>
                  <a:pt x="163" y="29"/>
                </a:lnTo>
                <a:lnTo>
                  <a:pt x="160" y="32"/>
                </a:lnTo>
                <a:lnTo>
                  <a:pt x="149" y="43"/>
                </a:lnTo>
                <a:lnTo>
                  <a:pt x="139" y="50"/>
                </a:lnTo>
                <a:lnTo>
                  <a:pt x="138" y="49"/>
                </a:lnTo>
                <a:lnTo>
                  <a:pt x="136" y="51"/>
                </a:lnTo>
                <a:lnTo>
                  <a:pt x="131" y="53"/>
                </a:lnTo>
                <a:lnTo>
                  <a:pt x="126" y="58"/>
                </a:lnTo>
                <a:lnTo>
                  <a:pt x="121" y="60"/>
                </a:lnTo>
                <a:lnTo>
                  <a:pt x="117" y="58"/>
                </a:lnTo>
                <a:lnTo>
                  <a:pt x="119" y="61"/>
                </a:lnTo>
                <a:lnTo>
                  <a:pt x="117" y="62"/>
                </a:lnTo>
                <a:lnTo>
                  <a:pt x="116" y="63"/>
                </a:lnTo>
                <a:lnTo>
                  <a:pt x="112" y="69"/>
                </a:lnTo>
                <a:lnTo>
                  <a:pt x="108" y="72"/>
                </a:lnTo>
                <a:lnTo>
                  <a:pt x="106" y="74"/>
                </a:lnTo>
                <a:lnTo>
                  <a:pt x="105" y="77"/>
                </a:lnTo>
                <a:lnTo>
                  <a:pt x="102" y="85"/>
                </a:lnTo>
                <a:lnTo>
                  <a:pt x="100" y="92"/>
                </a:lnTo>
                <a:lnTo>
                  <a:pt x="97" y="94"/>
                </a:lnTo>
                <a:lnTo>
                  <a:pt x="91" y="94"/>
                </a:lnTo>
                <a:lnTo>
                  <a:pt x="89" y="95"/>
                </a:lnTo>
                <a:lnTo>
                  <a:pt x="87" y="96"/>
                </a:lnTo>
                <a:lnTo>
                  <a:pt x="86" y="96"/>
                </a:lnTo>
                <a:lnTo>
                  <a:pt x="85" y="97"/>
                </a:lnTo>
                <a:lnTo>
                  <a:pt x="83" y="96"/>
                </a:lnTo>
                <a:lnTo>
                  <a:pt x="82" y="98"/>
                </a:lnTo>
                <a:lnTo>
                  <a:pt x="76" y="99"/>
                </a:lnTo>
                <a:lnTo>
                  <a:pt x="75" y="100"/>
                </a:lnTo>
                <a:lnTo>
                  <a:pt x="74" y="100"/>
                </a:lnTo>
                <a:lnTo>
                  <a:pt x="71" y="101"/>
                </a:lnTo>
                <a:lnTo>
                  <a:pt x="70" y="101"/>
                </a:lnTo>
                <a:lnTo>
                  <a:pt x="67" y="99"/>
                </a:lnTo>
                <a:lnTo>
                  <a:pt x="64" y="111"/>
                </a:lnTo>
                <a:lnTo>
                  <a:pt x="75" y="120"/>
                </a:lnTo>
                <a:lnTo>
                  <a:pt x="74" y="123"/>
                </a:lnTo>
                <a:lnTo>
                  <a:pt x="73" y="126"/>
                </a:lnTo>
                <a:lnTo>
                  <a:pt x="71" y="129"/>
                </a:lnTo>
                <a:lnTo>
                  <a:pt x="76" y="130"/>
                </a:lnTo>
                <a:lnTo>
                  <a:pt x="79" y="131"/>
                </a:lnTo>
                <a:lnTo>
                  <a:pt x="82" y="132"/>
                </a:lnTo>
                <a:lnTo>
                  <a:pt x="84" y="133"/>
                </a:lnTo>
                <a:lnTo>
                  <a:pt x="84" y="136"/>
                </a:lnTo>
                <a:lnTo>
                  <a:pt x="88" y="137"/>
                </a:lnTo>
                <a:lnTo>
                  <a:pt x="88" y="139"/>
                </a:lnTo>
                <a:lnTo>
                  <a:pt x="89" y="140"/>
                </a:lnTo>
                <a:lnTo>
                  <a:pt x="91" y="142"/>
                </a:lnTo>
                <a:lnTo>
                  <a:pt x="90" y="143"/>
                </a:lnTo>
                <a:lnTo>
                  <a:pt x="88" y="144"/>
                </a:lnTo>
                <a:lnTo>
                  <a:pt x="87" y="147"/>
                </a:lnTo>
                <a:lnTo>
                  <a:pt x="89" y="147"/>
                </a:lnTo>
                <a:lnTo>
                  <a:pt x="90" y="148"/>
                </a:lnTo>
                <a:lnTo>
                  <a:pt x="86" y="149"/>
                </a:lnTo>
                <a:lnTo>
                  <a:pt x="86" y="150"/>
                </a:lnTo>
                <a:lnTo>
                  <a:pt x="87" y="151"/>
                </a:lnTo>
                <a:lnTo>
                  <a:pt x="85" y="152"/>
                </a:lnTo>
                <a:lnTo>
                  <a:pt x="85" y="156"/>
                </a:lnTo>
                <a:lnTo>
                  <a:pt x="83" y="158"/>
                </a:lnTo>
                <a:lnTo>
                  <a:pt x="82" y="158"/>
                </a:lnTo>
                <a:lnTo>
                  <a:pt x="80" y="161"/>
                </a:lnTo>
                <a:lnTo>
                  <a:pt x="83" y="165"/>
                </a:lnTo>
                <a:lnTo>
                  <a:pt x="90" y="164"/>
                </a:lnTo>
                <a:lnTo>
                  <a:pt x="91" y="162"/>
                </a:lnTo>
                <a:lnTo>
                  <a:pt x="94" y="162"/>
                </a:lnTo>
                <a:lnTo>
                  <a:pt x="96" y="160"/>
                </a:lnTo>
                <a:lnTo>
                  <a:pt x="95" y="159"/>
                </a:lnTo>
                <a:lnTo>
                  <a:pt x="95" y="158"/>
                </a:lnTo>
                <a:lnTo>
                  <a:pt x="97" y="158"/>
                </a:lnTo>
                <a:lnTo>
                  <a:pt x="97" y="155"/>
                </a:lnTo>
                <a:lnTo>
                  <a:pt x="96" y="155"/>
                </a:lnTo>
                <a:lnTo>
                  <a:pt x="96" y="153"/>
                </a:lnTo>
                <a:lnTo>
                  <a:pt x="98" y="152"/>
                </a:lnTo>
                <a:lnTo>
                  <a:pt x="99" y="152"/>
                </a:lnTo>
                <a:lnTo>
                  <a:pt x="100" y="153"/>
                </a:lnTo>
                <a:lnTo>
                  <a:pt x="101" y="160"/>
                </a:lnTo>
                <a:lnTo>
                  <a:pt x="102" y="159"/>
                </a:lnTo>
                <a:lnTo>
                  <a:pt x="102" y="167"/>
                </a:lnTo>
                <a:lnTo>
                  <a:pt x="101" y="172"/>
                </a:lnTo>
                <a:lnTo>
                  <a:pt x="102" y="175"/>
                </a:lnTo>
                <a:lnTo>
                  <a:pt x="106" y="177"/>
                </a:lnTo>
                <a:lnTo>
                  <a:pt x="106" y="184"/>
                </a:lnTo>
                <a:lnTo>
                  <a:pt x="108" y="187"/>
                </a:lnTo>
                <a:lnTo>
                  <a:pt x="109" y="189"/>
                </a:lnTo>
                <a:lnTo>
                  <a:pt x="112" y="191"/>
                </a:lnTo>
                <a:lnTo>
                  <a:pt x="113" y="192"/>
                </a:lnTo>
                <a:lnTo>
                  <a:pt x="114" y="196"/>
                </a:lnTo>
                <a:lnTo>
                  <a:pt x="117" y="199"/>
                </a:lnTo>
                <a:lnTo>
                  <a:pt x="115" y="203"/>
                </a:lnTo>
                <a:lnTo>
                  <a:pt x="116" y="206"/>
                </a:lnTo>
                <a:lnTo>
                  <a:pt x="112" y="209"/>
                </a:lnTo>
                <a:lnTo>
                  <a:pt x="107" y="207"/>
                </a:lnTo>
                <a:lnTo>
                  <a:pt x="98" y="202"/>
                </a:lnTo>
                <a:lnTo>
                  <a:pt x="90" y="198"/>
                </a:lnTo>
                <a:lnTo>
                  <a:pt x="85" y="196"/>
                </a:lnTo>
                <a:lnTo>
                  <a:pt x="77" y="195"/>
                </a:lnTo>
                <a:lnTo>
                  <a:pt x="73" y="197"/>
                </a:lnTo>
                <a:lnTo>
                  <a:pt x="70" y="199"/>
                </a:lnTo>
                <a:lnTo>
                  <a:pt x="65" y="201"/>
                </a:lnTo>
                <a:lnTo>
                  <a:pt x="59" y="201"/>
                </a:lnTo>
                <a:lnTo>
                  <a:pt x="58" y="203"/>
                </a:lnTo>
                <a:lnTo>
                  <a:pt x="55" y="206"/>
                </a:lnTo>
                <a:lnTo>
                  <a:pt x="53" y="208"/>
                </a:lnTo>
                <a:lnTo>
                  <a:pt x="52" y="211"/>
                </a:lnTo>
                <a:lnTo>
                  <a:pt x="51" y="214"/>
                </a:lnTo>
                <a:lnTo>
                  <a:pt x="51" y="216"/>
                </a:lnTo>
                <a:lnTo>
                  <a:pt x="51" y="219"/>
                </a:lnTo>
                <a:lnTo>
                  <a:pt x="52" y="224"/>
                </a:lnTo>
                <a:lnTo>
                  <a:pt x="53" y="229"/>
                </a:lnTo>
                <a:lnTo>
                  <a:pt x="53" y="235"/>
                </a:lnTo>
                <a:lnTo>
                  <a:pt x="53" y="238"/>
                </a:lnTo>
                <a:lnTo>
                  <a:pt x="53" y="242"/>
                </a:lnTo>
                <a:lnTo>
                  <a:pt x="52" y="244"/>
                </a:lnTo>
                <a:lnTo>
                  <a:pt x="51" y="247"/>
                </a:lnTo>
                <a:lnTo>
                  <a:pt x="50" y="250"/>
                </a:lnTo>
                <a:lnTo>
                  <a:pt x="48" y="252"/>
                </a:lnTo>
                <a:lnTo>
                  <a:pt x="45" y="254"/>
                </a:lnTo>
                <a:lnTo>
                  <a:pt x="43" y="256"/>
                </a:lnTo>
                <a:lnTo>
                  <a:pt x="34" y="260"/>
                </a:lnTo>
                <a:lnTo>
                  <a:pt x="33" y="260"/>
                </a:lnTo>
                <a:lnTo>
                  <a:pt x="31" y="260"/>
                </a:lnTo>
                <a:lnTo>
                  <a:pt x="30" y="259"/>
                </a:lnTo>
                <a:lnTo>
                  <a:pt x="29" y="258"/>
                </a:lnTo>
                <a:lnTo>
                  <a:pt x="26" y="257"/>
                </a:lnTo>
                <a:lnTo>
                  <a:pt x="25" y="257"/>
                </a:lnTo>
                <a:lnTo>
                  <a:pt x="23" y="257"/>
                </a:lnTo>
                <a:lnTo>
                  <a:pt x="19" y="257"/>
                </a:lnTo>
                <a:lnTo>
                  <a:pt x="16" y="259"/>
                </a:lnTo>
                <a:lnTo>
                  <a:pt x="12" y="260"/>
                </a:lnTo>
                <a:lnTo>
                  <a:pt x="5" y="264"/>
                </a:lnTo>
                <a:lnTo>
                  <a:pt x="0" y="268"/>
                </a:lnTo>
                <a:lnTo>
                  <a:pt x="5" y="271"/>
                </a:lnTo>
                <a:lnTo>
                  <a:pt x="9" y="273"/>
                </a:lnTo>
                <a:lnTo>
                  <a:pt x="8" y="277"/>
                </a:lnTo>
                <a:lnTo>
                  <a:pt x="9" y="279"/>
                </a:lnTo>
                <a:lnTo>
                  <a:pt x="5" y="283"/>
                </a:lnTo>
                <a:lnTo>
                  <a:pt x="6" y="285"/>
                </a:lnTo>
                <a:lnTo>
                  <a:pt x="15" y="283"/>
                </a:lnTo>
                <a:lnTo>
                  <a:pt x="26" y="283"/>
                </a:lnTo>
                <a:lnTo>
                  <a:pt x="33" y="286"/>
                </a:lnTo>
                <a:lnTo>
                  <a:pt x="38" y="284"/>
                </a:lnTo>
                <a:lnTo>
                  <a:pt x="44" y="285"/>
                </a:lnTo>
                <a:lnTo>
                  <a:pt x="50" y="283"/>
                </a:lnTo>
                <a:lnTo>
                  <a:pt x="58" y="278"/>
                </a:lnTo>
                <a:lnTo>
                  <a:pt x="61" y="269"/>
                </a:lnTo>
                <a:lnTo>
                  <a:pt x="66" y="258"/>
                </a:lnTo>
                <a:lnTo>
                  <a:pt x="70" y="254"/>
                </a:lnTo>
                <a:lnTo>
                  <a:pt x="75" y="259"/>
                </a:lnTo>
                <a:lnTo>
                  <a:pt x="80" y="260"/>
                </a:lnTo>
                <a:lnTo>
                  <a:pt x="84" y="258"/>
                </a:lnTo>
                <a:lnTo>
                  <a:pt x="88" y="252"/>
                </a:lnTo>
                <a:lnTo>
                  <a:pt x="93" y="254"/>
                </a:lnTo>
                <a:lnTo>
                  <a:pt x="97" y="257"/>
                </a:lnTo>
                <a:lnTo>
                  <a:pt x="100" y="257"/>
                </a:lnTo>
                <a:lnTo>
                  <a:pt x="103" y="253"/>
                </a:lnTo>
                <a:lnTo>
                  <a:pt x="107" y="253"/>
                </a:lnTo>
                <a:lnTo>
                  <a:pt x="112" y="252"/>
                </a:lnTo>
                <a:lnTo>
                  <a:pt x="117" y="256"/>
                </a:lnTo>
                <a:lnTo>
                  <a:pt x="121" y="256"/>
                </a:lnTo>
                <a:lnTo>
                  <a:pt x="124" y="260"/>
                </a:lnTo>
                <a:lnTo>
                  <a:pt x="127" y="264"/>
                </a:lnTo>
                <a:lnTo>
                  <a:pt x="132" y="266"/>
                </a:lnTo>
                <a:lnTo>
                  <a:pt x="134" y="268"/>
                </a:lnTo>
                <a:lnTo>
                  <a:pt x="136" y="271"/>
                </a:lnTo>
                <a:lnTo>
                  <a:pt x="142" y="272"/>
                </a:lnTo>
                <a:lnTo>
                  <a:pt x="145" y="275"/>
                </a:lnTo>
                <a:lnTo>
                  <a:pt x="146" y="278"/>
                </a:lnTo>
                <a:lnTo>
                  <a:pt x="150" y="279"/>
                </a:lnTo>
                <a:lnTo>
                  <a:pt x="156" y="279"/>
                </a:lnTo>
                <a:lnTo>
                  <a:pt x="159" y="278"/>
                </a:lnTo>
                <a:lnTo>
                  <a:pt x="165" y="277"/>
                </a:lnTo>
                <a:lnTo>
                  <a:pt x="172" y="278"/>
                </a:lnTo>
                <a:lnTo>
                  <a:pt x="173" y="276"/>
                </a:lnTo>
                <a:lnTo>
                  <a:pt x="173" y="275"/>
                </a:lnTo>
                <a:lnTo>
                  <a:pt x="172" y="273"/>
                </a:lnTo>
                <a:lnTo>
                  <a:pt x="172" y="271"/>
                </a:lnTo>
                <a:lnTo>
                  <a:pt x="175" y="271"/>
                </a:lnTo>
                <a:lnTo>
                  <a:pt x="177" y="270"/>
                </a:lnTo>
                <a:lnTo>
                  <a:pt x="179" y="271"/>
                </a:lnTo>
                <a:lnTo>
                  <a:pt x="182" y="276"/>
                </a:lnTo>
                <a:lnTo>
                  <a:pt x="183" y="277"/>
                </a:lnTo>
                <a:lnTo>
                  <a:pt x="183" y="280"/>
                </a:lnTo>
                <a:lnTo>
                  <a:pt x="186" y="280"/>
                </a:lnTo>
                <a:lnTo>
                  <a:pt x="187" y="282"/>
                </a:lnTo>
                <a:lnTo>
                  <a:pt x="187" y="283"/>
                </a:lnTo>
                <a:lnTo>
                  <a:pt x="190" y="283"/>
                </a:lnTo>
                <a:lnTo>
                  <a:pt x="191" y="283"/>
                </a:lnTo>
                <a:lnTo>
                  <a:pt x="191" y="282"/>
                </a:lnTo>
                <a:lnTo>
                  <a:pt x="194" y="282"/>
                </a:lnTo>
                <a:lnTo>
                  <a:pt x="194" y="281"/>
                </a:lnTo>
                <a:lnTo>
                  <a:pt x="194" y="280"/>
                </a:lnTo>
                <a:lnTo>
                  <a:pt x="195" y="280"/>
                </a:lnTo>
                <a:lnTo>
                  <a:pt x="198" y="277"/>
                </a:lnTo>
                <a:lnTo>
                  <a:pt x="199" y="277"/>
                </a:lnTo>
                <a:lnTo>
                  <a:pt x="202" y="275"/>
                </a:lnTo>
                <a:lnTo>
                  <a:pt x="202" y="273"/>
                </a:lnTo>
                <a:lnTo>
                  <a:pt x="200" y="272"/>
                </a:lnTo>
                <a:lnTo>
                  <a:pt x="200" y="271"/>
                </a:lnTo>
                <a:lnTo>
                  <a:pt x="202" y="268"/>
                </a:lnTo>
                <a:lnTo>
                  <a:pt x="198" y="268"/>
                </a:lnTo>
                <a:lnTo>
                  <a:pt x="198" y="264"/>
                </a:lnTo>
                <a:lnTo>
                  <a:pt x="199" y="264"/>
                </a:lnTo>
                <a:lnTo>
                  <a:pt x="194" y="259"/>
                </a:lnTo>
                <a:lnTo>
                  <a:pt x="193" y="258"/>
                </a:lnTo>
                <a:lnTo>
                  <a:pt x="192" y="257"/>
                </a:lnTo>
                <a:lnTo>
                  <a:pt x="194" y="257"/>
                </a:lnTo>
                <a:lnTo>
                  <a:pt x="192" y="254"/>
                </a:lnTo>
                <a:lnTo>
                  <a:pt x="195" y="249"/>
                </a:lnTo>
                <a:lnTo>
                  <a:pt x="197" y="250"/>
                </a:lnTo>
                <a:lnTo>
                  <a:pt x="201" y="251"/>
                </a:lnTo>
                <a:lnTo>
                  <a:pt x="202" y="252"/>
                </a:lnTo>
                <a:lnTo>
                  <a:pt x="206" y="250"/>
                </a:lnTo>
                <a:lnTo>
                  <a:pt x="207" y="249"/>
                </a:lnTo>
                <a:lnTo>
                  <a:pt x="210" y="246"/>
                </a:lnTo>
                <a:lnTo>
                  <a:pt x="211" y="247"/>
                </a:lnTo>
                <a:lnTo>
                  <a:pt x="212" y="246"/>
                </a:lnTo>
                <a:lnTo>
                  <a:pt x="216" y="243"/>
                </a:lnTo>
                <a:lnTo>
                  <a:pt x="216" y="242"/>
                </a:lnTo>
                <a:lnTo>
                  <a:pt x="217" y="241"/>
                </a:lnTo>
                <a:lnTo>
                  <a:pt x="218" y="238"/>
                </a:lnTo>
                <a:lnTo>
                  <a:pt x="225" y="244"/>
                </a:lnTo>
                <a:lnTo>
                  <a:pt x="228" y="245"/>
                </a:lnTo>
                <a:lnTo>
                  <a:pt x="235" y="245"/>
                </a:lnTo>
                <a:lnTo>
                  <a:pt x="241" y="247"/>
                </a:lnTo>
                <a:lnTo>
                  <a:pt x="241" y="246"/>
                </a:lnTo>
                <a:lnTo>
                  <a:pt x="240" y="242"/>
                </a:lnTo>
                <a:lnTo>
                  <a:pt x="241" y="240"/>
                </a:lnTo>
                <a:lnTo>
                  <a:pt x="236" y="237"/>
                </a:lnTo>
                <a:lnTo>
                  <a:pt x="236" y="234"/>
                </a:lnTo>
                <a:lnTo>
                  <a:pt x="234" y="231"/>
                </a:lnTo>
                <a:lnTo>
                  <a:pt x="229" y="229"/>
                </a:lnTo>
                <a:lnTo>
                  <a:pt x="227" y="229"/>
                </a:lnTo>
                <a:lnTo>
                  <a:pt x="228" y="228"/>
                </a:lnTo>
                <a:lnTo>
                  <a:pt x="229" y="226"/>
                </a:lnTo>
                <a:lnTo>
                  <a:pt x="229" y="227"/>
                </a:lnTo>
                <a:lnTo>
                  <a:pt x="230" y="225"/>
                </a:lnTo>
                <a:lnTo>
                  <a:pt x="232" y="227"/>
                </a:lnTo>
                <a:lnTo>
                  <a:pt x="238" y="224"/>
                </a:lnTo>
                <a:lnTo>
                  <a:pt x="239" y="224"/>
                </a:lnTo>
                <a:lnTo>
                  <a:pt x="241" y="226"/>
                </a:lnTo>
                <a:lnTo>
                  <a:pt x="242" y="225"/>
                </a:lnTo>
                <a:lnTo>
                  <a:pt x="243" y="227"/>
                </a:lnTo>
                <a:lnTo>
                  <a:pt x="246" y="229"/>
                </a:lnTo>
                <a:lnTo>
                  <a:pt x="246" y="230"/>
                </a:lnTo>
                <a:lnTo>
                  <a:pt x="245" y="231"/>
                </a:lnTo>
                <a:lnTo>
                  <a:pt x="245" y="232"/>
                </a:lnTo>
                <a:lnTo>
                  <a:pt x="248" y="235"/>
                </a:lnTo>
                <a:lnTo>
                  <a:pt x="252" y="237"/>
                </a:lnTo>
                <a:lnTo>
                  <a:pt x="255" y="237"/>
                </a:lnTo>
                <a:lnTo>
                  <a:pt x="256" y="236"/>
                </a:lnTo>
                <a:lnTo>
                  <a:pt x="259" y="236"/>
                </a:lnTo>
                <a:lnTo>
                  <a:pt x="262" y="238"/>
                </a:lnTo>
                <a:lnTo>
                  <a:pt x="263" y="237"/>
                </a:lnTo>
                <a:lnTo>
                  <a:pt x="265" y="234"/>
                </a:lnTo>
                <a:lnTo>
                  <a:pt x="267" y="235"/>
                </a:lnTo>
                <a:lnTo>
                  <a:pt x="271" y="238"/>
                </a:lnTo>
                <a:lnTo>
                  <a:pt x="273" y="244"/>
                </a:lnTo>
                <a:lnTo>
                  <a:pt x="274" y="243"/>
                </a:lnTo>
                <a:lnTo>
                  <a:pt x="275" y="242"/>
                </a:lnTo>
                <a:lnTo>
                  <a:pt x="281" y="243"/>
                </a:lnTo>
                <a:lnTo>
                  <a:pt x="284" y="244"/>
                </a:lnTo>
                <a:lnTo>
                  <a:pt x="285" y="246"/>
                </a:lnTo>
                <a:lnTo>
                  <a:pt x="285" y="249"/>
                </a:lnTo>
                <a:lnTo>
                  <a:pt x="287" y="249"/>
                </a:lnTo>
                <a:lnTo>
                  <a:pt x="289" y="249"/>
                </a:lnTo>
                <a:lnTo>
                  <a:pt x="291" y="249"/>
                </a:lnTo>
                <a:lnTo>
                  <a:pt x="292" y="250"/>
                </a:lnTo>
                <a:lnTo>
                  <a:pt x="294" y="251"/>
                </a:lnTo>
                <a:lnTo>
                  <a:pt x="295" y="251"/>
                </a:lnTo>
                <a:lnTo>
                  <a:pt x="294" y="248"/>
                </a:lnTo>
                <a:lnTo>
                  <a:pt x="295" y="248"/>
                </a:lnTo>
                <a:lnTo>
                  <a:pt x="294" y="245"/>
                </a:lnTo>
                <a:lnTo>
                  <a:pt x="296" y="242"/>
                </a:lnTo>
                <a:lnTo>
                  <a:pt x="291" y="238"/>
                </a:lnTo>
                <a:lnTo>
                  <a:pt x="291" y="234"/>
                </a:lnTo>
                <a:lnTo>
                  <a:pt x="294" y="236"/>
                </a:lnTo>
                <a:lnTo>
                  <a:pt x="296" y="236"/>
                </a:lnTo>
                <a:lnTo>
                  <a:pt x="300" y="238"/>
                </a:lnTo>
                <a:lnTo>
                  <a:pt x="301" y="240"/>
                </a:lnTo>
                <a:lnTo>
                  <a:pt x="305" y="238"/>
                </a:lnTo>
                <a:lnTo>
                  <a:pt x="308" y="242"/>
                </a:lnTo>
                <a:lnTo>
                  <a:pt x="310" y="242"/>
                </a:lnTo>
                <a:lnTo>
                  <a:pt x="311" y="241"/>
                </a:lnTo>
                <a:lnTo>
                  <a:pt x="312" y="241"/>
                </a:lnTo>
                <a:lnTo>
                  <a:pt x="316" y="239"/>
                </a:lnTo>
                <a:lnTo>
                  <a:pt x="319" y="234"/>
                </a:lnTo>
                <a:lnTo>
                  <a:pt x="322" y="234"/>
                </a:lnTo>
                <a:lnTo>
                  <a:pt x="326" y="230"/>
                </a:lnTo>
                <a:lnTo>
                  <a:pt x="327" y="230"/>
                </a:lnTo>
                <a:lnTo>
                  <a:pt x="328" y="230"/>
                </a:lnTo>
                <a:lnTo>
                  <a:pt x="329" y="231"/>
                </a:lnTo>
                <a:lnTo>
                  <a:pt x="330" y="231"/>
                </a:lnTo>
                <a:lnTo>
                  <a:pt x="330" y="230"/>
                </a:lnTo>
                <a:lnTo>
                  <a:pt x="333" y="228"/>
                </a:lnTo>
                <a:lnTo>
                  <a:pt x="335" y="227"/>
                </a:lnTo>
                <a:lnTo>
                  <a:pt x="344" y="224"/>
                </a:lnTo>
                <a:lnTo>
                  <a:pt x="346" y="224"/>
                </a:lnTo>
                <a:lnTo>
                  <a:pt x="347" y="223"/>
                </a:lnTo>
                <a:lnTo>
                  <a:pt x="354" y="219"/>
                </a:lnTo>
                <a:lnTo>
                  <a:pt x="357" y="218"/>
                </a:lnTo>
                <a:lnTo>
                  <a:pt x="357" y="219"/>
                </a:lnTo>
                <a:lnTo>
                  <a:pt x="360" y="219"/>
                </a:lnTo>
                <a:lnTo>
                  <a:pt x="360" y="221"/>
                </a:lnTo>
                <a:lnTo>
                  <a:pt x="362" y="221"/>
                </a:lnTo>
                <a:lnTo>
                  <a:pt x="362" y="223"/>
                </a:lnTo>
                <a:lnTo>
                  <a:pt x="366" y="225"/>
                </a:lnTo>
                <a:lnTo>
                  <a:pt x="366" y="226"/>
                </a:lnTo>
                <a:lnTo>
                  <a:pt x="370" y="223"/>
                </a:lnTo>
                <a:lnTo>
                  <a:pt x="373" y="221"/>
                </a:lnTo>
                <a:lnTo>
                  <a:pt x="373" y="219"/>
                </a:lnTo>
                <a:lnTo>
                  <a:pt x="374" y="219"/>
                </a:lnTo>
                <a:lnTo>
                  <a:pt x="374" y="218"/>
                </a:lnTo>
                <a:lnTo>
                  <a:pt x="377" y="218"/>
                </a:lnTo>
                <a:lnTo>
                  <a:pt x="380" y="213"/>
                </a:lnTo>
                <a:lnTo>
                  <a:pt x="380" y="212"/>
                </a:lnTo>
                <a:lnTo>
                  <a:pt x="382" y="210"/>
                </a:lnTo>
                <a:lnTo>
                  <a:pt x="382" y="206"/>
                </a:lnTo>
                <a:lnTo>
                  <a:pt x="383" y="203"/>
                </a:lnTo>
                <a:lnTo>
                  <a:pt x="386" y="201"/>
                </a:lnTo>
                <a:lnTo>
                  <a:pt x="389" y="201"/>
                </a:lnTo>
                <a:lnTo>
                  <a:pt x="390" y="200"/>
                </a:lnTo>
                <a:lnTo>
                  <a:pt x="390" y="197"/>
                </a:lnTo>
                <a:lnTo>
                  <a:pt x="389" y="19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3" name="Freeform 161"/>
          <p:cNvSpPr>
            <a:spLocks/>
          </p:cNvSpPr>
          <p:nvPr/>
        </p:nvSpPr>
        <p:spPr bwMode="auto">
          <a:xfrm>
            <a:off x="8121650" y="2466975"/>
            <a:ext cx="665163" cy="619125"/>
          </a:xfrm>
          <a:custGeom>
            <a:avLst/>
            <a:gdLst>
              <a:gd name="T0" fmla="*/ 2147483646 w 212"/>
              <a:gd name="T1" fmla="*/ 2147483646 h 210"/>
              <a:gd name="T2" fmla="*/ 2147483646 w 212"/>
              <a:gd name="T3" fmla="*/ 2147483646 h 210"/>
              <a:gd name="T4" fmla="*/ 2147483646 w 212"/>
              <a:gd name="T5" fmla="*/ 2147483646 h 210"/>
              <a:gd name="T6" fmla="*/ 2147483646 w 212"/>
              <a:gd name="T7" fmla="*/ 2147483646 h 210"/>
              <a:gd name="T8" fmla="*/ 2147483646 w 212"/>
              <a:gd name="T9" fmla="*/ 2147483646 h 210"/>
              <a:gd name="T10" fmla="*/ 2147483646 w 212"/>
              <a:gd name="T11" fmla="*/ 2147483646 h 210"/>
              <a:gd name="T12" fmla="*/ 2147483646 w 212"/>
              <a:gd name="T13" fmla="*/ 2147483646 h 210"/>
              <a:gd name="T14" fmla="*/ 2147483646 w 212"/>
              <a:gd name="T15" fmla="*/ 2147483646 h 210"/>
              <a:gd name="T16" fmla="*/ 2147483646 w 212"/>
              <a:gd name="T17" fmla="*/ 2147483646 h 210"/>
              <a:gd name="T18" fmla="*/ 2147483646 w 212"/>
              <a:gd name="T19" fmla="*/ 2147483646 h 210"/>
              <a:gd name="T20" fmla="*/ 2147483646 w 212"/>
              <a:gd name="T21" fmla="*/ 2147483646 h 210"/>
              <a:gd name="T22" fmla="*/ 2147483646 w 212"/>
              <a:gd name="T23" fmla="*/ 2147483646 h 210"/>
              <a:gd name="T24" fmla="*/ 2147483646 w 212"/>
              <a:gd name="T25" fmla="*/ 2147483646 h 210"/>
              <a:gd name="T26" fmla="*/ 2147483646 w 212"/>
              <a:gd name="T27" fmla="*/ 2147483646 h 210"/>
              <a:gd name="T28" fmla="*/ 2147483646 w 212"/>
              <a:gd name="T29" fmla="*/ 2147483646 h 210"/>
              <a:gd name="T30" fmla="*/ 2147483646 w 212"/>
              <a:gd name="T31" fmla="*/ 2147483646 h 210"/>
              <a:gd name="T32" fmla="*/ 2147483646 w 212"/>
              <a:gd name="T33" fmla="*/ 2147483646 h 210"/>
              <a:gd name="T34" fmla="*/ 2147483646 w 212"/>
              <a:gd name="T35" fmla="*/ 2147483646 h 210"/>
              <a:gd name="T36" fmla="*/ 2147483646 w 212"/>
              <a:gd name="T37" fmla="*/ 2147483646 h 210"/>
              <a:gd name="T38" fmla="*/ 2147483646 w 212"/>
              <a:gd name="T39" fmla="*/ 2147483646 h 210"/>
              <a:gd name="T40" fmla="*/ 2147483646 w 212"/>
              <a:gd name="T41" fmla="*/ 2147483646 h 210"/>
              <a:gd name="T42" fmla="*/ 2147483646 w 212"/>
              <a:gd name="T43" fmla="*/ 2147483646 h 210"/>
              <a:gd name="T44" fmla="*/ 2147483646 w 212"/>
              <a:gd name="T45" fmla="*/ 2147483646 h 210"/>
              <a:gd name="T46" fmla="*/ 2147483646 w 212"/>
              <a:gd name="T47" fmla="*/ 2147483646 h 210"/>
              <a:gd name="T48" fmla="*/ 2147483646 w 212"/>
              <a:gd name="T49" fmla="*/ 2147483646 h 210"/>
              <a:gd name="T50" fmla="*/ 2147483646 w 212"/>
              <a:gd name="T51" fmla="*/ 2147483646 h 210"/>
              <a:gd name="T52" fmla="*/ 2147483646 w 212"/>
              <a:gd name="T53" fmla="*/ 2147483646 h 210"/>
              <a:gd name="T54" fmla="*/ 2147483646 w 212"/>
              <a:gd name="T55" fmla="*/ 2147483646 h 210"/>
              <a:gd name="T56" fmla="*/ 2147483646 w 212"/>
              <a:gd name="T57" fmla="*/ 2147483646 h 210"/>
              <a:gd name="T58" fmla="*/ 2147483646 w 212"/>
              <a:gd name="T59" fmla="*/ 2147483646 h 210"/>
              <a:gd name="T60" fmla="*/ 2147483646 w 212"/>
              <a:gd name="T61" fmla="*/ 2147483646 h 210"/>
              <a:gd name="T62" fmla="*/ 2147483646 w 212"/>
              <a:gd name="T63" fmla="*/ 2147483646 h 210"/>
              <a:gd name="T64" fmla="*/ 2147483646 w 212"/>
              <a:gd name="T65" fmla="*/ 2147483646 h 210"/>
              <a:gd name="T66" fmla="*/ 2147483646 w 212"/>
              <a:gd name="T67" fmla="*/ 2147483646 h 210"/>
              <a:gd name="T68" fmla="*/ 2147483646 w 212"/>
              <a:gd name="T69" fmla="*/ 2147483646 h 210"/>
              <a:gd name="T70" fmla="*/ 2147483646 w 212"/>
              <a:gd name="T71" fmla="*/ 2147483646 h 210"/>
              <a:gd name="T72" fmla="*/ 2147483646 w 212"/>
              <a:gd name="T73" fmla="*/ 2147483646 h 210"/>
              <a:gd name="T74" fmla="*/ 2147483646 w 212"/>
              <a:gd name="T75" fmla="*/ 2147483646 h 210"/>
              <a:gd name="T76" fmla="*/ 2147483646 w 212"/>
              <a:gd name="T77" fmla="*/ 2147483646 h 210"/>
              <a:gd name="T78" fmla="*/ 2147483646 w 212"/>
              <a:gd name="T79" fmla="*/ 2147483646 h 210"/>
              <a:gd name="T80" fmla="*/ 2147483646 w 212"/>
              <a:gd name="T81" fmla="*/ 2147483646 h 210"/>
              <a:gd name="T82" fmla="*/ 2147483646 w 212"/>
              <a:gd name="T83" fmla="*/ 2147483646 h 210"/>
              <a:gd name="T84" fmla="*/ 2147483646 w 212"/>
              <a:gd name="T85" fmla="*/ 2147483646 h 210"/>
              <a:gd name="T86" fmla="*/ 2147483646 w 212"/>
              <a:gd name="T87" fmla="*/ 2147483646 h 210"/>
              <a:gd name="T88" fmla="*/ 2147483646 w 212"/>
              <a:gd name="T89" fmla="*/ 2147483646 h 210"/>
              <a:gd name="T90" fmla="*/ 2147483646 w 212"/>
              <a:gd name="T91" fmla="*/ 2147483646 h 210"/>
              <a:gd name="T92" fmla="*/ 2147483646 w 212"/>
              <a:gd name="T93" fmla="*/ 2147483646 h 21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12" h="210">
                <a:moveTo>
                  <a:pt x="52" y="51"/>
                </a:moveTo>
                <a:lnTo>
                  <a:pt x="52" y="64"/>
                </a:lnTo>
                <a:lnTo>
                  <a:pt x="66" y="83"/>
                </a:lnTo>
                <a:lnTo>
                  <a:pt x="59" y="98"/>
                </a:lnTo>
                <a:lnTo>
                  <a:pt x="46" y="107"/>
                </a:lnTo>
                <a:lnTo>
                  <a:pt x="40" y="101"/>
                </a:lnTo>
                <a:lnTo>
                  <a:pt x="30" y="100"/>
                </a:lnTo>
                <a:lnTo>
                  <a:pt x="23" y="106"/>
                </a:lnTo>
                <a:lnTo>
                  <a:pt x="18" y="114"/>
                </a:lnTo>
                <a:lnTo>
                  <a:pt x="9" y="119"/>
                </a:lnTo>
                <a:lnTo>
                  <a:pt x="0" y="126"/>
                </a:lnTo>
                <a:lnTo>
                  <a:pt x="2" y="130"/>
                </a:lnTo>
                <a:lnTo>
                  <a:pt x="4" y="133"/>
                </a:lnTo>
                <a:lnTo>
                  <a:pt x="7" y="136"/>
                </a:lnTo>
                <a:lnTo>
                  <a:pt x="11" y="140"/>
                </a:lnTo>
                <a:lnTo>
                  <a:pt x="14" y="144"/>
                </a:lnTo>
                <a:lnTo>
                  <a:pt x="18" y="148"/>
                </a:lnTo>
                <a:lnTo>
                  <a:pt x="15" y="152"/>
                </a:lnTo>
                <a:lnTo>
                  <a:pt x="11" y="156"/>
                </a:lnTo>
                <a:lnTo>
                  <a:pt x="7" y="160"/>
                </a:lnTo>
                <a:lnTo>
                  <a:pt x="2" y="162"/>
                </a:lnTo>
                <a:lnTo>
                  <a:pt x="1" y="164"/>
                </a:lnTo>
                <a:lnTo>
                  <a:pt x="1" y="167"/>
                </a:lnTo>
                <a:lnTo>
                  <a:pt x="4" y="172"/>
                </a:lnTo>
                <a:lnTo>
                  <a:pt x="7" y="178"/>
                </a:lnTo>
                <a:lnTo>
                  <a:pt x="8" y="184"/>
                </a:lnTo>
                <a:lnTo>
                  <a:pt x="11" y="187"/>
                </a:lnTo>
                <a:lnTo>
                  <a:pt x="15" y="188"/>
                </a:lnTo>
                <a:lnTo>
                  <a:pt x="18" y="190"/>
                </a:lnTo>
                <a:lnTo>
                  <a:pt x="19" y="187"/>
                </a:lnTo>
                <a:lnTo>
                  <a:pt x="26" y="188"/>
                </a:lnTo>
                <a:lnTo>
                  <a:pt x="28" y="190"/>
                </a:lnTo>
                <a:lnTo>
                  <a:pt x="31" y="192"/>
                </a:lnTo>
                <a:lnTo>
                  <a:pt x="33" y="192"/>
                </a:lnTo>
                <a:lnTo>
                  <a:pt x="35" y="192"/>
                </a:lnTo>
                <a:lnTo>
                  <a:pt x="37" y="193"/>
                </a:lnTo>
                <a:lnTo>
                  <a:pt x="40" y="192"/>
                </a:lnTo>
                <a:lnTo>
                  <a:pt x="43" y="191"/>
                </a:lnTo>
                <a:lnTo>
                  <a:pt x="44" y="192"/>
                </a:lnTo>
                <a:lnTo>
                  <a:pt x="44" y="195"/>
                </a:lnTo>
                <a:lnTo>
                  <a:pt x="49" y="197"/>
                </a:lnTo>
                <a:lnTo>
                  <a:pt x="52" y="200"/>
                </a:lnTo>
                <a:lnTo>
                  <a:pt x="55" y="204"/>
                </a:lnTo>
                <a:lnTo>
                  <a:pt x="55" y="206"/>
                </a:lnTo>
                <a:lnTo>
                  <a:pt x="57" y="210"/>
                </a:lnTo>
                <a:lnTo>
                  <a:pt x="60" y="209"/>
                </a:lnTo>
                <a:lnTo>
                  <a:pt x="63" y="208"/>
                </a:lnTo>
                <a:lnTo>
                  <a:pt x="68" y="207"/>
                </a:lnTo>
                <a:lnTo>
                  <a:pt x="70" y="209"/>
                </a:lnTo>
                <a:lnTo>
                  <a:pt x="74" y="210"/>
                </a:lnTo>
                <a:lnTo>
                  <a:pt x="75" y="207"/>
                </a:lnTo>
                <a:lnTo>
                  <a:pt x="77" y="207"/>
                </a:lnTo>
                <a:lnTo>
                  <a:pt x="79" y="208"/>
                </a:lnTo>
                <a:lnTo>
                  <a:pt x="83" y="208"/>
                </a:lnTo>
                <a:lnTo>
                  <a:pt x="86" y="210"/>
                </a:lnTo>
                <a:lnTo>
                  <a:pt x="86" y="204"/>
                </a:lnTo>
                <a:lnTo>
                  <a:pt x="86" y="199"/>
                </a:lnTo>
                <a:lnTo>
                  <a:pt x="93" y="192"/>
                </a:lnTo>
                <a:lnTo>
                  <a:pt x="108" y="188"/>
                </a:lnTo>
                <a:lnTo>
                  <a:pt x="128" y="197"/>
                </a:lnTo>
                <a:lnTo>
                  <a:pt x="128" y="205"/>
                </a:lnTo>
                <a:lnTo>
                  <a:pt x="132" y="205"/>
                </a:lnTo>
                <a:lnTo>
                  <a:pt x="131" y="204"/>
                </a:lnTo>
                <a:lnTo>
                  <a:pt x="134" y="202"/>
                </a:lnTo>
                <a:lnTo>
                  <a:pt x="138" y="198"/>
                </a:lnTo>
                <a:lnTo>
                  <a:pt x="141" y="197"/>
                </a:lnTo>
                <a:lnTo>
                  <a:pt x="142" y="196"/>
                </a:lnTo>
                <a:lnTo>
                  <a:pt x="144" y="197"/>
                </a:lnTo>
                <a:lnTo>
                  <a:pt x="144" y="196"/>
                </a:lnTo>
                <a:lnTo>
                  <a:pt x="146" y="195"/>
                </a:lnTo>
                <a:lnTo>
                  <a:pt x="148" y="195"/>
                </a:lnTo>
                <a:lnTo>
                  <a:pt x="149" y="195"/>
                </a:lnTo>
                <a:lnTo>
                  <a:pt x="152" y="195"/>
                </a:lnTo>
                <a:lnTo>
                  <a:pt x="152" y="196"/>
                </a:lnTo>
                <a:lnTo>
                  <a:pt x="155" y="197"/>
                </a:lnTo>
                <a:lnTo>
                  <a:pt x="156" y="197"/>
                </a:lnTo>
                <a:lnTo>
                  <a:pt x="158" y="195"/>
                </a:lnTo>
                <a:lnTo>
                  <a:pt x="161" y="196"/>
                </a:lnTo>
                <a:lnTo>
                  <a:pt x="165" y="195"/>
                </a:lnTo>
                <a:lnTo>
                  <a:pt x="166" y="195"/>
                </a:lnTo>
                <a:lnTo>
                  <a:pt x="167" y="195"/>
                </a:lnTo>
                <a:lnTo>
                  <a:pt x="168" y="195"/>
                </a:lnTo>
                <a:lnTo>
                  <a:pt x="173" y="195"/>
                </a:lnTo>
                <a:lnTo>
                  <a:pt x="176" y="196"/>
                </a:lnTo>
                <a:lnTo>
                  <a:pt x="176" y="198"/>
                </a:lnTo>
                <a:lnTo>
                  <a:pt x="178" y="199"/>
                </a:lnTo>
                <a:lnTo>
                  <a:pt x="180" y="199"/>
                </a:lnTo>
                <a:lnTo>
                  <a:pt x="182" y="199"/>
                </a:lnTo>
                <a:lnTo>
                  <a:pt x="185" y="199"/>
                </a:lnTo>
                <a:lnTo>
                  <a:pt x="186" y="198"/>
                </a:lnTo>
                <a:lnTo>
                  <a:pt x="189" y="198"/>
                </a:lnTo>
                <a:lnTo>
                  <a:pt x="189" y="196"/>
                </a:lnTo>
                <a:lnTo>
                  <a:pt x="193" y="198"/>
                </a:lnTo>
                <a:lnTo>
                  <a:pt x="196" y="198"/>
                </a:lnTo>
                <a:lnTo>
                  <a:pt x="196" y="199"/>
                </a:lnTo>
                <a:lnTo>
                  <a:pt x="204" y="201"/>
                </a:lnTo>
                <a:lnTo>
                  <a:pt x="207" y="197"/>
                </a:lnTo>
                <a:lnTo>
                  <a:pt x="208" y="185"/>
                </a:lnTo>
                <a:lnTo>
                  <a:pt x="209" y="160"/>
                </a:lnTo>
                <a:lnTo>
                  <a:pt x="210" y="136"/>
                </a:lnTo>
                <a:lnTo>
                  <a:pt x="212" y="131"/>
                </a:lnTo>
                <a:lnTo>
                  <a:pt x="212" y="130"/>
                </a:lnTo>
                <a:lnTo>
                  <a:pt x="210" y="130"/>
                </a:lnTo>
                <a:lnTo>
                  <a:pt x="210" y="126"/>
                </a:lnTo>
                <a:lnTo>
                  <a:pt x="209" y="122"/>
                </a:lnTo>
                <a:lnTo>
                  <a:pt x="207" y="117"/>
                </a:lnTo>
                <a:lnTo>
                  <a:pt x="195" y="117"/>
                </a:lnTo>
                <a:lnTo>
                  <a:pt x="201" y="102"/>
                </a:lnTo>
                <a:lnTo>
                  <a:pt x="195" y="100"/>
                </a:lnTo>
                <a:lnTo>
                  <a:pt x="191" y="95"/>
                </a:lnTo>
                <a:lnTo>
                  <a:pt x="182" y="82"/>
                </a:lnTo>
                <a:lnTo>
                  <a:pt x="181" y="78"/>
                </a:lnTo>
                <a:lnTo>
                  <a:pt x="169" y="66"/>
                </a:lnTo>
                <a:lnTo>
                  <a:pt x="157" y="54"/>
                </a:lnTo>
                <a:lnTo>
                  <a:pt x="156" y="53"/>
                </a:lnTo>
                <a:lnTo>
                  <a:pt x="144" y="42"/>
                </a:lnTo>
                <a:lnTo>
                  <a:pt x="132" y="30"/>
                </a:lnTo>
                <a:lnTo>
                  <a:pt x="126" y="30"/>
                </a:lnTo>
                <a:lnTo>
                  <a:pt x="119" y="31"/>
                </a:lnTo>
                <a:lnTo>
                  <a:pt x="111" y="35"/>
                </a:lnTo>
                <a:lnTo>
                  <a:pt x="108" y="30"/>
                </a:lnTo>
                <a:lnTo>
                  <a:pt x="106" y="27"/>
                </a:lnTo>
                <a:lnTo>
                  <a:pt x="104" y="22"/>
                </a:lnTo>
                <a:lnTo>
                  <a:pt x="99" y="21"/>
                </a:lnTo>
                <a:lnTo>
                  <a:pt x="98" y="18"/>
                </a:lnTo>
                <a:lnTo>
                  <a:pt x="94" y="15"/>
                </a:lnTo>
                <a:lnTo>
                  <a:pt x="93" y="11"/>
                </a:lnTo>
                <a:lnTo>
                  <a:pt x="88" y="3"/>
                </a:lnTo>
                <a:lnTo>
                  <a:pt x="83" y="2"/>
                </a:lnTo>
                <a:lnTo>
                  <a:pt x="78" y="1"/>
                </a:lnTo>
                <a:lnTo>
                  <a:pt x="74" y="0"/>
                </a:lnTo>
                <a:lnTo>
                  <a:pt x="70" y="3"/>
                </a:lnTo>
                <a:lnTo>
                  <a:pt x="68" y="6"/>
                </a:lnTo>
                <a:lnTo>
                  <a:pt x="63" y="9"/>
                </a:lnTo>
                <a:lnTo>
                  <a:pt x="59" y="14"/>
                </a:lnTo>
                <a:lnTo>
                  <a:pt x="55" y="19"/>
                </a:lnTo>
                <a:lnTo>
                  <a:pt x="52" y="31"/>
                </a:lnTo>
                <a:lnTo>
                  <a:pt x="51" y="36"/>
                </a:lnTo>
                <a:lnTo>
                  <a:pt x="47" y="43"/>
                </a:lnTo>
                <a:lnTo>
                  <a:pt x="41" y="41"/>
                </a:lnTo>
                <a:lnTo>
                  <a:pt x="39" y="46"/>
                </a:lnTo>
                <a:lnTo>
                  <a:pt x="52" y="5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4" name="Freeform 162"/>
          <p:cNvSpPr>
            <a:spLocks/>
          </p:cNvSpPr>
          <p:nvPr/>
        </p:nvSpPr>
        <p:spPr bwMode="auto">
          <a:xfrm>
            <a:off x="8143875" y="2171700"/>
            <a:ext cx="730250" cy="681038"/>
          </a:xfrm>
          <a:custGeom>
            <a:avLst/>
            <a:gdLst>
              <a:gd name="T0" fmla="*/ 2147483646 w 233"/>
              <a:gd name="T1" fmla="*/ 2147483646 h 231"/>
              <a:gd name="T2" fmla="*/ 2147483646 w 233"/>
              <a:gd name="T3" fmla="*/ 2147483646 h 231"/>
              <a:gd name="T4" fmla="*/ 2147483646 w 233"/>
              <a:gd name="T5" fmla="*/ 2147483646 h 231"/>
              <a:gd name="T6" fmla="*/ 2147483646 w 233"/>
              <a:gd name="T7" fmla="*/ 2147483646 h 231"/>
              <a:gd name="T8" fmla="*/ 2147483646 w 233"/>
              <a:gd name="T9" fmla="*/ 2147483646 h 231"/>
              <a:gd name="T10" fmla="*/ 2147483646 w 233"/>
              <a:gd name="T11" fmla="*/ 2147483646 h 231"/>
              <a:gd name="T12" fmla="*/ 2147483646 w 233"/>
              <a:gd name="T13" fmla="*/ 2147483646 h 231"/>
              <a:gd name="T14" fmla="*/ 2147483646 w 233"/>
              <a:gd name="T15" fmla="*/ 2147483646 h 231"/>
              <a:gd name="T16" fmla="*/ 2147483646 w 233"/>
              <a:gd name="T17" fmla="*/ 2147483646 h 231"/>
              <a:gd name="T18" fmla="*/ 2147483646 w 233"/>
              <a:gd name="T19" fmla="*/ 2147483646 h 231"/>
              <a:gd name="T20" fmla="*/ 2147483646 w 233"/>
              <a:gd name="T21" fmla="*/ 2147483646 h 231"/>
              <a:gd name="T22" fmla="*/ 2147483646 w 233"/>
              <a:gd name="T23" fmla="*/ 2147483646 h 231"/>
              <a:gd name="T24" fmla="*/ 2147483646 w 233"/>
              <a:gd name="T25" fmla="*/ 2147483646 h 231"/>
              <a:gd name="T26" fmla="*/ 2147483646 w 233"/>
              <a:gd name="T27" fmla="*/ 2147483646 h 231"/>
              <a:gd name="T28" fmla="*/ 2147483646 w 233"/>
              <a:gd name="T29" fmla="*/ 2147483646 h 231"/>
              <a:gd name="T30" fmla="*/ 2147483646 w 233"/>
              <a:gd name="T31" fmla="*/ 2147483646 h 231"/>
              <a:gd name="T32" fmla="*/ 2147483646 w 233"/>
              <a:gd name="T33" fmla="*/ 2147483646 h 231"/>
              <a:gd name="T34" fmla="*/ 2147483646 w 233"/>
              <a:gd name="T35" fmla="*/ 2147483646 h 231"/>
              <a:gd name="T36" fmla="*/ 2147483646 w 233"/>
              <a:gd name="T37" fmla="*/ 2147483646 h 231"/>
              <a:gd name="T38" fmla="*/ 2147483646 w 233"/>
              <a:gd name="T39" fmla="*/ 2147483646 h 231"/>
              <a:gd name="T40" fmla="*/ 2147483646 w 233"/>
              <a:gd name="T41" fmla="*/ 2147483646 h 231"/>
              <a:gd name="T42" fmla="*/ 2147483646 w 233"/>
              <a:gd name="T43" fmla="*/ 2147483646 h 231"/>
              <a:gd name="T44" fmla="*/ 2147483646 w 233"/>
              <a:gd name="T45" fmla="*/ 2147483646 h 231"/>
              <a:gd name="T46" fmla="*/ 2147483646 w 233"/>
              <a:gd name="T47" fmla="*/ 2147483646 h 231"/>
              <a:gd name="T48" fmla="*/ 2147483646 w 233"/>
              <a:gd name="T49" fmla="*/ 0 h 231"/>
              <a:gd name="T50" fmla="*/ 2147483646 w 233"/>
              <a:gd name="T51" fmla="*/ 2147483646 h 231"/>
              <a:gd name="T52" fmla="*/ 2147483646 w 233"/>
              <a:gd name="T53" fmla="*/ 2147483646 h 231"/>
              <a:gd name="T54" fmla="*/ 2147483646 w 233"/>
              <a:gd name="T55" fmla="*/ 2147483646 h 231"/>
              <a:gd name="T56" fmla="*/ 2147483646 w 233"/>
              <a:gd name="T57" fmla="*/ 2147483646 h 231"/>
              <a:gd name="T58" fmla="*/ 2147483646 w 233"/>
              <a:gd name="T59" fmla="*/ 2147483646 h 231"/>
              <a:gd name="T60" fmla="*/ 2147483646 w 233"/>
              <a:gd name="T61" fmla="*/ 2147483646 h 231"/>
              <a:gd name="T62" fmla="*/ 2147483646 w 233"/>
              <a:gd name="T63" fmla="*/ 2147483646 h 231"/>
              <a:gd name="T64" fmla="*/ 2147483646 w 233"/>
              <a:gd name="T65" fmla="*/ 2147483646 h 231"/>
              <a:gd name="T66" fmla="*/ 2147483646 w 233"/>
              <a:gd name="T67" fmla="*/ 2147483646 h 231"/>
              <a:gd name="T68" fmla="*/ 2147483646 w 233"/>
              <a:gd name="T69" fmla="*/ 2147483646 h 231"/>
              <a:gd name="T70" fmla="*/ 2147483646 w 233"/>
              <a:gd name="T71" fmla="*/ 2147483646 h 231"/>
              <a:gd name="T72" fmla="*/ 2147483646 w 233"/>
              <a:gd name="T73" fmla="*/ 2147483646 h 231"/>
              <a:gd name="T74" fmla="*/ 2147483646 w 233"/>
              <a:gd name="T75" fmla="*/ 2147483646 h 231"/>
              <a:gd name="T76" fmla="*/ 2147483646 w 233"/>
              <a:gd name="T77" fmla="*/ 2147483646 h 231"/>
              <a:gd name="T78" fmla="*/ 2147483646 w 233"/>
              <a:gd name="T79" fmla="*/ 2147483646 h 231"/>
              <a:gd name="T80" fmla="*/ 2147483646 w 233"/>
              <a:gd name="T81" fmla="*/ 2147483646 h 231"/>
              <a:gd name="T82" fmla="*/ 2147483646 w 233"/>
              <a:gd name="T83" fmla="*/ 2147483646 h 231"/>
              <a:gd name="T84" fmla="*/ 2147483646 w 233"/>
              <a:gd name="T85" fmla="*/ 2147483646 h 231"/>
              <a:gd name="T86" fmla="*/ 2147483646 w 233"/>
              <a:gd name="T87" fmla="*/ 2147483646 h 231"/>
              <a:gd name="T88" fmla="*/ 2147483646 w 233"/>
              <a:gd name="T89" fmla="*/ 2147483646 h 231"/>
              <a:gd name="T90" fmla="*/ 2147483646 w 233"/>
              <a:gd name="T91" fmla="*/ 2147483646 h 231"/>
              <a:gd name="T92" fmla="*/ 2147483646 w 233"/>
              <a:gd name="T93" fmla="*/ 2147483646 h 231"/>
              <a:gd name="T94" fmla="*/ 2147483646 w 233"/>
              <a:gd name="T95" fmla="*/ 2147483646 h 231"/>
              <a:gd name="T96" fmla="*/ 2147483646 w 233"/>
              <a:gd name="T97" fmla="*/ 2147483646 h 231"/>
              <a:gd name="T98" fmla="*/ 2147483646 w 233"/>
              <a:gd name="T99" fmla="*/ 2147483646 h 231"/>
              <a:gd name="T100" fmla="*/ 2147483646 w 233"/>
              <a:gd name="T101" fmla="*/ 2147483646 h 231"/>
              <a:gd name="T102" fmla="*/ 2147483646 w 233"/>
              <a:gd name="T103" fmla="*/ 2147483646 h 231"/>
              <a:gd name="T104" fmla="*/ 2147483646 w 233"/>
              <a:gd name="T105" fmla="*/ 2147483646 h 231"/>
              <a:gd name="T106" fmla="*/ 2147483646 w 233"/>
              <a:gd name="T107" fmla="*/ 2147483646 h 231"/>
              <a:gd name="T108" fmla="*/ 2147483646 w 233"/>
              <a:gd name="T109" fmla="*/ 2147483646 h 231"/>
              <a:gd name="T110" fmla="*/ 2147483646 w 233"/>
              <a:gd name="T111" fmla="*/ 2147483646 h 231"/>
              <a:gd name="T112" fmla="*/ 2147483646 w 233"/>
              <a:gd name="T113" fmla="*/ 2147483646 h 231"/>
              <a:gd name="T114" fmla="*/ 2147483646 w 233"/>
              <a:gd name="T115" fmla="*/ 2147483646 h 231"/>
              <a:gd name="T116" fmla="*/ 2147483646 w 233"/>
              <a:gd name="T117" fmla="*/ 2147483646 h 231"/>
              <a:gd name="T118" fmla="*/ 2147483646 w 233"/>
              <a:gd name="T119" fmla="*/ 2147483646 h 231"/>
              <a:gd name="T120" fmla="*/ 2147483646 w 233"/>
              <a:gd name="T121" fmla="*/ 2147483646 h 23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33" h="231">
                <a:moveTo>
                  <a:pt x="232" y="165"/>
                </a:moveTo>
                <a:lnTo>
                  <a:pt x="231" y="163"/>
                </a:lnTo>
                <a:lnTo>
                  <a:pt x="229" y="147"/>
                </a:lnTo>
                <a:lnTo>
                  <a:pt x="228" y="138"/>
                </a:lnTo>
                <a:lnTo>
                  <a:pt x="228" y="130"/>
                </a:lnTo>
                <a:lnTo>
                  <a:pt x="228" y="126"/>
                </a:lnTo>
                <a:lnTo>
                  <a:pt x="224" y="123"/>
                </a:lnTo>
                <a:lnTo>
                  <a:pt x="225" y="122"/>
                </a:lnTo>
                <a:lnTo>
                  <a:pt x="223" y="121"/>
                </a:lnTo>
                <a:lnTo>
                  <a:pt x="223" y="116"/>
                </a:lnTo>
                <a:lnTo>
                  <a:pt x="225" y="113"/>
                </a:lnTo>
                <a:lnTo>
                  <a:pt x="225" y="110"/>
                </a:lnTo>
                <a:lnTo>
                  <a:pt x="226" y="108"/>
                </a:lnTo>
                <a:lnTo>
                  <a:pt x="226" y="106"/>
                </a:lnTo>
                <a:lnTo>
                  <a:pt x="228" y="103"/>
                </a:lnTo>
                <a:lnTo>
                  <a:pt x="229" y="103"/>
                </a:lnTo>
                <a:lnTo>
                  <a:pt x="230" y="99"/>
                </a:lnTo>
                <a:lnTo>
                  <a:pt x="230" y="97"/>
                </a:lnTo>
                <a:lnTo>
                  <a:pt x="230" y="96"/>
                </a:lnTo>
                <a:lnTo>
                  <a:pt x="231" y="94"/>
                </a:lnTo>
                <a:lnTo>
                  <a:pt x="230" y="89"/>
                </a:lnTo>
                <a:lnTo>
                  <a:pt x="229" y="85"/>
                </a:lnTo>
                <a:lnTo>
                  <a:pt x="229" y="82"/>
                </a:lnTo>
                <a:lnTo>
                  <a:pt x="228" y="82"/>
                </a:lnTo>
                <a:lnTo>
                  <a:pt x="226" y="82"/>
                </a:lnTo>
                <a:lnTo>
                  <a:pt x="218" y="78"/>
                </a:lnTo>
                <a:lnTo>
                  <a:pt x="217" y="79"/>
                </a:lnTo>
                <a:lnTo>
                  <a:pt x="215" y="79"/>
                </a:lnTo>
                <a:lnTo>
                  <a:pt x="208" y="77"/>
                </a:lnTo>
                <a:lnTo>
                  <a:pt x="206" y="76"/>
                </a:lnTo>
                <a:lnTo>
                  <a:pt x="203" y="74"/>
                </a:lnTo>
                <a:lnTo>
                  <a:pt x="200" y="71"/>
                </a:lnTo>
                <a:lnTo>
                  <a:pt x="201" y="67"/>
                </a:lnTo>
                <a:lnTo>
                  <a:pt x="200" y="62"/>
                </a:lnTo>
                <a:lnTo>
                  <a:pt x="200" y="60"/>
                </a:lnTo>
                <a:lnTo>
                  <a:pt x="201" y="60"/>
                </a:lnTo>
                <a:lnTo>
                  <a:pt x="204" y="57"/>
                </a:lnTo>
                <a:lnTo>
                  <a:pt x="203" y="56"/>
                </a:lnTo>
                <a:lnTo>
                  <a:pt x="200" y="57"/>
                </a:lnTo>
                <a:lnTo>
                  <a:pt x="199" y="59"/>
                </a:lnTo>
                <a:lnTo>
                  <a:pt x="193" y="59"/>
                </a:lnTo>
                <a:lnTo>
                  <a:pt x="189" y="58"/>
                </a:lnTo>
                <a:lnTo>
                  <a:pt x="187" y="58"/>
                </a:lnTo>
                <a:lnTo>
                  <a:pt x="185" y="57"/>
                </a:lnTo>
                <a:lnTo>
                  <a:pt x="184" y="56"/>
                </a:lnTo>
                <a:lnTo>
                  <a:pt x="182" y="55"/>
                </a:lnTo>
                <a:lnTo>
                  <a:pt x="179" y="54"/>
                </a:lnTo>
                <a:lnTo>
                  <a:pt x="178" y="54"/>
                </a:lnTo>
                <a:lnTo>
                  <a:pt x="168" y="50"/>
                </a:lnTo>
                <a:lnTo>
                  <a:pt x="168" y="48"/>
                </a:lnTo>
                <a:lnTo>
                  <a:pt x="168" y="47"/>
                </a:lnTo>
                <a:lnTo>
                  <a:pt x="160" y="41"/>
                </a:lnTo>
                <a:lnTo>
                  <a:pt x="160" y="40"/>
                </a:lnTo>
                <a:lnTo>
                  <a:pt x="160" y="38"/>
                </a:lnTo>
                <a:lnTo>
                  <a:pt x="160" y="36"/>
                </a:lnTo>
                <a:lnTo>
                  <a:pt x="160" y="34"/>
                </a:lnTo>
                <a:lnTo>
                  <a:pt x="159" y="34"/>
                </a:lnTo>
                <a:lnTo>
                  <a:pt x="159" y="33"/>
                </a:lnTo>
                <a:lnTo>
                  <a:pt x="158" y="28"/>
                </a:lnTo>
                <a:lnTo>
                  <a:pt x="158" y="27"/>
                </a:lnTo>
                <a:lnTo>
                  <a:pt x="157" y="27"/>
                </a:lnTo>
                <a:lnTo>
                  <a:pt x="157" y="25"/>
                </a:lnTo>
                <a:lnTo>
                  <a:pt x="155" y="22"/>
                </a:lnTo>
                <a:lnTo>
                  <a:pt x="155" y="20"/>
                </a:lnTo>
                <a:lnTo>
                  <a:pt x="155" y="15"/>
                </a:lnTo>
                <a:lnTo>
                  <a:pt x="156" y="10"/>
                </a:lnTo>
                <a:lnTo>
                  <a:pt x="149" y="5"/>
                </a:lnTo>
                <a:lnTo>
                  <a:pt x="146" y="4"/>
                </a:lnTo>
                <a:lnTo>
                  <a:pt x="145" y="3"/>
                </a:lnTo>
                <a:lnTo>
                  <a:pt x="141" y="1"/>
                </a:lnTo>
                <a:lnTo>
                  <a:pt x="137" y="4"/>
                </a:lnTo>
                <a:lnTo>
                  <a:pt x="129" y="0"/>
                </a:lnTo>
                <a:lnTo>
                  <a:pt x="126" y="0"/>
                </a:lnTo>
                <a:lnTo>
                  <a:pt x="115" y="2"/>
                </a:lnTo>
                <a:lnTo>
                  <a:pt x="103" y="5"/>
                </a:lnTo>
                <a:lnTo>
                  <a:pt x="100" y="7"/>
                </a:lnTo>
                <a:lnTo>
                  <a:pt x="94" y="11"/>
                </a:lnTo>
                <a:lnTo>
                  <a:pt x="88" y="13"/>
                </a:lnTo>
                <a:lnTo>
                  <a:pt x="83" y="14"/>
                </a:lnTo>
                <a:lnTo>
                  <a:pt x="77" y="15"/>
                </a:lnTo>
                <a:lnTo>
                  <a:pt x="66" y="16"/>
                </a:lnTo>
                <a:lnTo>
                  <a:pt x="63" y="17"/>
                </a:lnTo>
                <a:lnTo>
                  <a:pt x="55" y="19"/>
                </a:lnTo>
                <a:lnTo>
                  <a:pt x="53" y="19"/>
                </a:lnTo>
                <a:lnTo>
                  <a:pt x="48" y="19"/>
                </a:lnTo>
                <a:lnTo>
                  <a:pt x="40" y="23"/>
                </a:lnTo>
                <a:lnTo>
                  <a:pt x="32" y="28"/>
                </a:lnTo>
                <a:lnTo>
                  <a:pt x="30" y="26"/>
                </a:lnTo>
                <a:lnTo>
                  <a:pt x="20" y="21"/>
                </a:lnTo>
                <a:lnTo>
                  <a:pt x="9" y="24"/>
                </a:lnTo>
                <a:lnTo>
                  <a:pt x="9" y="23"/>
                </a:lnTo>
                <a:lnTo>
                  <a:pt x="9" y="24"/>
                </a:lnTo>
                <a:lnTo>
                  <a:pt x="8" y="23"/>
                </a:lnTo>
                <a:lnTo>
                  <a:pt x="6" y="22"/>
                </a:lnTo>
                <a:lnTo>
                  <a:pt x="5" y="22"/>
                </a:lnTo>
                <a:lnTo>
                  <a:pt x="1" y="32"/>
                </a:lnTo>
                <a:lnTo>
                  <a:pt x="0" y="37"/>
                </a:lnTo>
                <a:lnTo>
                  <a:pt x="2" y="43"/>
                </a:lnTo>
                <a:lnTo>
                  <a:pt x="7" y="45"/>
                </a:lnTo>
                <a:lnTo>
                  <a:pt x="12" y="47"/>
                </a:lnTo>
                <a:lnTo>
                  <a:pt x="17" y="49"/>
                </a:lnTo>
                <a:lnTo>
                  <a:pt x="23" y="50"/>
                </a:lnTo>
                <a:lnTo>
                  <a:pt x="26" y="52"/>
                </a:lnTo>
                <a:lnTo>
                  <a:pt x="26" y="62"/>
                </a:lnTo>
                <a:lnTo>
                  <a:pt x="28" y="64"/>
                </a:lnTo>
                <a:lnTo>
                  <a:pt x="24" y="67"/>
                </a:lnTo>
                <a:lnTo>
                  <a:pt x="23" y="70"/>
                </a:lnTo>
                <a:lnTo>
                  <a:pt x="20" y="70"/>
                </a:lnTo>
                <a:lnTo>
                  <a:pt x="19" y="74"/>
                </a:lnTo>
                <a:lnTo>
                  <a:pt x="19" y="77"/>
                </a:lnTo>
                <a:lnTo>
                  <a:pt x="17" y="80"/>
                </a:lnTo>
                <a:lnTo>
                  <a:pt x="16" y="82"/>
                </a:lnTo>
                <a:lnTo>
                  <a:pt x="15" y="86"/>
                </a:lnTo>
                <a:lnTo>
                  <a:pt x="11" y="89"/>
                </a:lnTo>
                <a:lnTo>
                  <a:pt x="12" y="92"/>
                </a:lnTo>
                <a:lnTo>
                  <a:pt x="14" y="95"/>
                </a:lnTo>
                <a:lnTo>
                  <a:pt x="14" y="99"/>
                </a:lnTo>
                <a:lnTo>
                  <a:pt x="11" y="102"/>
                </a:lnTo>
                <a:lnTo>
                  <a:pt x="7" y="105"/>
                </a:lnTo>
                <a:lnTo>
                  <a:pt x="6" y="109"/>
                </a:lnTo>
                <a:lnTo>
                  <a:pt x="4" y="113"/>
                </a:lnTo>
                <a:lnTo>
                  <a:pt x="3" y="118"/>
                </a:lnTo>
                <a:lnTo>
                  <a:pt x="3" y="126"/>
                </a:lnTo>
                <a:lnTo>
                  <a:pt x="8" y="133"/>
                </a:lnTo>
                <a:lnTo>
                  <a:pt x="22" y="134"/>
                </a:lnTo>
                <a:lnTo>
                  <a:pt x="26" y="136"/>
                </a:lnTo>
                <a:lnTo>
                  <a:pt x="30" y="140"/>
                </a:lnTo>
                <a:lnTo>
                  <a:pt x="34" y="141"/>
                </a:lnTo>
                <a:lnTo>
                  <a:pt x="40" y="143"/>
                </a:lnTo>
                <a:lnTo>
                  <a:pt x="44" y="136"/>
                </a:lnTo>
                <a:lnTo>
                  <a:pt x="45" y="131"/>
                </a:lnTo>
                <a:lnTo>
                  <a:pt x="48" y="119"/>
                </a:lnTo>
                <a:lnTo>
                  <a:pt x="52" y="114"/>
                </a:lnTo>
                <a:lnTo>
                  <a:pt x="56" y="109"/>
                </a:lnTo>
                <a:lnTo>
                  <a:pt x="61" y="106"/>
                </a:lnTo>
                <a:lnTo>
                  <a:pt x="63" y="103"/>
                </a:lnTo>
                <a:lnTo>
                  <a:pt x="67" y="100"/>
                </a:lnTo>
                <a:lnTo>
                  <a:pt x="71" y="101"/>
                </a:lnTo>
                <a:lnTo>
                  <a:pt x="76" y="102"/>
                </a:lnTo>
                <a:lnTo>
                  <a:pt x="81" y="103"/>
                </a:lnTo>
                <a:lnTo>
                  <a:pt x="86" y="111"/>
                </a:lnTo>
                <a:lnTo>
                  <a:pt x="87" y="115"/>
                </a:lnTo>
                <a:lnTo>
                  <a:pt x="91" y="118"/>
                </a:lnTo>
                <a:lnTo>
                  <a:pt x="92" y="121"/>
                </a:lnTo>
                <a:lnTo>
                  <a:pt x="97" y="122"/>
                </a:lnTo>
                <a:lnTo>
                  <a:pt x="99" y="127"/>
                </a:lnTo>
                <a:lnTo>
                  <a:pt x="101" y="130"/>
                </a:lnTo>
                <a:lnTo>
                  <a:pt x="104" y="135"/>
                </a:lnTo>
                <a:lnTo>
                  <a:pt x="112" y="131"/>
                </a:lnTo>
                <a:lnTo>
                  <a:pt x="119" y="130"/>
                </a:lnTo>
                <a:lnTo>
                  <a:pt x="125" y="130"/>
                </a:lnTo>
                <a:lnTo>
                  <a:pt x="137" y="142"/>
                </a:lnTo>
                <a:lnTo>
                  <a:pt x="149" y="153"/>
                </a:lnTo>
                <a:lnTo>
                  <a:pt x="150" y="154"/>
                </a:lnTo>
                <a:lnTo>
                  <a:pt x="162" y="166"/>
                </a:lnTo>
                <a:lnTo>
                  <a:pt x="174" y="178"/>
                </a:lnTo>
                <a:lnTo>
                  <a:pt x="175" y="182"/>
                </a:lnTo>
                <a:lnTo>
                  <a:pt x="184" y="195"/>
                </a:lnTo>
                <a:lnTo>
                  <a:pt x="188" y="200"/>
                </a:lnTo>
                <a:lnTo>
                  <a:pt x="194" y="202"/>
                </a:lnTo>
                <a:lnTo>
                  <a:pt x="188" y="217"/>
                </a:lnTo>
                <a:lnTo>
                  <a:pt x="200" y="217"/>
                </a:lnTo>
                <a:lnTo>
                  <a:pt x="202" y="222"/>
                </a:lnTo>
                <a:lnTo>
                  <a:pt x="203" y="226"/>
                </a:lnTo>
                <a:lnTo>
                  <a:pt x="203" y="230"/>
                </a:lnTo>
                <a:lnTo>
                  <a:pt x="205" y="230"/>
                </a:lnTo>
                <a:lnTo>
                  <a:pt x="205" y="231"/>
                </a:lnTo>
                <a:lnTo>
                  <a:pt x="207" y="226"/>
                </a:lnTo>
                <a:lnTo>
                  <a:pt x="206" y="224"/>
                </a:lnTo>
                <a:lnTo>
                  <a:pt x="211" y="216"/>
                </a:lnTo>
                <a:lnTo>
                  <a:pt x="219" y="202"/>
                </a:lnTo>
                <a:lnTo>
                  <a:pt x="224" y="192"/>
                </a:lnTo>
                <a:lnTo>
                  <a:pt x="227" y="184"/>
                </a:lnTo>
                <a:lnTo>
                  <a:pt x="228" y="178"/>
                </a:lnTo>
                <a:lnTo>
                  <a:pt x="232" y="170"/>
                </a:lnTo>
                <a:lnTo>
                  <a:pt x="233" y="167"/>
                </a:lnTo>
                <a:lnTo>
                  <a:pt x="232" y="165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5" name="Freeform 163"/>
          <p:cNvSpPr>
            <a:spLocks/>
          </p:cNvSpPr>
          <p:nvPr/>
        </p:nvSpPr>
        <p:spPr bwMode="auto">
          <a:xfrm>
            <a:off x="8601075" y="1978025"/>
            <a:ext cx="39688" cy="31750"/>
          </a:xfrm>
          <a:custGeom>
            <a:avLst/>
            <a:gdLst>
              <a:gd name="T0" fmla="*/ 2147483646 w 13"/>
              <a:gd name="T1" fmla="*/ 2147483646 h 11"/>
              <a:gd name="T2" fmla="*/ 2147483646 w 13"/>
              <a:gd name="T3" fmla="*/ 2147483646 h 11"/>
              <a:gd name="T4" fmla="*/ 2147483646 w 13"/>
              <a:gd name="T5" fmla="*/ 2147483646 h 11"/>
              <a:gd name="T6" fmla="*/ 2147483646 w 13"/>
              <a:gd name="T7" fmla="*/ 2147483646 h 11"/>
              <a:gd name="T8" fmla="*/ 2147483646 w 13"/>
              <a:gd name="T9" fmla="*/ 2147483646 h 11"/>
              <a:gd name="T10" fmla="*/ 2147483646 w 13"/>
              <a:gd name="T11" fmla="*/ 2147483646 h 11"/>
              <a:gd name="T12" fmla="*/ 2147483646 w 13"/>
              <a:gd name="T13" fmla="*/ 0 h 11"/>
              <a:gd name="T14" fmla="*/ 2147483646 w 13"/>
              <a:gd name="T15" fmla="*/ 0 h 11"/>
              <a:gd name="T16" fmla="*/ 2147483646 w 13"/>
              <a:gd name="T17" fmla="*/ 2147483646 h 11"/>
              <a:gd name="T18" fmla="*/ 0 w 13"/>
              <a:gd name="T19" fmla="*/ 2147483646 h 11"/>
              <a:gd name="T20" fmla="*/ 2147483646 w 13"/>
              <a:gd name="T21" fmla="*/ 2147483646 h 11"/>
              <a:gd name="T22" fmla="*/ 2147483646 w 13"/>
              <a:gd name="T23" fmla="*/ 2147483646 h 1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13" h="11">
                <a:moveTo>
                  <a:pt x="3" y="9"/>
                </a:moveTo>
                <a:lnTo>
                  <a:pt x="5" y="11"/>
                </a:lnTo>
                <a:lnTo>
                  <a:pt x="8" y="11"/>
                </a:lnTo>
                <a:lnTo>
                  <a:pt x="10" y="8"/>
                </a:lnTo>
                <a:lnTo>
                  <a:pt x="13" y="6"/>
                </a:lnTo>
                <a:lnTo>
                  <a:pt x="12" y="4"/>
                </a:lnTo>
                <a:lnTo>
                  <a:pt x="6" y="0"/>
                </a:lnTo>
                <a:lnTo>
                  <a:pt x="4" y="0"/>
                </a:lnTo>
                <a:lnTo>
                  <a:pt x="3" y="3"/>
                </a:lnTo>
                <a:lnTo>
                  <a:pt x="0" y="5"/>
                </a:lnTo>
                <a:lnTo>
                  <a:pt x="1" y="7"/>
                </a:lnTo>
                <a:lnTo>
                  <a:pt x="3" y="9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6" name="Freeform 164"/>
          <p:cNvSpPr>
            <a:spLocks/>
          </p:cNvSpPr>
          <p:nvPr/>
        </p:nvSpPr>
        <p:spPr bwMode="auto">
          <a:xfrm>
            <a:off x="8604250" y="2035175"/>
            <a:ext cx="12700" cy="7938"/>
          </a:xfrm>
          <a:custGeom>
            <a:avLst/>
            <a:gdLst>
              <a:gd name="T0" fmla="*/ 0 w 4"/>
              <a:gd name="T1" fmla="*/ 2147483646 h 3"/>
              <a:gd name="T2" fmla="*/ 2147483646 w 4"/>
              <a:gd name="T3" fmla="*/ 2147483646 h 3"/>
              <a:gd name="T4" fmla="*/ 2147483646 w 4"/>
              <a:gd name="T5" fmla="*/ 2147483646 h 3"/>
              <a:gd name="T6" fmla="*/ 2147483646 w 4"/>
              <a:gd name="T7" fmla="*/ 2147483646 h 3"/>
              <a:gd name="T8" fmla="*/ 2147483646 w 4"/>
              <a:gd name="T9" fmla="*/ 2147483646 h 3"/>
              <a:gd name="T10" fmla="*/ 2147483646 w 4"/>
              <a:gd name="T11" fmla="*/ 0 h 3"/>
              <a:gd name="T12" fmla="*/ 2147483646 w 4"/>
              <a:gd name="T13" fmla="*/ 0 h 3"/>
              <a:gd name="T14" fmla="*/ 0 w 4"/>
              <a:gd name="T15" fmla="*/ 2147483646 h 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4" h="3">
                <a:moveTo>
                  <a:pt x="0" y="1"/>
                </a:moveTo>
                <a:lnTo>
                  <a:pt x="1" y="3"/>
                </a:lnTo>
                <a:lnTo>
                  <a:pt x="2" y="3"/>
                </a:lnTo>
                <a:lnTo>
                  <a:pt x="2" y="2"/>
                </a:lnTo>
                <a:lnTo>
                  <a:pt x="4" y="3"/>
                </a:lnTo>
                <a:lnTo>
                  <a:pt x="4" y="0"/>
                </a:lnTo>
                <a:lnTo>
                  <a:pt x="3" y="0"/>
                </a:lnTo>
                <a:lnTo>
                  <a:pt x="0" y="1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7" name="Freeform 165"/>
          <p:cNvSpPr>
            <a:spLocks/>
          </p:cNvSpPr>
          <p:nvPr/>
        </p:nvSpPr>
        <p:spPr bwMode="auto">
          <a:xfrm>
            <a:off x="8477250" y="2012950"/>
            <a:ext cx="107950" cy="71438"/>
          </a:xfrm>
          <a:custGeom>
            <a:avLst/>
            <a:gdLst>
              <a:gd name="T0" fmla="*/ 2147483646 w 35"/>
              <a:gd name="T1" fmla="*/ 2147483646 h 24"/>
              <a:gd name="T2" fmla="*/ 2147483646 w 35"/>
              <a:gd name="T3" fmla="*/ 2147483646 h 24"/>
              <a:gd name="T4" fmla="*/ 2147483646 w 35"/>
              <a:gd name="T5" fmla="*/ 2147483646 h 24"/>
              <a:gd name="T6" fmla="*/ 2147483646 w 35"/>
              <a:gd name="T7" fmla="*/ 2147483646 h 24"/>
              <a:gd name="T8" fmla="*/ 2147483646 w 35"/>
              <a:gd name="T9" fmla="*/ 2147483646 h 24"/>
              <a:gd name="T10" fmla="*/ 2147483646 w 35"/>
              <a:gd name="T11" fmla="*/ 2147483646 h 24"/>
              <a:gd name="T12" fmla="*/ 2147483646 w 35"/>
              <a:gd name="T13" fmla="*/ 2147483646 h 24"/>
              <a:gd name="T14" fmla="*/ 2147483646 w 35"/>
              <a:gd name="T15" fmla="*/ 2147483646 h 24"/>
              <a:gd name="T16" fmla="*/ 2147483646 w 35"/>
              <a:gd name="T17" fmla="*/ 2147483646 h 24"/>
              <a:gd name="T18" fmla="*/ 2147483646 w 35"/>
              <a:gd name="T19" fmla="*/ 2147483646 h 24"/>
              <a:gd name="T20" fmla="*/ 2147483646 w 35"/>
              <a:gd name="T21" fmla="*/ 2147483646 h 24"/>
              <a:gd name="T22" fmla="*/ 2147483646 w 35"/>
              <a:gd name="T23" fmla="*/ 2147483646 h 24"/>
              <a:gd name="T24" fmla="*/ 2147483646 w 35"/>
              <a:gd name="T25" fmla="*/ 2147483646 h 24"/>
              <a:gd name="T26" fmla="*/ 2147483646 w 35"/>
              <a:gd name="T27" fmla="*/ 2147483646 h 24"/>
              <a:gd name="T28" fmla="*/ 2147483646 w 35"/>
              <a:gd name="T29" fmla="*/ 2147483646 h 24"/>
              <a:gd name="T30" fmla="*/ 2147483646 w 35"/>
              <a:gd name="T31" fmla="*/ 2147483646 h 24"/>
              <a:gd name="T32" fmla="*/ 2147483646 w 35"/>
              <a:gd name="T33" fmla="*/ 2147483646 h 24"/>
              <a:gd name="T34" fmla="*/ 2147483646 w 35"/>
              <a:gd name="T35" fmla="*/ 2147483646 h 24"/>
              <a:gd name="T36" fmla="*/ 2147483646 w 35"/>
              <a:gd name="T37" fmla="*/ 2147483646 h 24"/>
              <a:gd name="T38" fmla="*/ 2147483646 w 35"/>
              <a:gd name="T39" fmla="*/ 2147483646 h 24"/>
              <a:gd name="T40" fmla="*/ 2147483646 w 35"/>
              <a:gd name="T41" fmla="*/ 2147483646 h 24"/>
              <a:gd name="T42" fmla="*/ 2147483646 w 35"/>
              <a:gd name="T43" fmla="*/ 2147483646 h 24"/>
              <a:gd name="T44" fmla="*/ 2147483646 w 35"/>
              <a:gd name="T45" fmla="*/ 0 h 24"/>
              <a:gd name="T46" fmla="*/ 2147483646 w 35"/>
              <a:gd name="T47" fmla="*/ 2147483646 h 24"/>
              <a:gd name="T48" fmla="*/ 2147483646 w 35"/>
              <a:gd name="T49" fmla="*/ 2147483646 h 24"/>
              <a:gd name="T50" fmla="*/ 2147483646 w 35"/>
              <a:gd name="T51" fmla="*/ 2147483646 h 24"/>
              <a:gd name="T52" fmla="*/ 0 w 35"/>
              <a:gd name="T53" fmla="*/ 2147483646 h 24"/>
              <a:gd name="T54" fmla="*/ 0 w 35"/>
              <a:gd name="T55" fmla="*/ 2147483646 h 24"/>
              <a:gd name="T56" fmla="*/ 0 w 35"/>
              <a:gd name="T57" fmla="*/ 2147483646 h 24"/>
              <a:gd name="T58" fmla="*/ 2147483646 w 35"/>
              <a:gd name="T59" fmla="*/ 2147483646 h 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0" t="0" r="r" b="b"/>
            <a:pathLst>
              <a:path w="35" h="24">
                <a:moveTo>
                  <a:pt x="2" y="17"/>
                </a:moveTo>
                <a:lnTo>
                  <a:pt x="8" y="21"/>
                </a:lnTo>
                <a:lnTo>
                  <a:pt x="16" y="21"/>
                </a:lnTo>
                <a:lnTo>
                  <a:pt x="18" y="21"/>
                </a:lnTo>
                <a:lnTo>
                  <a:pt x="20" y="24"/>
                </a:lnTo>
                <a:lnTo>
                  <a:pt x="23" y="23"/>
                </a:lnTo>
                <a:lnTo>
                  <a:pt x="23" y="22"/>
                </a:lnTo>
                <a:lnTo>
                  <a:pt x="23" y="21"/>
                </a:lnTo>
                <a:lnTo>
                  <a:pt x="21" y="19"/>
                </a:lnTo>
                <a:lnTo>
                  <a:pt x="20" y="19"/>
                </a:lnTo>
                <a:lnTo>
                  <a:pt x="19" y="17"/>
                </a:lnTo>
                <a:lnTo>
                  <a:pt x="17" y="15"/>
                </a:lnTo>
                <a:lnTo>
                  <a:pt x="14" y="14"/>
                </a:lnTo>
                <a:lnTo>
                  <a:pt x="16" y="13"/>
                </a:lnTo>
                <a:lnTo>
                  <a:pt x="18" y="13"/>
                </a:lnTo>
                <a:lnTo>
                  <a:pt x="21" y="11"/>
                </a:lnTo>
                <a:lnTo>
                  <a:pt x="24" y="9"/>
                </a:lnTo>
                <a:lnTo>
                  <a:pt x="31" y="9"/>
                </a:lnTo>
                <a:lnTo>
                  <a:pt x="35" y="8"/>
                </a:lnTo>
                <a:lnTo>
                  <a:pt x="35" y="7"/>
                </a:lnTo>
                <a:lnTo>
                  <a:pt x="32" y="6"/>
                </a:lnTo>
                <a:lnTo>
                  <a:pt x="27" y="4"/>
                </a:lnTo>
                <a:lnTo>
                  <a:pt x="19" y="0"/>
                </a:lnTo>
                <a:lnTo>
                  <a:pt x="17" y="1"/>
                </a:lnTo>
                <a:lnTo>
                  <a:pt x="11" y="5"/>
                </a:lnTo>
                <a:lnTo>
                  <a:pt x="2" y="9"/>
                </a:lnTo>
                <a:lnTo>
                  <a:pt x="0" y="10"/>
                </a:lnTo>
                <a:lnTo>
                  <a:pt x="0" y="13"/>
                </a:lnTo>
                <a:lnTo>
                  <a:pt x="0" y="14"/>
                </a:lnTo>
                <a:lnTo>
                  <a:pt x="2" y="1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8" name="Freeform 166"/>
          <p:cNvSpPr>
            <a:spLocks/>
          </p:cNvSpPr>
          <p:nvPr/>
        </p:nvSpPr>
        <p:spPr bwMode="auto">
          <a:xfrm>
            <a:off x="8416925" y="2085975"/>
            <a:ext cx="28575" cy="15875"/>
          </a:xfrm>
          <a:custGeom>
            <a:avLst/>
            <a:gdLst>
              <a:gd name="T0" fmla="*/ 2147483646 w 9"/>
              <a:gd name="T1" fmla="*/ 2147483646 h 5"/>
              <a:gd name="T2" fmla="*/ 2147483646 w 9"/>
              <a:gd name="T3" fmla="*/ 2147483646 h 5"/>
              <a:gd name="T4" fmla="*/ 2147483646 w 9"/>
              <a:gd name="T5" fmla="*/ 2147483646 h 5"/>
              <a:gd name="T6" fmla="*/ 2147483646 w 9"/>
              <a:gd name="T7" fmla="*/ 2147483646 h 5"/>
              <a:gd name="T8" fmla="*/ 2147483646 w 9"/>
              <a:gd name="T9" fmla="*/ 2147483646 h 5"/>
              <a:gd name="T10" fmla="*/ 2147483646 w 9"/>
              <a:gd name="T11" fmla="*/ 2147483646 h 5"/>
              <a:gd name="T12" fmla="*/ 2147483646 w 9"/>
              <a:gd name="T13" fmla="*/ 2147483646 h 5"/>
              <a:gd name="T14" fmla="*/ 2147483646 w 9"/>
              <a:gd name="T15" fmla="*/ 2147483646 h 5"/>
              <a:gd name="T16" fmla="*/ 2147483646 w 9"/>
              <a:gd name="T17" fmla="*/ 2147483646 h 5"/>
              <a:gd name="T18" fmla="*/ 2147483646 w 9"/>
              <a:gd name="T19" fmla="*/ 2147483646 h 5"/>
              <a:gd name="T20" fmla="*/ 2147483646 w 9"/>
              <a:gd name="T21" fmla="*/ 2147483646 h 5"/>
              <a:gd name="T22" fmla="*/ 2147483646 w 9"/>
              <a:gd name="T23" fmla="*/ 0 h 5"/>
              <a:gd name="T24" fmla="*/ 2147483646 w 9"/>
              <a:gd name="T25" fmla="*/ 0 h 5"/>
              <a:gd name="T26" fmla="*/ 2147483646 w 9"/>
              <a:gd name="T27" fmla="*/ 0 h 5"/>
              <a:gd name="T28" fmla="*/ 0 w 9"/>
              <a:gd name="T29" fmla="*/ 0 h 5"/>
              <a:gd name="T30" fmla="*/ 0 w 9"/>
              <a:gd name="T31" fmla="*/ 2147483646 h 5"/>
              <a:gd name="T32" fmla="*/ 0 w 9"/>
              <a:gd name="T33" fmla="*/ 2147483646 h 5"/>
              <a:gd name="T34" fmla="*/ 2147483646 w 9"/>
              <a:gd name="T35" fmla="*/ 2147483646 h 5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9" h="5">
                <a:moveTo>
                  <a:pt x="2" y="3"/>
                </a:moveTo>
                <a:lnTo>
                  <a:pt x="2" y="3"/>
                </a:lnTo>
                <a:lnTo>
                  <a:pt x="1" y="4"/>
                </a:lnTo>
                <a:lnTo>
                  <a:pt x="2" y="5"/>
                </a:lnTo>
                <a:lnTo>
                  <a:pt x="3" y="5"/>
                </a:lnTo>
                <a:lnTo>
                  <a:pt x="5" y="5"/>
                </a:lnTo>
                <a:lnTo>
                  <a:pt x="5" y="4"/>
                </a:lnTo>
                <a:lnTo>
                  <a:pt x="4" y="4"/>
                </a:lnTo>
                <a:lnTo>
                  <a:pt x="4" y="3"/>
                </a:lnTo>
                <a:lnTo>
                  <a:pt x="5" y="3"/>
                </a:lnTo>
                <a:lnTo>
                  <a:pt x="6" y="1"/>
                </a:lnTo>
                <a:lnTo>
                  <a:pt x="9" y="0"/>
                </a:lnTo>
                <a:lnTo>
                  <a:pt x="7" y="0"/>
                </a:lnTo>
                <a:lnTo>
                  <a:pt x="6" y="0"/>
                </a:lnTo>
                <a:lnTo>
                  <a:pt x="0" y="0"/>
                </a:lnTo>
                <a:lnTo>
                  <a:pt x="0" y="2"/>
                </a:lnTo>
                <a:lnTo>
                  <a:pt x="0" y="3"/>
                </a:lnTo>
                <a:lnTo>
                  <a:pt x="2" y="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89" name="Freeform 167"/>
          <p:cNvSpPr>
            <a:spLocks/>
          </p:cNvSpPr>
          <p:nvPr/>
        </p:nvSpPr>
        <p:spPr bwMode="auto">
          <a:xfrm>
            <a:off x="8112125" y="2133600"/>
            <a:ext cx="147638" cy="66675"/>
          </a:xfrm>
          <a:custGeom>
            <a:avLst/>
            <a:gdLst>
              <a:gd name="T0" fmla="*/ 2147483646 w 47"/>
              <a:gd name="T1" fmla="*/ 2147483646 h 22"/>
              <a:gd name="T2" fmla="*/ 2147483646 w 47"/>
              <a:gd name="T3" fmla="*/ 2147483646 h 22"/>
              <a:gd name="T4" fmla="*/ 2147483646 w 47"/>
              <a:gd name="T5" fmla="*/ 2147483646 h 22"/>
              <a:gd name="T6" fmla="*/ 2147483646 w 47"/>
              <a:gd name="T7" fmla="*/ 2147483646 h 22"/>
              <a:gd name="T8" fmla="*/ 2147483646 w 47"/>
              <a:gd name="T9" fmla="*/ 2147483646 h 22"/>
              <a:gd name="T10" fmla="*/ 2147483646 w 47"/>
              <a:gd name="T11" fmla="*/ 2147483646 h 22"/>
              <a:gd name="T12" fmla="*/ 2147483646 w 47"/>
              <a:gd name="T13" fmla="*/ 2147483646 h 22"/>
              <a:gd name="T14" fmla="*/ 2147483646 w 47"/>
              <a:gd name="T15" fmla="*/ 2147483646 h 22"/>
              <a:gd name="T16" fmla="*/ 2147483646 w 47"/>
              <a:gd name="T17" fmla="*/ 2147483646 h 22"/>
              <a:gd name="T18" fmla="*/ 2147483646 w 47"/>
              <a:gd name="T19" fmla="*/ 2147483646 h 22"/>
              <a:gd name="T20" fmla="*/ 2147483646 w 47"/>
              <a:gd name="T21" fmla="*/ 2147483646 h 22"/>
              <a:gd name="T22" fmla="*/ 2147483646 w 47"/>
              <a:gd name="T23" fmla="*/ 2147483646 h 22"/>
              <a:gd name="T24" fmla="*/ 2147483646 w 47"/>
              <a:gd name="T25" fmla="*/ 2147483646 h 22"/>
              <a:gd name="T26" fmla="*/ 2147483646 w 47"/>
              <a:gd name="T27" fmla="*/ 2147483646 h 22"/>
              <a:gd name="T28" fmla="*/ 2147483646 w 47"/>
              <a:gd name="T29" fmla="*/ 2147483646 h 22"/>
              <a:gd name="T30" fmla="*/ 2147483646 w 47"/>
              <a:gd name="T31" fmla="*/ 2147483646 h 22"/>
              <a:gd name="T32" fmla="*/ 2147483646 w 47"/>
              <a:gd name="T33" fmla="*/ 2147483646 h 22"/>
              <a:gd name="T34" fmla="*/ 2147483646 w 47"/>
              <a:gd name="T35" fmla="*/ 2147483646 h 22"/>
              <a:gd name="T36" fmla="*/ 2147483646 w 47"/>
              <a:gd name="T37" fmla="*/ 2147483646 h 22"/>
              <a:gd name="T38" fmla="*/ 2147483646 w 47"/>
              <a:gd name="T39" fmla="*/ 2147483646 h 22"/>
              <a:gd name="T40" fmla="*/ 2147483646 w 47"/>
              <a:gd name="T41" fmla="*/ 2147483646 h 22"/>
              <a:gd name="T42" fmla="*/ 2147483646 w 47"/>
              <a:gd name="T43" fmla="*/ 2147483646 h 22"/>
              <a:gd name="T44" fmla="*/ 2147483646 w 47"/>
              <a:gd name="T45" fmla="*/ 2147483646 h 22"/>
              <a:gd name="T46" fmla="*/ 2147483646 w 47"/>
              <a:gd name="T47" fmla="*/ 0 h 22"/>
              <a:gd name="T48" fmla="*/ 2147483646 w 47"/>
              <a:gd name="T49" fmla="*/ 0 h 22"/>
              <a:gd name="T50" fmla="*/ 2147483646 w 47"/>
              <a:gd name="T51" fmla="*/ 2147483646 h 22"/>
              <a:gd name="T52" fmla="*/ 2147483646 w 47"/>
              <a:gd name="T53" fmla="*/ 2147483646 h 22"/>
              <a:gd name="T54" fmla="*/ 2147483646 w 47"/>
              <a:gd name="T55" fmla="*/ 2147483646 h 22"/>
              <a:gd name="T56" fmla="*/ 0 w 47"/>
              <a:gd name="T57" fmla="*/ 2147483646 h 22"/>
              <a:gd name="T58" fmla="*/ 2147483646 w 47"/>
              <a:gd name="T59" fmla="*/ 2147483646 h 22"/>
              <a:gd name="T60" fmla="*/ 2147483646 w 47"/>
              <a:gd name="T61" fmla="*/ 2147483646 h 2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7" h="22">
                <a:moveTo>
                  <a:pt x="3" y="16"/>
                </a:moveTo>
                <a:lnTo>
                  <a:pt x="3" y="17"/>
                </a:lnTo>
                <a:lnTo>
                  <a:pt x="2" y="20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5" y="20"/>
                </a:lnTo>
                <a:lnTo>
                  <a:pt x="6" y="17"/>
                </a:lnTo>
                <a:lnTo>
                  <a:pt x="8" y="16"/>
                </a:lnTo>
                <a:lnTo>
                  <a:pt x="9" y="14"/>
                </a:lnTo>
                <a:lnTo>
                  <a:pt x="10" y="14"/>
                </a:lnTo>
                <a:lnTo>
                  <a:pt x="18" y="13"/>
                </a:lnTo>
                <a:lnTo>
                  <a:pt x="28" y="12"/>
                </a:lnTo>
                <a:lnTo>
                  <a:pt x="32" y="10"/>
                </a:lnTo>
                <a:lnTo>
                  <a:pt x="33" y="9"/>
                </a:lnTo>
                <a:lnTo>
                  <a:pt x="34" y="7"/>
                </a:lnTo>
                <a:lnTo>
                  <a:pt x="40" y="6"/>
                </a:lnTo>
                <a:lnTo>
                  <a:pt x="41" y="5"/>
                </a:lnTo>
                <a:lnTo>
                  <a:pt x="44" y="4"/>
                </a:lnTo>
                <a:lnTo>
                  <a:pt x="45" y="3"/>
                </a:lnTo>
                <a:lnTo>
                  <a:pt x="47" y="2"/>
                </a:lnTo>
                <a:lnTo>
                  <a:pt x="47" y="1"/>
                </a:lnTo>
                <a:lnTo>
                  <a:pt x="43" y="0"/>
                </a:lnTo>
                <a:lnTo>
                  <a:pt x="37" y="0"/>
                </a:lnTo>
                <a:lnTo>
                  <a:pt x="7" y="5"/>
                </a:lnTo>
                <a:lnTo>
                  <a:pt x="3" y="8"/>
                </a:lnTo>
                <a:lnTo>
                  <a:pt x="1" y="13"/>
                </a:lnTo>
                <a:lnTo>
                  <a:pt x="0" y="16"/>
                </a:lnTo>
                <a:lnTo>
                  <a:pt x="1" y="17"/>
                </a:lnTo>
                <a:lnTo>
                  <a:pt x="3" y="1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0" name="Freeform 168"/>
          <p:cNvSpPr>
            <a:spLocks/>
          </p:cNvSpPr>
          <p:nvPr/>
        </p:nvSpPr>
        <p:spPr bwMode="auto">
          <a:xfrm>
            <a:off x="7740650" y="3983038"/>
            <a:ext cx="474663" cy="1101725"/>
          </a:xfrm>
          <a:custGeom>
            <a:avLst/>
            <a:gdLst>
              <a:gd name="T0" fmla="*/ 2147483646 w 152"/>
              <a:gd name="T1" fmla="*/ 2147483646 h 374"/>
              <a:gd name="T2" fmla="*/ 2147483646 w 152"/>
              <a:gd name="T3" fmla="*/ 2147483646 h 374"/>
              <a:gd name="T4" fmla="*/ 2147483646 w 152"/>
              <a:gd name="T5" fmla="*/ 2147483646 h 374"/>
              <a:gd name="T6" fmla="*/ 2147483646 w 152"/>
              <a:gd name="T7" fmla="*/ 2147483646 h 374"/>
              <a:gd name="T8" fmla="*/ 2147483646 w 152"/>
              <a:gd name="T9" fmla="*/ 2147483646 h 374"/>
              <a:gd name="T10" fmla="*/ 2147483646 w 152"/>
              <a:gd name="T11" fmla="*/ 2147483646 h 374"/>
              <a:gd name="T12" fmla="*/ 2147483646 w 152"/>
              <a:gd name="T13" fmla="*/ 2147483646 h 374"/>
              <a:gd name="T14" fmla="*/ 2147483646 w 152"/>
              <a:gd name="T15" fmla="*/ 2147483646 h 374"/>
              <a:gd name="T16" fmla="*/ 2147483646 w 152"/>
              <a:gd name="T17" fmla="*/ 2147483646 h 374"/>
              <a:gd name="T18" fmla="*/ 2147483646 w 152"/>
              <a:gd name="T19" fmla="*/ 2147483646 h 374"/>
              <a:gd name="T20" fmla="*/ 2147483646 w 152"/>
              <a:gd name="T21" fmla="*/ 2147483646 h 374"/>
              <a:gd name="T22" fmla="*/ 2147483646 w 152"/>
              <a:gd name="T23" fmla="*/ 2147483646 h 374"/>
              <a:gd name="T24" fmla="*/ 2147483646 w 152"/>
              <a:gd name="T25" fmla="*/ 2147483646 h 374"/>
              <a:gd name="T26" fmla="*/ 2147483646 w 152"/>
              <a:gd name="T27" fmla="*/ 2147483646 h 374"/>
              <a:gd name="T28" fmla="*/ 2147483646 w 152"/>
              <a:gd name="T29" fmla="*/ 2147483646 h 374"/>
              <a:gd name="T30" fmla="*/ 2147483646 w 152"/>
              <a:gd name="T31" fmla="*/ 2147483646 h 374"/>
              <a:gd name="T32" fmla="*/ 2147483646 w 152"/>
              <a:gd name="T33" fmla="*/ 2147483646 h 374"/>
              <a:gd name="T34" fmla="*/ 2147483646 w 152"/>
              <a:gd name="T35" fmla="*/ 2147483646 h 374"/>
              <a:gd name="T36" fmla="*/ 2147483646 w 152"/>
              <a:gd name="T37" fmla="*/ 2147483646 h 374"/>
              <a:gd name="T38" fmla="*/ 2147483646 w 152"/>
              <a:gd name="T39" fmla="*/ 2147483646 h 374"/>
              <a:gd name="T40" fmla="*/ 2147483646 w 152"/>
              <a:gd name="T41" fmla="*/ 2147483646 h 374"/>
              <a:gd name="T42" fmla="*/ 2147483646 w 152"/>
              <a:gd name="T43" fmla="*/ 2147483646 h 374"/>
              <a:gd name="T44" fmla="*/ 2147483646 w 152"/>
              <a:gd name="T45" fmla="*/ 2147483646 h 374"/>
              <a:gd name="T46" fmla="*/ 2147483646 w 152"/>
              <a:gd name="T47" fmla="*/ 2147483646 h 374"/>
              <a:gd name="T48" fmla="*/ 2147483646 w 152"/>
              <a:gd name="T49" fmla="*/ 2147483646 h 374"/>
              <a:gd name="T50" fmla="*/ 2147483646 w 152"/>
              <a:gd name="T51" fmla="*/ 2147483646 h 374"/>
              <a:gd name="T52" fmla="*/ 2147483646 w 152"/>
              <a:gd name="T53" fmla="*/ 2147483646 h 374"/>
              <a:gd name="T54" fmla="*/ 2147483646 w 152"/>
              <a:gd name="T55" fmla="*/ 2147483646 h 374"/>
              <a:gd name="T56" fmla="*/ 2147483646 w 152"/>
              <a:gd name="T57" fmla="*/ 2147483646 h 374"/>
              <a:gd name="T58" fmla="*/ 2147483646 w 152"/>
              <a:gd name="T59" fmla="*/ 2147483646 h 374"/>
              <a:gd name="T60" fmla="*/ 2147483646 w 152"/>
              <a:gd name="T61" fmla="*/ 2147483646 h 374"/>
              <a:gd name="T62" fmla="*/ 2147483646 w 152"/>
              <a:gd name="T63" fmla="*/ 2147483646 h 374"/>
              <a:gd name="T64" fmla="*/ 2147483646 w 152"/>
              <a:gd name="T65" fmla="*/ 2147483646 h 374"/>
              <a:gd name="T66" fmla="*/ 2147483646 w 152"/>
              <a:gd name="T67" fmla="*/ 2147483646 h 374"/>
              <a:gd name="T68" fmla="*/ 2147483646 w 152"/>
              <a:gd name="T69" fmla="*/ 2147483646 h 374"/>
              <a:gd name="T70" fmla="*/ 2147483646 w 152"/>
              <a:gd name="T71" fmla="*/ 2147483646 h 374"/>
              <a:gd name="T72" fmla="*/ 2147483646 w 152"/>
              <a:gd name="T73" fmla="*/ 2147483646 h 374"/>
              <a:gd name="T74" fmla="*/ 2147483646 w 152"/>
              <a:gd name="T75" fmla="*/ 2147483646 h 374"/>
              <a:gd name="T76" fmla="*/ 2147483646 w 152"/>
              <a:gd name="T77" fmla="*/ 2147483646 h 374"/>
              <a:gd name="T78" fmla="*/ 2147483646 w 152"/>
              <a:gd name="T79" fmla="*/ 2147483646 h 374"/>
              <a:gd name="T80" fmla="*/ 2147483646 w 152"/>
              <a:gd name="T81" fmla="*/ 2147483646 h 374"/>
              <a:gd name="T82" fmla="*/ 2147483646 w 152"/>
              <a:gd name="T83" fmla="*/ 2147483646 h 374"/>
              <a:gd name="T84" fmla="*/ 2147483646 w 152"/>
              <a:gd name="T85" fmla="*/ 2147483646 h 374"/>
              <a:gd name="T86" fmla="*/ 2147483646 w 152"/>
              <a:gd name="T87" fmla="*/ 2147483646 h 374"/>
              <a:gd name="T88" fmla="*/ 2147483646 w 152"/>
              <a:gd name="T89" fmla="*/ 2147483646 h 374"/>
              <a:gd name="T90" fmla="*/ 2147483646 w 152"/>
              <a:gd name="T91" fmla="*/ 2147483646 h 374"/>
              <a:gd name="T92" fmla="*/ 2147483646 w 152"/>
              <a:gd name="T93" fmla="*/ 2147483646 h 374"/>
              <a:gd name="T94" fmla="*/ 2147483646 w 152"/>
              <a:gd name="T95" fmla="*/ 2147483646 h 374"/>
              <a:gd name="T96" fmla="*/ 2147483646 w 152"/>
              <a:gd name="T97" fmla="*/ 2147483646 h 374"/>
              <a:gd name="T98" fmla="*/ 2147483646 w 152"/>
              <a:gd name="T99" fmla="*/ 2147483646 h 374"/>
              <a:gd name="T100" fmla="*/ 2147483646 w 152"/>
              <a:gd name="T101" fmla="*/ 2147483646 h 374"/>
              <a:gd name="T102" fmla="*/ 2147483646 w 152"/>
              <a:gd name="T103" fmla="*/ 2147483646 h 374"/>
              <a:gd name="T104" fmla="*/ 2147483646 w 152"/>
              <a:gd name="T105" fmla="*/ 2147483646 h 374"/>
              <a:gd name="T106" fmla="*/ 2147483646 w 152"/>
              <a:gd name="T107" fmla="*/ 2147483646 h 374"/>
              <a:gd name="T108" fmla="*/ 2147483646 w 152"/>
              <a:gd name="T109" fmla="*/ 2147483646 h 374"/>
              <a:gd name="T110" fmla="*/ 2147483646 w 152"/>
              <a:gd name="T111" fmla="*/ 2147483646 h 37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52" h="374">
                <a:moveTo>
                  <a:pt x="86" y="13"/>
                </a:moveTo>
                <a:lnTo>
                  <a:pt x="85" y="13"/>
                </a:lnTo>
                <a:lnTo>
                  <a:pt x="82" y="13"/>
                </a:lnTo>
                <a:lnTo>
                  <a:pt x="82" y="12"/>
                </a:lnTo>
                <a:lnTo>
                  <a:pt x="81" y="10"/>
                </a:lnTo>
                <a:lnTo>
                  <a:pt x="78" y="10"/>
                </a:lnTo>
                <a:lnTo>
                  <a:pt x="78" y="7"/>
                </a:lnTo>
                <a:lnTo>
                  <a:pt x="77" y="6"/>
                </a:lnTo>
                <a:lnTo>
                  <a:pt x="74" y="1"/>
                </a:lnTo>
                <a:lnTo>
                  <a:pt x="72" y="0"/>
                </a:lnTo>
                <a:lnTo>
                  <a:pt x="70" y="1"/>
                </a:lnTo>
                <a:lnTo>
                  <a:pt x="67" y="1"/>
                </a:lnTo>
                <a:lnTo>
                  <a:pt x="67" y="3"/>
                </a:lnTo>
                <a:lnTo>
                  <a:pt x="68" y="5"/>
                </a:lnTo>
                <a:lnTo>
                  <a:pt x="68" y="6"/>
                </a:lnTo>
                <a:lnTo>
                  <a:pt x="67" y="8"/>
                </a:lnTo>
                <a:lnTo>
                  <a:pt x="70" y="9"/>
                </a:lnTo>
                <a:lnTo>
                  <a:pt x="71" y="14"/>
                </a:lnTo>
                <a:lnTo>
                  <a:pt x="73" y="20"/>
                </a:lnTo>
                <a:lnTo>
                  <a:pt x="76" y="22"/>
                </a:lnTo>
                <a:lnTo>
                  <a:pt x="81" y="23"/>
                </a:lnTo>
                <a:lnTo>
                  <a:pt x="86" y="24"/>
                </a:lnTo>
                <a:lnTo>
                  <a:pt x="89" y="27"/>
                </a:lnTo>
                <a:lnTo>
                  <a:pt x="89" y="35"/>
                </a:lnTo>
                <a:lnTo>
                  <a:pt x="88" y="39"/>
                </a:lnTo>
                <a:lnTo>
                  <a:pt x="92" y="40"/>
                </a:lnTo>
                <a:lnTo>
                  <a:pt x="91" y="47"/>
                </a:lnTo>
                <a:lnTo>
                  <a:pt x="97" y="52"/>
                </a:lnTo>
                <a:lnTo>
                  <a:pt x="102" y="58"/>
                </a:lnTo>
                <a:lnTo>
                  <a:pt x="106" y="70"/>
                </a:lnTo>
                <a:lnTo>
                  <a:pt x="108" y="78"/>
                </a:lnTo>
                <a:lnTo>
                  <a:pt x="106" y="78"/>
                </a:lnTo>
                <a:lnTo>
                  <a:pt x="103" y="80"/>
                </a:lnTo>
                <a:lnTo>
                  <a:pt x="100" y="76"/>
                </a:lnTo>
                <a:lnTo>
                  <a:pt x="97" y="74"/>
                </a:lnTo>
                <a:lnTo>
                  <a:pt x="85" y="79"/>
                </a:lnTo>
                <a:lnTo>
                  <a:pt x="75" y="81"/>
                </a:lnTo>
                <a:lnTo>
                  <a:pt x="70" y="78"/>
                </a:lnTo>
                <a:lnTo>
                  <a:pt x="60" y="76"/>
                </a:lnTo>
                <a:lnTo>
                  <a:pt x="63" y="98"/>
                </a:lnTo>
                <a:lnTo>
                  <a:pt x="66" y="104"/>
                </a:lnTo>
                <a:lnTo>
                  <a:pt x="69" y="120"/>
                </a:lnTo>
                <a:lnTo>
                  <a:pt x="82" y="140"/>
                </a:lnTo>
                <a:lnTo>
                  <a:pt x="69" y="152"/>
                </a:lnTo>
                <a:lnTo>
                  <a:pt x="41" y="160"/>
                </a:lnTo>
                <a:lnTo>
                  <a:pt x="26" y="168"/>
                </a:lnTo>
                <a:lnTo>
                  <a:pt x="16" y="183"/>
                </a:lnTo>
                <a:lnTo>
                  <a:pt x="15" y="198"/>
                </a:lnTo>
                <a:lnTo>
                  <a:pt x="7" y="200"/>
                </a:lnTo>
                <a:lnTo>
                  <a:pt x="3" y="201"/>
                </a:lnTo>
                <a:lnTo>
                  <a:pt x="0" y="201"/>
                </a:lnTo>
                <a:lnTo>
                  <a:pt x="0" y="203"/>
                </a:lnTo>
                <a:lnTo>
                  <a:pt x="2" y="203"/>
                </a:lnTo>
                <a:lnTo>
                  <a:pt x="19" y="211"/>
                </a:lnTo>
                <a:lnTo>
                  <a:pt x="21" y="212"/>
                </a:lnTo>
                <a:lnTo>
                  <a:pt x="22" y="213"/>
                </a:lnTo>
                <a:lnTo>
                  <a:pt x="21" y="213"/>
                </a:lnTo>
                <a:lnTo>
                  <a:pt x="22" y="216"/>
                </a:lnTo>
                <a:lnTo>
                  <a:pt x="22" y="217"/>
                </a:lnTo>
                <a:lnTo>
                  <a:pt x="24" y="216"/>
                </a:lnTo>
                <a:lnTo>
                  <a:pt x="26" y="216"/>
                </a:lnTo>
                <a:lnTo>
                  <a:pt x="27" y="217"/>
                </a:lnTo>
                <a:lnTo>
                  <a:pt x="29" y="216"/>
                </a:lnTo>
                <a:lnTo>
                  <a:pt x="31" y="217"/>
                </a:lnTo>
                <a:lnTo>
                  <a:pt x="32" y="217"/>
                </a:lnTo>
                <a:lnTo>
                  <a:pt x="34" y="217"/>
                </a:lnTo>
                <a:lnTo>
                  <a:pt x="34" y="218"/>
                </a:lnTo>
                <a:lnTo>
                  <a:pt x="35" y="217"/>
                </a:lnTo>
                <a:lnTo>
                  <a:pt x="41" y="216"/>
                </a:lnTo>
                <a:lnTo>
                  <a:pt x="42" y="215"/>
                </a:lnTo>
                <a:lnTo>
                  <a:pt x="47" y="217"/>
                </a:lnTo>
                <a:lnTo>
                  <a:pt x="49" y="218"/>
                </a:lnTo>
                <a:lnTo>
                  <a:pt x="49" y="220"/>
                </a:lnTo>
                <a:lnTo>
                  <a:pt x="50" y="221"/>
                </a:lnTo>
                <a:lnTo>
                  <a:pt x="48" y="222"/>
                </a:lnTo>
                <a:lnTo>
                  <a:pt x="48" y="223"/>
                </a:lnTo>
                <a:lnTo>
                  <a:pt x="50" y="223"/>
                </a:lnTo>
                <a:lnTo>
                  <a:pt x="50" y="224"/>
                </a:lnTo>
                <a:lnTo>
                  <a:pt x="50" y="225"/>
                </a:lnTo>
                <a:lnTo>
                  <a:pt x="49" y="227"/>
                </a:lnTo>
                <a:lnTo>
                  <a:pt x="50" y="228"/>
                </a:lnTo>
                <a:lnTo>
                  <a:pt x="51" y="228"/>
                </a:lnTo>
                <a:lnTo>
                  <a:pt x="53" y="226"/>
                </a:lnTo>
                <a:lnTo>
                  <a:pt x="55" y="226"/>
                </a:lnTo>
                <a:lnTo>
                  <a:pt x="56" y="224"/>
                </a:lnTo>
                <a:lnTo>
                  <a:pt x="59" y="225"/>
                </a:lnTo>
                <a:lnTo>
                  <a:pt x="60" y="222"/>
                </a:lnTo>
                <a:lnTo>
                  <a:pt x="61" y="223"/>
                </a:lnTo>
                <a:lnTo>
                  <a:pt x="63" y="225"/>
                </a:lnTo>
                <a:lnTo>
                  <a:pt x="63" y="226"/>
                </a:lnTo>
                <a:lnTo>
                  <a:pt x="63" y="228"/>
                </a:lnTo>
                <a:lnTo>
                  <a:pt x="67" y="230"/>
                </a:lnTo>
                <a:lnTo>
                  <a:pt x="67" y="231"/>
                </a:lnTo>
                <a:lnTo>
                  <a:pt x="66" y="233"/>
                </a:lnTo>
                <a:lnTo>
                  <a:pt x="64" y="236"/>
                </a:lnTo>
                <a:lnTo>
                  <a:pt x="61" y="237"/>
                </a:lnTo>
                <a:lnTo>
                  <a:pt x="59" y="238"/>
                </a:lnTo>
                <a:lnTo>
                  <a:pt x="58" y="240"/>
                </a:lnTo>
                <a:lnTo>
                  <a:pt x="57" y="242"/>
                </a:lnTo>
                <a:lnTo>
                  <a:pt x="57" y="244"/>
                </a:lnTo>
                <a:lnTo>
                  <a:pt x="62" y="245"/>
                </a:lnTo>
                <a:lnTo>
                  <a:pt x="63" y="247"/>
                </a:lnTo>
                <a:lnTo>
                  <a:pt x="62" y="249"/>
                </a:lnTo>
                <a:lnTo>
                  <a:pt x="60" y="250"/>
                </a:lnTo>
                <a:lnTo>
                  <a:pt x="58" y="249"/>
                </a:lnTo>
                <a:lnTo>
                  <a:pt x="57" y="249"/>
                </a:lnTo>
                <a:lnTo>
                  <a:pt x="55" y="249"/>
                </a:lnTo>
                <a:lnTo>
                  <a:pt x="54" y="251"/>
                </a:lnTo>
                <a:lnTo>
                  <a:pt x="56" y="254"/>
                </a:lnTo>
                <a:lnTo>
                  <a:pt x="56" y="255"/>
                </a:lnTo>
                <a:lnTo>
                  <a:pt x="55" y="256"/>
                </a:lnTo>
                <a:lnTo>
                  <a:pt x="54" y="257"/>
                </a:lnTo>
                <a:lnTo>
                  <a:pt x="55" y="260"/>
                </a:lnTo>
                <a:lnTo>
                  <a:pt x="55" y="262"/>
                </a:lnTo>
                <a:lnTo>
                  <a:pt x="53" y="262"/>
                </a:lnTo>
                <a:lnTo>
                  <a:pt x="50" y="261"/>
                </a:lnTo>
                <a:lnTo>
                  <a:pt x="49" y="261"/>
                </a:lnTo>
                <a:lnTo>
                  <a:pt x="48" y="266"/>
                </a:lnTo>
                <a:lnTo>
                  <a:pt x="45" y="271"/>
                </a:lnTo>
                <a:lnTo>
                  <a:pt x="46" y="272"/>
                </a:lnTo>
                <a:lnTo>
                  <a:pt x="49" y="274"/>
                </a:lnTo>
                <a:lnTo>
                  <a:pt x="49" y="276"/>
                </a:lnTo>
                <a:lnTo>
                  <a:pt x="48" y="280"/>
                </a:lnTo>
                <a:lnTo>
                  <a:pt x="48" y="283"/>
                </a:lnTo>
                <a:lnTo>
                  <a:pt x="47" y="285"/>
                </a:lnTo>
                <a:lnTo>
                  <a:pt x="44" y="290"/>
                </a:lnTo>
                <a:lnTo>
                  <a:pt x="41" y="291"/>
                </a:lnTo>
                <a:lnTo>
                  <a:pt x="40" y="294"/>
                </a:lnTo>
                <a:lnTo>
                  <a:pt x="37" y="297"/>
                </a:lnTo>
                <a:lnTo>
                  <a:pt x="37" y="299"/>
                </a:lnTo>
                <a:lnTo>
                  <a:pt x="39" y="300"/>
                </a:lnTo>
                <a:lnTo>
                  <a:pt x="40" y="299"/>
                </a:lnTo>
                <a:lnTo>
                  <a:pt x="42" y="298"/>
                </a:lnTo>
                <a:lnTo>
                  <a:pt x="44" y="298"/>
                </a:lnTo>
                <a:lnTo>
                  <a:pt x="45" y="299"/>
                </a:lnTo>
                <a:lnTo>
                  <a:pt x="46" y="300"/>
                </a:lnTo>
                <a:lnTo>
                  <a:pt x="45" y="301"/>
                </a:lnTo>
                <a:lnTo>
                  <a:pt x="44" y="302"/>
                </a:lnTo>
                <a:lnTo>
                  <a:pt x="43" y="303"/>
                </a:lnTo>
                <a:lnTo>
                  <a:pt x="42" y="307"/>
                </a:lnTo>
                <a:lnTo>
                  <a:pt x="39" y="311"/>
                </a:lnTo>
                <a:lnTo>
                  <a:pt x="38" y="315"/>
                </a:lnTo>
                <a:lnTo>
                  <a:pt x="38" y="316"/>
                </a:lnTo>
                <a:lnTo>
                  <a:pt x="36" y="317"/>
                </a:lnTo>
                <a:lnTo>
                  <a:pt x="34" y="316"/>
                </a:lnTo>
                <a:lnTo>
                  <a:pt x="32" y="316"/>
                </a:lnTo>
                <a:lnTo>
                  <a:pt x="32" y="317"/>
                </a:lnTo>
                <a:lnTo>
                  <a:pt x="31" y="320"/>
                </a:lnTo>
                <a:lnTo>
                  <a:pt x="31" y="322"/>
                </a:lnTo>
                <a:lnTo>
                  <a:pt x="28" y="325"/>
                </a:lnTo>
                <a:lnTo>
                  <a:pt x="27" y="327"/>
                </a:lnTo>
                <a:lnTo>
                  <a:pt x="26" y="326"/>
                </a:lnTo>
                <a:lnTo>
                  <a:pt x="23" y="329"/>
                </a:lnTo>
                <a:lnTo>
                  <a:pt x="20" y="330"/>
                </a:lnTo>
                <a:lnTo>
                  <a:pt x="21" y="331"/>
                </a:lnTo>
                <a:lnTo>
                  <a:pt x="19" y="333"/>
                </a:lnTo>
                <a:lnTo>
                  <a:pt x="20" y="334"/>
                </a:lnTo>
                <a:lnTo>
                  <a:pt x="18" y="337"/>
                </a:lnTo>
                <a:lnTo>
                  <a:pt x="19" y="338"/>
                </a:lnTo>
                <a:lnTo>
                  <a:pt x="18" y="339"/>
                </a:lnTo>
                <a:lnTo>
                  <a:pt x="19" y="341"/>
                </a:lnTo>
                <a:lnTo>
                  <a:pt x="20" y="342"/>
                </a:lnTo>
                <a:lnTo>
                  <a:pt x="20" y="343"/>
                </a:lnTo>
                <a:lnTo>
                  <a:pt x="21" y="345"/>
                </a:lnTo>
                <a:lnTo>
                  <a:pt x="21" y="346"/>
                </a:lnTo>
                <a:lnTo>
                  <a:pt x="22" y="348"/>
                </a:lnTo>
                <a:lnTo>
                  <a:pt x="22" y="349"/>
                </a:lnTo>
                <a:lnTo>
                  <a:pt x="25" y="350"/>
                </a:lnTo>
                <a:lnTo>
                  <a:pt x="26" y="350"/>
                </a:lnTo>
                <a:lnTo>
                  <a:pt x="27" y="351"/>
                </a:lnTo>
                <a:lnTo>
                  <a:pt x="27" y="350"/>
                </a:lnTo>
                <a:lnTo>
                  <a:pt x="28" y="352"/>
                </a:lnTo>
                <a:lnTo>
                  <a:pt x="29" y="352"/>
                </a:lnTo>
                <a:lnTo>
                  <a:pt x="31" y="352"/>
                </a:lnTo>
                <a:lnTo>
                  <a:pt x="32" y="354"/>
                </a:lnTo>
                <a:lnTo>
                  <a:pt x="30" y="358"/>
                </a:lnTo>
                <a:lnTo>
                  <a:pt x="33" y="363"/>
                </a:lnTo>
                <a:lnTo>
                  <a:pt x="31" y="367"/>
                </a:lnTo>
                <a:lnTo>
                  <a:pt x="29" y="369"/>
                </a:lnTo>
                <a:lnTo>
                  <a:pt x="29" y="371"/>
                </a:lnTo>
                <a:lnTo>
                  <a:pt x="30" y="371"/>
                </a:lnTo>
                <a:lnTo>
                  <a:pt x="30" y="372"/>
                </a:lnTo>
                <a:lnTo>
                  <a:pt x="31" y="373"/>
                </a:lnTo>
                <a:lnTo>
                  <a:pt x="33" y="372"/>
                </a:lnTo>
                <a:lnTo>
                  <a:pt x="33" y="371"/>
                </a:lnTo>
                <a:lnTo>
                  <a:pt x="36" y="371"/>
                </a:lnTo>
                <a:lnTo>
                  <a:pt x="37" y="369"/>
                </a:lnTo>
                <a:lnTo>
                  <a:pt x="39" y="371"/>
                </a:lnTo>
                <a:lnTo>
                  <a:pt x="42" y="371"/>
                </a:lnTo>
                <a:lnTo>
                  <a:pt x="42" y="369"/>
                </a:lnTo>
                <a:lnTo>
                  <a:pt x="44" y="366"/>
                </a:lnTo>
                <a:lnTo>
                  <a:pt x="48" y="363"/>
                </a:lnTo>
                <a:lnTo>
                  <a:pt x="50" y="362"/>
                </a:lnTo>
                <a:lnTo>
                  <a:pt x="52" y="367"/>
                </a:lnTo>
                <a:lnTo>
                  <a:pt x="53" y="368"/>
                </a:lnTo>
                <a:lnTo>
                  <a:pt x="54" y="367"/>
                </a:lnTo>
                <a:lnTo>
                  <a:pt x="58" y="371"/>
                </a:lnTo>
                <a:lnTo>
                  <a:pt x="61" y="371"/>
                </a:lnTo>
                <a:lnTo>
                  <a:pt x="63" y="371"/>
                </a:lnTo>
                <a:lnTo>
                  <a:pt x="66" y="369"/>
                </a:lnTo>
                <a:lnTo>
                  <a:pt x="67" y="373"/>
                </a:lnTo>
                <a:lnTo>
                  <a:pt x="70" y="370"/>
                </a:lnTo>
                <a:lnTo>
                  <a:pt x="75" y="367"/>
                </a:lnTo>
                <a:lnTo>
                  <a:pt x="76" y="370"/>
                </a:lnTo>
                <a:lnTo>
                  <a:pt x="76" y="371"/>
                </a:lnTo>
                <a:lnTo>
                  <a:pt x="77" y="372"/>
                </a:lnTo>
                <a:lnTo>
                  <a:pt x="79" y="374"/>
                </a:lnTo>
                <a:lnTo>
                  <a:pt x="80" y="372"/>
                </a:lnTo>
                <a:lnTo>
                  <a:pt x="82" y="372"/>
                </a:lnTo>
                <a:lnTo>
                  <a:pt x="82" y="374"/>
                </a:lnTo>
                <a:lnTo>
                  <a:pt x="87" y="371"/>
                </a:lnTo>
                <a:lnTo>
                  <a:pt x="92" y="370"/>
                </a:lnTo>
                <a:lnTo>
                  <a:pt x="95" y="371"/>
                </a:lnTo>
                <a:lnTo>
                  <a:pt x="96" y="372"/>
                </a:lnTo>
                <a:lnTo>
                  <a:pt x="97" y="373"/>
                </a:lnTo>
                <a:lnTo>
                  <a:pt x="104" y="372"/>
                </a:lnTo>
                <a:lnTo>
                  <a:pt x="107" y="372"/>
                </a:lnTo>
                <a:lnTo>
                  <a:pt x="106" y="369"/>
                </a:lnTo>
                <a:lnTo>
                  <a:pt x="108" y="365"/>
                </a:lnTo>
                <a:lnTo>
                  <a:pt x="107" y="364"/>
                </a:lnTo>
                <a:lnTo>
                  <a:pt x="103" y="363"/>
                </a:lnTo>
                <a:lnTo>
                  <a:pt x="100" y="360"/>
                </a:lnTo>
                <a:lnTo>
                  <a:pt x="96" y="357"/>
                </a:lnTo>
                <a:lnTo>
                  <a:pt x="96" y="356"/>
                </a:lnTo>
                <a:lnTo>
                  <a:pt x="96" y="355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2" y="355"/>
                </a:lnTo>
                <a:lnTo>
                  <a:pt x="106" y="351"/>
                </a:lnTo>
                <a:lnTo>
                  <a:pt x="107" y="349"/>
                </a:lnTo>
                <a:lnTo>
                  <a:pt x="107" y="348"/>
                </a:lnTo>
                <a:lnTo>
                  <a:pt x="106" y="347"/>
                </a:lnTo>
                <a:lnTo>
                  <a:pt x="107" y="345"/>
                </a:lnTo>
                <a:lnTo>
                  <a:pt x="105" y="345"/>
                </a:lnTo>
                <a:lnTo>
                  <a:pt x="105" y="341"/>
                </a:lnTo>
                <a:lnTo>
                  <a:pt x="106" y="339"/>
                </a:lnTo>
                <a:lnTo>
                  <a:pt x="108" y="338"/>
                </a:lnTo>
                <a:lnTo>
                  <a:pt x="109" y="337"/>
                </a:lnTo>
                <a:lnTo>
                  <a:pt x="112" y="337"/>
                </a:lnTo>
                <a:lnTo>
                  <a:pt x="113" y="336"/>
                </a:lnTo>
                <a:lnTo>
                  <a:pt x="114" y="335"/>
                </a:lnTo>
                <a:lnTo>
                  <a:pt x="114" y="337"/>
                </a:lnTo>
                <a:lnTo>
                  <a:pt x="116" y="337"/>
                </a:lnTo>
                <a:lnTo>
                  <a:pt x="118" y="338"/>
                </a:lnTo>
                <a:lnTo>
                  <a:pt x="119" y="334"/>
                </a:lnTo>
                <a:lnTo>
                  <a:pt x="121" y="332"/>
                </a:lnTo>
                <a:lnTo>
                  <a:pt x="121" y="329"/>
                </a:lnTo>
                <a:lnTo>
                  <a:pt x="121" y="326"/>
                </a:lnTo>
                <a:lnTo>
                  <a:pt x="120" y="326"/>
                </a:lnTo>
                <a:lnTo>
                  <a:pt x="118" y="322"/>
                </a:lnTo>
                <a:lnTo>
                  <a:pt x="120" y="318"/>
                </a:lnTo>
                <a:lnTo>
                  <a:pt x="119" y="317"/>
                </a:lnTo>
                <a:lnTo>
                  <a:pt x="123" y="312"/>
                </a:lnTo>
                <a:lnTo>
                  <a:pt x="122" y="312"/>
                </a:lnTo>
                <a:lnTo>
                  <a:pt x="118" y="311"/>
                </a:lnTo>
                <a:lnTo>
                  <a:pt x="117" y="311"/>
                </a:lnTo>
                <a:lnTo>
                  <a:pt x="114" y="311"/>
                </a:lnTo>
                <a:lnTo>
                  <a:pt x="114" y="310"/>
                </a:lnTo>
                <a:lnTo>
                  <a:pt x="110" y="308"/>
                </a:lnTo>
                <a:lnTo>
                  <a:pt x="106" y="307"/>
                </a:lnTo>
                <a:lnTo>
                  <a:pt x="104" y="302"/>
                </a:lnTo>
                <a:lnTo>
                  <a:pt x="105" y="300"/>
                </a:lnTo>
                <a:lnTo>
                  <a:pt x="103" y="299"/>
                </a:lnTo>
                <a:lnTo>
                  <a:pt x="103" y="298"/>
                </a:lnTo>
                <a:lnTo>
                  <a:pt x="104" y="297"/>
                </a:lnTo>
                <a:lnTo>
                  <a:pt x="107" y="289"/>
                </a:lnTo>
                <a:lnTo>
                  <a:pt x="105" y="289"/>
                </a:lnTo>
                <a:lnTo>
                  <a:pt x="97" y="289"/>
                </a:lnTo>
                <a:lnTo>
                  <a:pt x="96" y="290"/>
                </a:lnTo>
                <a:lnTo>
                  <a:pt x="93" y="290"/>
                </a:lnTo>
                <a:lnTo>
                  <a:pt x="91" y="289"/>
                </a:lnTo>
                <a:lnTo>
                  <a:pt x="91" y="287"/>
                </a:lnTo>
                <a:lnTo>
                  <a:pt x="88" y="288"/>
                </a:lnTo>
                <a:lnTo>
                  <a:pt x="86" y="289"/>
                </a:lnTo>
                <a:lnTo>
                  <a:pt x="83" y="291"/>
                </a:lnTo>
                <a:lnTo>
                  <a:pt x="81" y="291"/>
                </a:lnTo>
                <a:lnTo>
                  <a:pt x="80" y="292"/>
                </a:lnTo>
                <a:lnTo>
                  <a:pt x="77" y="292"/>
                </a:lnTo>
                <a:lnTo>
                  <a:pt x="77" y="290"/>
                </a:lnTo>
                <a:lnTo>
                  <a:pt x="79" y="288"/>
                </a:lnTo>
                <a:lnTo>
                  <a:pt x="79" y="282"/>
                </a:lnTo>
                <a:lnTo>
                  <a:pt x="77" y="282"/>
                </a:lnTo>
                <a:lnTo>
                  <a:pt x="77" y="279"/>
                </a:lnTo>
                <a:lnTo>
                  <a:pt x="74" y="278"/>
                </a:lnTo>
                <a:lnTo>
                  <a:pt x="72" y="274"/>
                </a:lnTo>
                <a:lnTo>
                  <a:pt x="72" y="273"/>
                </a:lnTo>
                <a:lnTo>
                  <a:pt x="73" y="270"/>
                </a:lnTo>
                <a:lnTo>
                  <a:pt x="72" y="269"/>
                </a:lnTo>
                <a:lnTo>
                  <a:pt x="70" y="266"/>
                </a:lnTo>
                <a:lnTo>
                  <a:pt x="70" y="265"/>
                </a:lnTo>
                <a:lnTo>
                  <a:pt x="76" y="264"/>
                </a:lnTo>
                <a:lnTo>
                  <a:pt x="77" y="263"/>
                </a:lnTo>
                <a:lnTo>
                  <a:pt x="81" y="259"/>
                </a:lnTo>
                <a:lnTo>
                  <a:pt x="82" y="260"/>
                </a:lnTo>
                <a:lnTo>
                  <a:pt x="84" y="266"/>
                </a:lnTo>
                <a:lnTo>
                  <a:pt x="86" y="268"/>
                </a:lnTo>
                <a:lnTo>
                  <a:pt x="87" y="270"/>
                </a:lnTo>
                <a:lnTo>
                  <a:pt x="89" y="270"/>
                </a:lnTo>
                <a:lnTo>
                  <a:pt x="91" y="270"/>
                </a:lnTo>
                <a:lnTo>
                  <a:pt x="92" y="269"/>
                </a:lnTo>
                <a:lnTo>
                  <a:pt x="92" y="268"/>
                </a:lnTo>
                <a:lnTo>
                  <a:pt x="94" y="266"/>
                </a:lnTo>
                <a:lnTo>
                  <a:pt x="94" y="263"/>
                </a:lnTo>
                <a:lnTo>
                  <a:pt x="94" y="261"/>
                </a:lnTo>
                <a:lnTo>
                  <a:pt x="96" y="258"/>
                </a:lnTo>
                <a:lnTo>
                  <a:pt x="96" y="257"/>
                </a:lnTo>
                <a:lnTo>
                  <a:pt x="98" y="256"/>
                </a:lnTo>
                <a:lnTo>
                  <a:pt x="100" y="252"/>
                </a:lnTo>
                <a:lnTo>
                  <a:pt x="103" y="250"/>
                </a:lnTo>
                <a:lnTo>
                  <a:pt x="105" y="249"/>
                </a:lnTo>
                <a:lnTo>
                  <a:pt x="109" y="248"/>
                </a:lnTo>
                <a:lnTo>
                  <a:pt x="111" y="246"/>
                </a:lnTo>
                <a:lnTo>
                  <a:pt x="114" y="242"/>
                </a:lnTo>
                <a:lnTo>
                  <a:pt x="117" y="240"/>
                </a:lnTo>
                <a:lnTo>
                  <a:pt x="118" y="240"/>
                </a:lnTo>
                <a:lnTo>
                  <a:pt x="119" y="237"/>
                </a:lnTo>
                <a:lnTo>
                  <a:pt x="120" y="237"/>
                </a:lnTo>
                <a:lnTo>
                  <a:pt x="121" y="237"/>
                </a:lnTo>
                <a:lnTo>
                  <a:pt x="120" y="237"/>
                </a:lnTo>
                <a:lnTo>
                  <a:pt x="121" y="237"/>
                </a:lnTo>
                <a:lnTo>
                  <a:pt x="122" y="234"/>
                </a:lnTo>
                <a:lnTo>
                  <a:pt x="128" y="232"/>
                </a:lnTo>
                <a:lnTo>
                  <a:pt x="129" y="230"/>
                </a:lnTo>
                <a:lnTo>
                  <a:pt x="132" y="230"/>
                </a:lnTo>
                <a:lnTo>
                  <a:pt x="134" y="229"/>
                </a:lnTo>
                <a:lnTo>
                  <a:pt x="136" y="229"/>
                </a:lnTo>
                <a:lnTo>
                  <a:pt x="138" y="228"/>
                </a:lnTo>
                <a:lnTo>
                  <a:pt x="138" y="227"/>
                </a:lnTo>
                <a:lnTo>
                  <a:pt x="140" y="225"/>
                </a:lnTo>
                <a:lnTo>
                  <a:pt x="134" y="221"/>
                </a:lnTo>
                <a:lnTo>
                  <a:pt x="133" y="220"/>
                </a:lnTo>
                <a:lnTo>
                  <a:pt x="135" y="218"/>
                </a:lnTo>
                <a:lnTo>
                  <a:pt x="142" y="215"/>
                </a:lnTo>
                <a:lnTo>
                  <a:pt x="138" y="212"/>
                </a:lnTo>
                <a:lnTo>
                  <a:pt x="128" y="218"/>
                </a:lnTo>
                <a:lnTo>
                  <a:pt x="127" y="218"/>
                </a:lnTo>
                <a:lnTo>
                  <a:pt x="126" y="219"/>
                </a:lnTo>
                <a:lnTo>
                  <a:pt x="123" y="221"/>
                </a:lnTo>
                <a:lnTo>
                  <a:pt x="119" y="221"/>
                </a:lnTo>
                <a:lnTo>
                  <a:pt x="118" y="218"/>
                </a:lnTo>
                <a:lnTo>
                  <a:pt x="117" y="217"/>
                </a:lnTo>
                <a:lnTo>
                  <a:pt x="116" y="206"/>
                </a:lnTo>
                <a:lnTo>
                  <a:pt x="116" y="203"/>
                </a:lnTo>
                <a:lnTo>
                  <a:pt x="119" y="202"/>
                </a:lnTo>
                <a:lnTo>
                  <a:pt x="120" y="202"/>
                </a:lnTo>
                <a:lnTo>
                  <a:pt x="120" y="201"/>
                </a:lnTo>
                <a:lnTo>
                  <a:pt x="117" y="195"/>
                </a:lnTo>
                <a:lnTo>
                  <a:pt x="120" y="193"/>
                </a:lnTo>
                <a:lnTo>
                  <a:pt x="129" y="183"/>
                </a:lnTo>
                <a:lnTo>
                  <a:pt x="129" y="181"/>
                </a:lnTo>
                <a:lnTo>
                  <a:pt x="129" y="180"/>
                </a:lnTo>
                <a:lnTo>
                  <a:pt x="135" y="172"/>
                </a:lnTo>
                <a:lnTo>
                  <a:pt x="136" y="168"/>
                </a:lnTo>
                <a:lnTo>
                  <a:pt x="137" y="166"/>
                </a:lnTo>
                <a:lnTo>
                  <a:pt x="139" y="163"/>
                </a:lnTo>
                <a:lnTo>
                  <a:pt x="138" y="162"/>
                </a:lnTo>
                <a:lnTo>
                  <a:pt x="141" y="162"/>
                </a:lnTo>
                <a:lnTo>
                  <a:pt x="144" y="161"/>
                </a:lnTo>
                <a:lnTo>
                  <a:pt x="144" y="159"/>
                </a:lnTo>
                <a:lnTo>
                  <a:pt x="152" y="151"/>
                </a:lnTo>
                <a:lnTo>
                  <a:pt x="151" y="149"/>
                </a:lnTo>
                <a:lnTo>
                  <a:pt x="149" y="142"/>
                </a:lnTo>
                <a:lnTo>
                  <a:pt x="149" y="141"/>
                </a:lnTo>
                <a:lnTo>
                  <a:pt x="152" y="137"/>
                </a:lnTo>
                <a:lnTo>
                  <a:pt x="148" y="137"/>
                </a:lnTo>
                <a:lnTo>
                  <a:pt x="147" y="137"/>
                </a:lnTo>
                <a:lnTo>
                  <a:pt x="147" y="135"/>
                </a:lnTo>
                <a:lnTo>
                  <a:pt x="149" y="125"/>
                </a:lnTo>
                <a:lnTo>
                  <a:pt x="148" y="121"/>
                </a:lnTo>
                <a:lnTo>
                  <a:pt x="150" y="121"/>
                </a:lnTo>
                <a:lnTo>
                  <a:pt x="150" y="117"/>
                </a:lnTo>
                <a:lnTo>
                  <a:pt x="151" y="110"/>
                </a:lnTo>
                <a:lnTo>
                  <a:pt x="149" y="106"/>
                </a:lnTo>
                <a:lnTo>
                  <a:pt x="148" y="104"/>
                </a:lnTo>
                <a:lnTo>
                  <a:pt x="148" y="100"/>
                </a:lnTo>
                <a:lnTo>
                  <a:pt x="148" y="98"/>
                </a:lnTo>
                <a:lnTo>
                  <a:pt x="148" y="96"/>
                </a:lnTo>
                <a:lnTo>
                  <a:pt x="145" y="92"/>
                </a:lnTo>
                <a:lnTo>
                  <a:pt x="140" y="87"/>
                </a:lnTo>
                <a:lnTo>
                  <a:pt x="136" y="80"/>
                </a:lnTo>
                <a:lnTo>
                  <a:pt x="136" y="79"/>
                </a:lnTo>
                <a:lnTo>
                  <a:pt x="135" y="77"/>
                </a:lnTo>
                <a:lnTo>
                  <a:pt x="134" y="76"/>
                </a:lnTo>
                <a:lnTo>
                  <a:pt x="132" y="75"/>
                </a:lnTo>
                <a:lnTo>
                  <a:pt x="130" y="73"/>
                </a:lnTo>
                <a:lnTo>
                  <a:pt x="129" y="72"/>
                </a:lnTo>
                <a:lnTo>
                  <a:pt x="128" y="70"/>
                </a:lnTo>
                <a:lnTo>
                  <a:pt x="127" y="69"/>
                </a:lnTo>
                <a:lnTo>
                  <a:pt x="127" y="68"/>
                </a:lnTo>
                <a:lnTo>
                  <a:pt x="126" y="68"/>
                </a:lnTo>
                <a:lnTo>
                  <a:pt x="125" y="67"/>
                </a:lnTo>
                <a:lnTo>
                  <a:pt x="123" y="63"/>
                </a:lnTo>
                <a:lnTo>
                  <a:pt x="122" y="62"/>
                </a:lnTo>
                <a:lnTo>
                  <a:pt x="122" y="59"/>
                </a:lnTo>
                <a:lnTo>
                  <a:pt x="123" y="57"/>
                </a:lnTo>
                <a:lnTo>
                  <a:pt x="123" y="52"/>
                </a:lnTo>
                <a:lnTo>
                  <a:pt x="124" y="50"/>
                </a:lnTo>
                <a:lnTo>
                  <a:pt x="124" y="49"/>
                </a:lnTo>
                <a:lnTo>
                  <a:pt x="124" y="48"/>
                </a:lnTo>
                <a:lnTo>
                  <a:pt x="126" y="47"/>
                </a:lnTo>
                <a:lnTo>
                  <a:pt x="126" y="46"/>
                </a:lnTo>
                <a:lnTo>
                  <a:pt x="126" y="45"/>
                </a:lnTo>
                <a:lnTo>
                  <a:pt x="122" y="43"/>
                </a:lnTo>
                <a:lnTo>
                  <a:pt x="122" y="44"/>
                </a:lnTo>
                <a:lnTo>
                  <a:pt x="121" y="44"/>
                </a:lnTo>
                <a:lnTo>
                  <a:pt x="119" y="43"/>
                </a:lnTo>
                <a:lnTo>
                  <a:pt x="118" y="43"/>
                </a:lnTo>
                <a:lnTo>
                  <a:pt x="117" y="43"/>
                </a:lnTo>
                <a:lnTo>
                  <a:pt x="117" y="42"/>
                </a:lnTo>
                <a:lnTo>
                  <a:pt x="116" y="42"/>
                </a:lnTo>
                <a:lnTo>
                  <a:pt x="115" y="42"/>
                </a:lnTo>
                <a:lnTo>
                  <a:pt x="108" y="39"/>
                </a:lnTo>
                <a:lnTo>
                  <a:pt x="107" y="38"/>
                </a:lnTo>
                <a:lnTo>
                  <a:pt x="106" y="33"/>
                </a:lnTo>
                <a:lnTo>
                  <a:pt x="107" y="31"/>
                </a:lnTo>
                <a:lnTo>
                  <a:pt x="106" y="28"/>
                </a:lnTo>
                <a:lnTo>
                  <a:pt x="105" y="25"/>
                </a:lnTo>
                <a:lnTo>
                  <a:pt x="107" y="24"/>
                </a:lnTo>
                <a:lnTo>
                  <a:pt x="109" y="24"/>
                </a:lnTo>
                <a:lnTo>
                  <a:pt x="109" y="22"/>
                </a:lnTo>
                <a:lnTo>
                  <a:pt x="107" y="22"/>
                </a:lnTo>
                <a:lnTo>
                  <a:pt x="106" y="20"/>
                </a:lnTo>
                <a:lnTo>
                  <a:pt x="101" y="17"/>
                </a:lnTo>
                <a:lnTo>
                  <a:pt x="98" y="15"/>
                </a:lnTo>
                <a:lnTo>
                  <a:pt x="96" y="14"/>
                </a:lnTo>
                <a:lnTo>
                  <a:pt x="89" y="15"/>
                </a:lnTo>
                <a:lnTo>
                  <a:pt x="88" y="13"/>
                </a:lnTo>
                <a:lnTo>
                  <a:pt x="89" y="12"/>
                </a:lnTo>
                <a:lnTo>
                  <a:pt x="86" y="12"/>
                </a:lnTo>
                <a:lnTo>
                  <a:pt x="86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1" name="Freeform 169"/>
          <p:cNvSpPr>
            <a:spLocks/>
          </p:cNvSpPr>
          <p:nvPr/>
        </p:nvSpPr>
        <p:spPr bwMode="auto">
          <a:xfrm>
            <a:off x="7177088" y="3425825"/>
            <a:ext cx="600075" cy="387350"/>
          </a:xfrm>
          <a:custGeom>
            <a:avLst/>
            <a:gdLst>
              <a:gd name="T0" fmla="*/ 2147483646 w 191"/>
              <a:gd name="T1" fmla="*/ 2147483646 h 131"/>
              <a:gd name="T2" fmla="*/ 2147483646 w 191"/>
              <a:gd name="T3" fmla="*/ 2147483646 h 131"/>
              <a:gd name="T4" fmla="*/ 2147483646 w 191"/>
              <a:gd name="T5" fmla="*/ 2147483646 h 131"/>
              <a:gd name="T6" fmla="*/ 2147483646 w 191"/>
              <a:gd name="T7" fmla="*/ 2147483646 h 131"/>
              <a:gd name="T8" fmla="*/ 2147483646 w 191"/>
              <a:gd name="T9" fmla="*/ 2147483646 h 131"/>
              <a:gd name="T10" fmla="*/ 2147483646 w 191"/>
              <a:gd name="T11" fmla="*/ 2147483646 h 131"/>
              <a:gd name="T12" fmla="*/ 2147483646 w 191"/>
              <a:gd name="T13" fmla="*/ 2147483646 h 131"/>
              <a:gd name="T14" fmla="*/ 2147483646 w 191"/>
              <a:gd name="T15" fmla="*/ 2147483646 h 131"/>
              <a:gd name="T16" fmla="*/ 2147483646 w 191"/>
              <a:gd name="T17" fmla="*/ 2147483646 h 131"/>
              <a:gd name="T18" fmla="*/ 2147483646 w 191"/>
              <a:gd name="T19" fmla="*/ 2147483646 h 131"/>
              <a:gd name="T20" fmla="*/ 2147483646 w 191"/>
              <a:gd name="T21" fmla="*/ 2147483646 h 131"/>
              <a:gd name="T22" fmla="*/ 2147483646 w 191"/>
              <a:gd name="T23" fmla="*/ 2147483646 h 131"/>
              <a:gd name="T24" fmla="*/ 2147483646 w 191"/>
              <a:gd name="T25" fmla="*/ 2147483646 h 131"/>
              <a:gd name="T26" fmla="*/ 2147483646 w 191"/>
              <a:gd name="T27" fmla="*/ 2147483646 h 131"/>
              <a:gd name="T28" fmla="*/ 2147483646 w 191"/>
              <a:gd name="T29" fmla="*/ 2147483646 h 131"/>
              <a:gd name="T30" fmla="*/ 2147483646 w 191"/>
              <a:gd name="T31" fmla="*/ 2147483646 h 131"/>
              <a:gd name="T32" fmla="*/ 2147483646 w 191"/>
              <a:gd name="T33" fmla="*/ 2147483646 h 131"/>
              <a:gd name="T34" fmla="*/ 2147483646 w 191"/>
              <a:gd name="T35" fmla="*/ 2147483646 h 131"/>
              <a:gd name="T36" fmla="*/ 2147483646 w 191"/>
              <a:gd name="T37" fmla="*/ 2147483646 h 131"/>
              <a:gd name="T38" fmla="*/ 2147483646 w 191"/>
              <a:gd name="T39" fmla="*/ 2147483646 h 131"/>
              <a:gd name="T40" fmla="*/ 2147483646 w 191"/>
              <a:gd name="T41" fmla="*/ 2147483646 h 131"/>
              <a:gd name="T42" fmla="*/ 2147483646 w 191"/>
              <a:gd name="T43" fmla="*/ 2147483646 h 131"/>
              <a:gd name="T44" fmla="*/ 2147483646 w 191"/>
              <a:gd name="T45" fmla="*/ 2147483646 h 131"/>
              <a:gd name="T46" fmla="*/ 2147483646 w 191"/>
              <a:gd name="T47" fmla="*/ 2147483646 h 131"/>
              <a:gd name="T48" fmla="*/ 2147483646 w 191"/>
              <a:gd name="T49" fmla="*/ 2147483646 h 131"/>
              <a:gd name="T50" fmla="*/ 2147483646 w 191"/>
              <a:gd name="T51" fmla="*/ 2147483646 h 131"/>
              <a:gd name="T52" fmla="*/ 2147483646 w 191"/>
              <a:gd name="T53" fmla="*/ 2147483646 h 131"/>
              <a:gd name="T54" fmla="*/ 2147483646 w 191"/>
              <a:gd name="T55" fmla="*/ 2147483646 h 131"/>
              <a:gd name="T56" fmla="*/ 2147483646 w 191"/>
              <a:gd name="T57" fmla="*/ 2147483646 h 131"/>
              <a:gd name="T58" fmla="*/ 2147483646 w 191"/>
              <a:gd name="T59" fmla="*/ 2147483646 h 131"/>
              <a:gd name="T60" fmla="*/ 2147483646 w 191"/>
              <a:gd name="T61" fmla="*/ 2147483646 h 131"/>
              <a:gd name="T62" fmla="*/ 2147483646 w 191"/>
              <a:gd name="T63" fmla="*/ 2147483646 h 131"/>
              <a:gd name="T64" fmla="*/ 2147483646 w 191"/>
              <a:gd name="T65" fmla="*/ 2147483646 h 131"/>
              <a:gd name="T66" fmla="*/ 2147483646 w 191"/>
              <a:gd name="T67" fmla="*/ 2147483646 h 131"/>
              <a:gd name="T68" fmla="*/ 2147483646 w 191"/>
              <a:gd name="T69" fmla="*/ 2147483646 h 131"/>
              <a:gd name="T70" fmla="*/ 2147483646 w 191"/>
              <a:gd name="T71" fmla="*/ 2147483646 h 131"/>
              <a:gd name="T72" fmla="*/ 2147483646 w 191"/>
              <a:gd name="T73" fmla="*/ 2147483646 h 131"/>
              <a:gd name="T74" fmla="*/ 2147483646 w 191"/>
              <a:gd name="T75" fmla="*/ 2147483646 h 131"/>
              <a:gd name="T76" fmla="*/ 2147483646 w 191"/>
              <a:gd name="T77" fmla="*/ 2147483646 h 131"/>
              <a:gd name="T78" fmla="*/ 2147483646 w 191"/>
              <a:gd name="T79" fmla="*/ 2147483646 h 131"/>
              <a:gd name="T80" fmla="*/ 2147483646 w 191"/>
              <a:gd name="T81" fmla="*/ 2147483646 h 131"/>
              <a:gd name="T82" fmla="*/ 2147483646 w 191"/>
              <a:gd name="T83" fmla="*/ 2147483646 h 131"/>
              <a:gd name="T84" fmla="*/ 2147483646 w 191"/>
              <a:gd name="T85" fmla="*/ 2147483646 h 131"/>
              <a:gd name="T86" fmla="*/ 2147483646 w 191"/>
              <a:gd name="T87" fmla="*/ 2147483646 h 131"/>
              <a:gd name="T88" fmla="*/ 2147483646 w 191"/>
              <a:gd name="T89" fmla="*/ 2147483646 h 131"/>
              <a:gd name="T90" fmla="*/ 2147483646 w 191"/>
              <a:gd name="T91" fmla="*/ 2147483646 h 131"/>
              <a:gd name="T92" fmla="*/ 2147483646 w 191"/>
              <a:gd name="T93" fmla="*/ 2147483646 h 131"/>
              <a:gd name="T94" fmla="*/ 2147483646 w 191"/>
              <a:gd name="T95" fmla="*/ 2147483646 h 131"/>
              <a:gd name="T96" fmla="*/ 2147483646 w 191"/>
              <a:gd name="T97" fmla="*/ 2147483646 h 131"/>
              <a:gd name="T98" fmla="*/ 2147483646 w 191"/>
              <a:gd name="T99" fmla="*/ 2147483646 h 131"/>
              <a:gd name="T100" fmla="*/ 2147483646 w 191"/>
              <a:gd name="T101" fmla="*/ 2147483646 h 131"/>
              <a:gd name="T102" fmla="*/ 2147483646 w 191"/>
              <a:gd name="T103" fmla="*/ 2147483646 h 131"/>
              <a:gd name="T104" fmla="*/ 2147483646 w 191"/>
              <a:gd name="T105" fmla="*/ 2147483646 h 13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91" h="131">
                <a:moveTo>
                  <a:pt x="191" y="118"/>
                </a:moveTo>
                <a:lnTo>
                  <a:pt x="188" y="115"/>
                </a:lnTo>
                <a:lnTo>
                  <a:pt x="187" y="111"/>
                </a:lnTo>
                <a:lnTo>
                  <a:pt x="186" y="110"/>
                </a:lnTo>
                <a:lnTo>
                  <a:pt x="183" y="108"/>
                </a:lnTo>
                <a:lnTo>
                  <a:pt x="182" y="106"/>
                </a:lnTo>
                <a:lnTo>
                  <a:pt x="180" y="103"/>
                </a:lnTo>
                <a:lnTo>
                  <a:pt x="180" y="96"/>
                </a:lnTo>
                <a:lnTo>
                  <a:pt x="176" y="94"/>
                </a:lnTo>
                <a:lnTo>
                  <a:pt x="175" y="91"/>
                </a:lnTo>
                <a:lnTo>
                  <a:pt x="176" y="86"/>
                </a:lnTo>
                <a:lnTo>
                  <a:pt x="176" y="78"/>
                </a:lnTo>
                <a:lnTo>
                  <a:pt x="175" y="79"/>
                </a:lnTo>
                <a:lnTo>
                  <a:pt x="174" y="72"/>
                </a:lnTo>
                <a:lnTo>
                  <a:pt x="173" y="71"/>
                </a:lnTo>
                <a:lnTo>
                  <a:pt x="172" y="71"/>
                </a:lnTo>
                <a:lnTo>
                  <a:pt x="170" y="72"/>
                </a:lnTo>
                <a:lnTo>
                  <a:pt x="170" y="74"/>
                </a:lnTo>
                <a:lnTo>
                  <a:pt x="171" y="74"/>
                </a:lnTo>
                <a:lnTo>
                  <a:pt x="171" y="77"/>
                </a:lnTo>
                <a:lnTo>
                  <a:pt x="169" y="77"/>
                </a:lnTo>
                <a:lnTo>
                  <a:pt x="169" y="78"/>
                </a:lnTo>
                <a:lnTo>
                  <a:pt x="170" y="79"/>
                </a:lnTo>
                <a:lnTo>
                  <a:pt x="168" y="81"/>
                </a:lnTo>
                <a:lnTo>
                  <a:pt x="165" y="81"/>
                </a:lnTo>
                <a:lnTo>
                  <a:pt x="164" y="83"/>
                </a:lnTo>
                <a:lnTo>
                  <a:pt x="157" y="84"/>
                </a:lnTo>
                <a:lnTo>
                  <a:pt x="154" y="80"/>
                </a:lnTo>
                <a:lnTo>
                  <a:pt x="156" y="77"/>
                </a:lnTo>
                <a:lnTo>
                  <a:pt x="157" y="77"/>
                </a:lnTo>
                <a:lnTo>
                  <a:pt x="159" y="75"/>
                </a:lnTo>
                <a:lnTo>
                  <a:pt x="159" y="71"/>
                </a:lnTo>
                <a:lnTo>
                  <a:pt x="161" y="70"/>
                </a:lnTo>
                <a:lnTo>
                  <a:pt x="160" y="69"/>
                </a:lnTo>
                <a:lnTo>
                  <a:pt x="160" y="68"/>
                </a:lnTo>
                <a:lnTo>
                  <a:pt x="164" y="67"/>
                </a:lnTo>
                <a:lnTo>
                  <a:pt x="163" y="66"/>
                </a:lnTo>
                <a:lnTo>
                  <a:pt x="161" y="66"/>
                </a:lnTo>
                <a:lnTo>
                  <a:pt x="162" y="63"/>
                </a:lnTo>
                <a:lnTo>
                  <a:pt x="164" y="62"/>
                </a:lnTo>
                <a:lnTo>
                  <a:pt x="165" y="61"/>
                </a:lnTo>
                <a:lnTo>
                  <a:pt x="163" y="59"/>
                </a:lnTo>
                <a:lnTo>
                  <a:pt x="162" y="58"/>
                </a:lnTo>
                <a:lnTo>
                  <a:pt x="162" y="56"/>
                </a:lnTo>
                <a:lnTo>
                  <a:pt x="158" y="55"/>
                </a:lnTo>
                <a:lnTo>
                  <a:pt x="158" y="52"/>
                </a:lnTo>
                <a:lnTo>
                  <a:pt x="156" y="51"/>
                </a:lnTo>
                <a:lnTo>
                  <a:pt x="153" y="50"/>
                </a:lnTo>
                <a:lnTo>
                  <a:pt x="150" y="49"/>
                </a:lnTo>
                <a:lnTo>
                  <a:pt x="145" y="48"/>
                </a:lnTo>
                <a:lnTo>
                  <a:pt x="147" y="45"/>
                </a:lnTo>
                <a:lnTo>
                  <a:pt x="148" y="42"/>
                </a:lnTo>
                <a:lnTo>
                  <a:pt x="149" y="39"/>
                </a:lnTo>
                <a:lnTo>
                  <a:pt x="138" y="30"/>
                </a:lnTo>
                <a:lnTo>
                  <a:pt x="141" y="18"/>
                </a:lnTo>
                <a:lnTo>
                  <a:pt x="140" y="17"/>
                </a:lnTo>
                <a:lnTo>
                  <a:pt x="138" y="15"/>
                </a:lnTo>
                <a:lnTo>
                  <a:pt x="136" y="15"/>
                </a:lnTo>
                <a:lnTo>
                  <a:pt x="136" y="13"/>
                </a:lnTo>
                <a:lnTo>
                  <a:pt x="134" y="11"/>
                </a:lnTo>
                <a:lnTo>
                  <a:pt x="132" y="11"/>
                </a:lnTo>
                <a:lnTo>
                  <a:pt x="127" y="10"/>
                </a:lnTo>
                <a:lnTo>
                  <a:pt x="123" y="10"/>
                </a:lnTo>
                <a:lnTo>
                  <a:pt x="111" y="8"/>
                </a:lnTo>
                <a:lnTo>
                  <a:pt x="101" y="28"/>
                </a:lnTo>
                <a:lnTo>
                  <a:pt x="99" y="34"/>
                </a:lnTo>
                <a:lnTo>
                  <a:pt x="94" y="45"/>
                </a:lnTo>
                <a:lnTo>
                  <a:pt x="79" y="44"/>
                </a:lnTo>
                <a:lnTo>
                  <a:pt x="80" y="42"/>
                </a:lnTo>
                <a:lnTo>
                  <a:pt x="84" y="38"/>
                </a:lnTo>
                <a:lnTo>
                  <a:pt x="84" y="36"/>
                </a:lnTo>
                <a:lnTo>
                  <a:pt x="82" y="34"/>
                </a:lnTo>
                <a:lnTo>
                  <a:pt x="80" y="30"/>
                </a:lnTo>
                <a:lnTo>
                  <a:pt x="69" y="32"/>
                </a:lnTo>
                <a:lnTo>
                  <a:pt x="67" y="31"/>
                </a:lnTo>
                <a:lnTo>
                  <a:pt x="61" y="29"/>
                </a:lnTo>
                <a:lnTo>
                  <a:pt x="61" y="26"/>
                </a:lnTo>
                <a:lnTo>
                  <a:pt x="65" y="24"/>
                </a:lnTo>
                <a:lnTo>
                  <a:pt x="61" y="22"/>
                </a:lnTo>
                <a:lnTo>
                  <a:pt x="61" y="19"/>
                </a:lnTo>
                <a:lnTo>
                  <a:pt x="62" y="18"/>
                </a:lnTo>
                <a:lnTo>
                  <a:pt x="61" y="16"/>
                </a:lnTo>
                <a:lnTo>
                  <a:pt x="59" y="17"/>
                </a:lnTo>
                <a:lnTo>
                  <a:pt x="59" y="16"/>
                </a:lnTo>
                <a:lnTo>
                  <a:pt x="58" y="14"/>
                </a:lnTo>
                <a:lnTo>
                  <a:pt x="58" y="11"/>
                </a:lnTo>
                <a:lnTo>
                  <a:pt x="58" y="10"/>
                </a:lnTo>
                <a:lnTo>
                  <a:pt x="60" y="10"/>
                </a:lnTo>
                <a:lnTo>
                  <a:pt x="61" y="9"/>
                </a:lnTo>
                <a:lnTo>
                  <a:pt x="63" y="9"/>
                </a:lnTo>
                <a:lnTo>
                  <a:pt x="63" y="8"/>
                </a:lnTo>
                <a:lnTo>
                  <a:pt x="65" y="7"/>
                </a:lnTo>
                <a:lnTo>
                  <a:pt x="66" y="7"/>
                </a:lnTo>
                <a:lnTo>
                  <a:pt x="65" y="5"/>
                </a:lnTo>
                <a:lnTo>
                  <a:pt x="64" y="5"/>
                </a:lnTo>
                <a:lnTo>
                  <a:pt x="62" y="7"/>
                </a:lnTo>
                <a:lnTo>
                  <a:pt x="59" y="5"/>
                </a:lnTo>
                <a:lnTo>
                  <a:pt x="58" y="5"/>
                </a:lnTo>
                <a:lnTo>
                  <a:pt x="57" y="7"/>
                </a:lnTo>
                <a:lnTo>
                  <a:pt x="57" y="0"/>
                </a:lnTo>
                <a:lnTo>
                  <a:pt x="55" y="0"/>
                </a:lnTo>
                <a:lnTo>
                  <a:pt x="54" y="3"/>
                </a:lnTo>
                <a:lnTo>
                  <a:pt x="53" y="4"/>
                </a:lnTo>
                <a:lnTo>
                  <a:pt x="48" y="4"/>
                </a:lnTo>
                <a:lnTo>
                  <a:pt x="46" y="6"/>
                </a:lnTo>
                <a:lnTo>
                  <a:pt x="44" y="8"/>
                </a:lnTo>
                <a:lnTo>
                  <a:pt x="36" y="8"/>
                </a:lnTo>
                <a:lnTo>
                  <a:pt x="36" y="10"/>
                </a:lnTo>
                <a:lnTo>
                  <a:pt x="35" y="12"/>
                </a:lnTo>
                <a:lnTo>
                  <a:pt x="34" y="14"/>
                </a:lnTo>
                <a:lnTo>
                  <a:pt x="34" y="16"/>
                </a:lnTo>
                <a:lnTo>
                  <a:pt x="31" y="18"/>
                </a:lnTo>
                <a:lnTo>
                  <a:pt x="28" y="18"/>
                </a:lnTo>
                <a:lnTo>
                  <a:pt x="25" y="18"/>
                </a:lnTo>
                <a:lnTo>
                  <a:pt x="23" y="18"/>
                </a:lnTo>
                <a:lnTo>
                  <a:pt x="20" y="20"/>
                </a:lnTo>
                <a:lnTo>
                  <a:pt x="18" y="22"/>
                </a:lnTo>
                <a:lnTo>
                  <a:pt x="16" y="25"/>
                </a:lnTo>
                <a:lnTo>
                  <a:pt x="14" y="26"/>
                </a:lnTo>
                <a:lnTo>
                  <a:pt x="12" y="27"/>
                </a:lnTo>
                <a:lnTo>
                  <a:pt x="3" y="26"/>
                </a:lnTo>
                <a:lnTo>
                  <a:pt x="0" y="29"/>
                </a:lnTo>
                <a:lnTo>
                  <a:pt x="4" y="37"/>
                </a:lnTo>
                <a:lnTo>
                  <a:pt x="7" y="36"/>
                </a:lnTo>
                <a:lnTo>
                  <a:pt x="11" y="36"/>
                </a:lnTo>
                <a:lnTo>
                  <a:pt x="16" y="43"/>
                </a:lnTo>
                <a:lnTo>
                  <a:pt x="20" y="45"/>
                </a:lnTo>
                <a:lnTo>
                  <a:pt x="29" y="51"/>
                </a:lnTo>
                <a:lnTo>
                  <a:pt x="23" y="53"/>
                </a:lnTo>
                <a:lnTo>
                  <a:pt x="24" y="59"/>
                </a:lnTo>
                <a:lnTo>
                  <a:pt x="24" y="60"/>
                </a:lnTo>
                <a:lnTo>
                  <a:pt x="21" y="62"/>
                </a:lnTo>
                <a:lnTo>
                  <a:pt x="20" y="61"/>
                </a:lnTo>
                <a:lnTo>
                  <a:pt x="21" y="60"/>
                </a:lnTo>
                <a:lnTo>
                  <a:pt x="18" y="58"/>
                </a:lnTo>
                <a:lnTo>
                  <a:pt x="17" y="58"/>
                </a:lnTo>
                <a:lnTo>
                  <a:pt x="16" y="57"/>
                </a:lnTo>
                <a:lnTo>
                  <a:pt x="12" y="59"/>
                </a:lnTo>
                <a:lnTo>
                  <a:pt x="11" y="58"/>
                </a:lnTo>
                <a:lnTo>
                  <a:pt x="10" y="59"/>
                </a:lnTo>
                <a:lnTo>
                  <a:pt x="10" y="60"/>
                </a:lnTo>
                <a:lnTo>
                  <a:pt x="9" y="63"/>
                </a:lnTo>
                <a:lnTo>
                  <a:pt x="7" y="64"/>
                </a:lnTo>
                <a:lnTo>
                  <a:pt x="12" y="69"/>
                </a:lnTo>
                <a:lnTo>
                  <a:pt x="13" y="70"/>
                </a:lnTo>
                <a:lnTo>
                  <a:pt x="14" y="82"/>
                </a:lnTo>
                <a:lnTo>
                  <a:pt x="15" y="85"/>
                </a:lnTo>
                <a:lnTo>
                  <a:pt x="24" y="84"/>
                </a:lnTo>
                <a:lnTo>
                  <a:pt x="20" y="88"/>
                </a:lnTo>
                <a:lnTo>
                  <a:pt x="15" y="90"/>
                </a:lnTo>
                <a:lnTo>
                  <a:pt x="12" y="95"/>
                </a:lnTo>
                <a:lnTo>
                  <a:pt x="11" y="97"/>
                </a:lnTo>
                <a:lnTo>
                  <a:pt x="10" y="97"/>
                </a:lnTo>
                <a:lnTo>
                  <a:pt x="9" y="100"/>
                </a:lnTo>
                <a:lnTo>
                  <a:pt x="8" y="101"/>
                </a:lnTo>
                <a:lnTo>
                  <a:pt x="9" y="104"/>
                </a:lnTo>
                <a:lnTo>
                  <a:pt x="11" y="103"/>
                </a:lnTo>
                <a:lnTo>
                  <a:pt x="16" y="103"/>
                </a:lnTo>
                <a:lnTo>
                  <a:pt x="19" y="102"/>
                </a:lnTo>
                <a:lnTo>
                  <a:pt x="20" y="106"/>
                </a:lnTo>
                <a:lnTo>
                  <a:pt x="16" y="108"/>
                </a:lnTo>
                <a:lnTo>
                  <a:pt x="12" y="109"/>
                </a:lnTo>
                <a:lnTo>
                  <a:pt x="18" y="118"/>
                </a:lnTo>
                <a:lnTo>
                  <a:pt x="19" y="118"/>
                </a:lnTo>
                <a:lnTo>
                  <a:pt x="22" y="122"/>
                </a:lnTo>
                <a:lnTo>
                  <a:pt x="25" y="130"/>
                </a:lnTo>
                <a:lnTo>
                  <a:pt x="28" y="131"/>
                </a:lnTo>
                <a:lnTo>
                  <a:pt x="32" y="130"/>
                </a:lnTo>
                <a:lnTo>
                  <a:pt x="35" y="129"/>
                </a:lnTo>
                <a:lnTo>
                  <a:pt x="38" y="123"/>
                </a:lnTo>
                <a:lnTo>
                  <a:pt x="41" y="122"/>
                </a:lnTo>
                <a:lnTo>
                  <a:pt x="42" y="123"/>
                </a:lnTo>
                <a:lnTo>
                  <a:pt x="46" y="123"/>
                </a:lnTo>
                <a:lnTo>
                  <a:pt x="48" y="121"/>
                </a:lnTo>
                <a:lnTo>
                  <a:pt x="50" y="118"/>
                </a:lnTo>
                <a:lnTo>
                  <a:pt x="52" y="117"/>
                </a:lnTo>
                <a:lnTo>
                  <a:pt x="55" y="118"/>
                </a:lnTo>
                <a:lnTo>
                  <a:pt x="59" y="120"/>
                </a:lnTo>
                <a:lnTo>
                  <a:pt x="61" y="120"/>
                </a:lnTo>
                <a:lnTo>
                  <a:pt x="61" y="117"/>
                </a:lnTo>
                <a:lnTo>
                  <a:pt x="66" y="113"/>
                </a:lnTo>
                <a:lnTo>
                  <a:pt x="67" y="112"/>
                </a:lnTo>
                <a:lnTo>
                  <a:pt x="71" y="109"/>
                </a:lnTo>
                <a:lnTo>
                  <a:pt x="75" y="108"/>
                </a:lnTo>
                <a:lnTo>
                  <a:pt x="79" y="109"/>
                </a:lnTo>
                <a:lnTo>
                  <a:pt x="82" y="112"/>
                </a:lnTo>
                <a:lnTo>
                  <a:pt x="85" y="116"/>
                </a:lnTo>
                <a:lnTo>
                  <a:pt x="88" y="119"/>
                </a:lnTo>
                <a:lnTo>
                  <a:pt x="92" y="121"/>
                </a:lnTo>
                <a:lnTo>
                  <a:pt x="97" y="124"/>
                </a:lnTo>
                <a:lnTo>
                  <a:pt x="100" y="123"/>
                </a:lnTo>
                <a:lnTo>
                  <a:pt x="104" y="118"/>
                </a:lnTo>
                <a:lnTo>
                  <a:pt x="107" y="117"/>
                </a:lnTo>
                <a:lnTo>
                  <a:pt x="112" y="120"/>
                </a:lnTo>
                <a:lnTo>
                  <a:pt x="121" y="125"/>
                </a:lnTo>
                <a:lnTo>
                  <a:pt x="125" y="125"/>
                </a:lnTo>
                <a:lnTo>
                  <a:pt x="128" y="124"/>
                </a:lnTo>
                <a:lnTo>
                  <a:pt x="129" y="122"/>
                </a:lnTo>
                <a:lnTo>
                  <a:pt x="133" y="120"/>
                </a:lnTo>
                <a:lnTo>
                  <a:pt x="139" y="120"/>
                </a:lnTo>
                <a:lnTo>
                  <a:pt x="144" y="118"/>
                </a:lnTo>
                <a:lnTo>
                  <a:pt x="147" y="116"/>
                </a:lnTo>
                <a:lnTo>
                  <a:pt x="151" y="114"/>
                </a:lnTo>
                <a:lnTo>
                  <a:pt x="159" y="115"/>
                </a:lnTo>
                <a:lnTo>
                  <a:pt x="164" y="117"/>
                </a:lnTo>
                <a:lnTo>
                  <a:pt x="172" y="121"/>
                </a:lnTo>
                <a:lnTo>
                  <a:pt x="181" y="126"/>
                </a:lnTo>
                <a:lnTo>
                  <a:pt x="186" y="128"/>
                </a:lnTo>
                <a:lnTo>
                  <a:pt x="190" y="125"/>
                </a:lnTo>
                <a:lnTo>
                  <a:pt x="189" y="122"/>
                </a:lnTo>
                <a:lnTo>
                  <a:pt x="191" y="11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2" name="Freeform 170"/>
          <p:cNvSpPr>
            <a:spLocks/>
          </p:cNvSpPr>
          <p:nvPr/>
        </p:nvSpPr>
        <p:spPr bwMode="auto">
          <a:xfrm>
            <a:off x="7770813" y="2178050"/>
            <a:ext cx="239712" cy="47625"/>
          </a:xfrm>
          <a:custGeom>
            <a:avLst/>
            <a:gdLst>
              <a:gd name="T0" fmla="*/ 2147483646 w 77"/>
              <a:gd name="T1" fmla="*/ 2147483646 h 16"/>
              <a:gd name="T2" fmla="*/ 2147483646 w 77"/>
              <a:gd name="T3" fmla="*/ 2147483646 h 16"/>
              <a:gd name="T4" fmla="*/ 2147483646 w 77"/>
              <a:gd name="T5" fmla="*/ 2147483646 h 16"/>
              <a:gd name="T6" fmla="*/ 2147483646 w 77"/>
              <a:gd name="T7" fmla="*/ 2147483646 h 16"/>
              <a:gd name="T8" fmla="*/ 2147483646 w 77"/>
              <a:gd name="T9" fmla="*/ 2147483646 h 16"/>
              <a:gd name="T10" fmla="*/ 2147483646 w 77"/>
              <a:gd name="T11" fmla="*/ 2147483646 h 16"/>
              <a:gd name="T12" fmla="*/ 2147483646 w 77"/>
              <a:gd name="T13" fmla="*/ 2147483646 h 16"/>
              <a:gd name="T14" fmla="*/ 2147483646 w 77"/>
              <a:gd name="T15" fmla="*/ 2147483646 h 16"/>
              <a:gd name="T16" fmla="*/ 2147483646 w 77"/>
              <a:gd name="T17" fmla="*/ 2147483646 h 16"/>
              <a:gd name="T18" fmla="*/ 2147483646 w 77"/>
              <a:gd name="T19" fmla="*/ 2147483646 h 16"/>
              <a:gd name="T20" fmla="*/ 2147483646 w 77"/>
              <a:gd name="T21" fmla="*/ 2147483646 h 16"/>
              <a:gd name="T22" fmla="*/ 2147483646 w 77"/>
              <a:gd name="T23" fmla="*/ 2147483646 h 16"/>
              <a:gd name="T24" fmla="*/ 2147483646 w 77"/>
              <a:gd name="T25" fmla="*/ 2147483646 h 16"/>
              <a:gd name="T26" fmla="*/ 2147483646 w 77"/>
              <a:gd name="T27" fmla="*/ 2147483646 h 16"/>
              <a:gd name="T28" fmla="*/ 2147483646 w 77"/>
              <a:gd name="T29" fmla="*/ 2147483646 h 16"/>
              <a:gd name="T30" fmla="*/ 2147483646 w 77"/>
              <a:gd name="T31" fmla="*/ 2147483646 h 16"/>
              <a:gd name="T32" fmla="*/ 2147483646 w 77"/>
              <a:gd name="T33" fmla="*/ 2147483646 h 16"/>
              <a:gd name="T34" fmla="*/ 2147483646 w 77"/>
              <a:gd name="T35" fmla="*/ 2147483646 h 16"/>
              <a:gd name="T36" fmla="*/ 2147483646 w 77"/>
              <a:gd name="T37" fmla="*/ 2147483646 h 16"/>
              <a:gd name="T38" fmla="*/ 2147483646 w 77"/>
              <a:gd name="T39" fmla="*/ 2147483646 h 16"/>
              <a:gd name="T40" fmla="*/ 2147483646 w 77"/>
              <a:gd name="T41" fmla="*/ 2147483646 h 16"/>
              <a:gd name="T42" fmla="*/ 2147483646 w 77"/>
              <a:gd name="T43" fmla="*/ 0 h 16"/>
              <a:gd name="T44" fmla="*/ 2147483646 w 77"/>
              <a:gd name="T45" fmla="*/ 0 h 16"/>
              <a:gd name="T46" fmla="*/ 2147483646 w 77"/>
              <a:gd name="T47" fmla="*/ 2147483646 h 16"/>
              <a:gd name="T48" fmla="*/ 2147483646 w 77"/>
              <a:gd name="T49" fmla="*/ 2147483646 h 16"/>
              <a:gd name="T50" fmla="*/ 2147483646 w 77"/>
              <a:gd name="T51" fmla="*/ 2147483646 h 16"/>
              <a:gd name="T52" fmla="*/ 2147483646 w 77"/>
              <a:gd name="T53" fmla="*/ 0 h 16"/>
              <a:gd name="T54" fmla="*/ 2147483646 w 77"/>
              <a:gd name="T55" fmla="*/ 2147483646 h 16"/>
              <a:gd name="T56" fmla="*/ 2147483646 w 77"/>
              <a:gd name="T57" fmla="*/ 2147483646 h 16"/>
              <a:gd name="T58" fmla="*/ 2147483646 w 77"/>
              <a:gd name="T59" fmla="*/ 2147483646 h 16"/>
              <a:gd name="T60" fmla="*/ 0 w 77"/>
              <a:gd name="T61" fmla="*/ 2147483646 h 16"/>
              <a:gd name="T62" fmla="*/ 2147483646 w 77"/>
              <a:gd name="T63" fmla="*/ 2147483646 h 1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77" h="16">
                <a:moveTo>
                  <a:pt x="1" y="10"/>
                </a:moveTo>
                <a:lnTo>
                  <a:pt x="4" y="14"/>
                </a:lnTo>
                <a:lnTo>
                  <a:pt x="8" y="16"/>
                </a:lnTo>
                <a:lnTo>
                  <a:pt x="14" y="16"/>
                </a:lnTo>
                <a:lnTo>
                  <a:pt x="16" y="16"/>
                </a:lnTo>
                <a:lnTo>
                  <a:pt x="17" y="15"/>
                </a:lnTo>
                <a:lnTo>
                  <a:pt x="20" y="14"/>
                </a:lnTo>
                <a:lnTo>
                  <a:pt x="19" y="14"/>
                </a:lnTo>
                <a:lnTo>
                  <a:pt x="22" y="12"/>
                </a:lnTo>
                <a:lnTo>
                  <a:pt x="23" y="10"/>
                </a:lnTo>
                <a:lnTo>
                  <a:pt x="25" y="10"/>
                </a:lnTo>
                <a:lnTo>
                  <a:pt x="33" y="10"/>
                </a:lnTo>
                <a:lnTo>
                  <a:pt x="35" y="11"/>
                </a:lnTo>
                <a:lnTo>
                  <a:pt x="42" y="11"/>
                </a:lnTo>
                <a:lnTo>
                  <a:pt x="56" y="7"/>
                </a:lnTo>
                <a:lnTo>
                  <a:pt x="60" y="6"/>
                </a:lnTo>
                <a:lnTo>
                  <a:pt x="61" y="5"/>
                </a:lnTo>
                <a:lnTo>
                  <a:pt x="62" y="5"/>
                </a:lnTo>
                <a:lnTo>
                  <a:pt x="65" y="4"/>
                </a:lnTo>
                <a:lnTo>
                  <a:pt x="74" y="4"/>
                </a:lnTo>
                <a:lnTo>
                  <a:pt x="77" y="2"/>
                </a:lnTo>
                <a:lnTo>
                  <a:pt x="74" y="0"/>
                </a:lnTo>
                <a:lnTo>
                  <a:pt x="66" y="0"/>
                </a:lnTo>
                <a:lnTo>
                  <a:pt x="35" y="3"/>
                </a:lnTo>
                <a:lnTo>
                  <a:pt x="24" y="3"/>
                </a:lnTo>
                <a:lnTo>
                  <a:pt x="18" y="3"/>
                </a:lnTo>
                <a:lnTo>
                  <a:pt x="4" y="0"/>
                </a:lnTo>
                <a:lnTo>
                  <a:pt x="1" y="2"/>
                </a:lnTo>
                <a:lnTo>
                  <a:pt x="1" y="4"/>
                </a:lnTo>
                <a:lnTo>
                  <a:pt x="1" y="6"/>
                </a:lnTo>
                <a:lnTo>
                  <a:pt x="0" y="8"/>
                </a:lnTo>
                <a:lnTo>
                  <a:pt x="1" y="10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3" name="Freeform 171"/>
          <p:cNvSpPr>
            <a:spLocks/>
          </p:cNvSpPr>
          <p:nvPr/>
        </p:nvSpPr>
        <p:spPr bwMode="auto">
          <a:xfrm>
            <a:off x="7461250" y="2197100"/>
            <a:ext cx="284163" cy="117475"/>
          </a:xfrm>
          <a:custGeom>
            <a:avLst/>
            <a:gdLst>
              <a:gd name="T0" fmla="*/ 2147483646 w 91"/>
              <a:gd name="T1" fmla="*/ 2147483646 h 40"/>
              <a:gd name="T2" fmla="*/ 2147483646 w 91"/>
              <a:gd name="T3" fmla="*/ 2147483646 h 40"/>
              <a:gd name="T4" fmla="*/ 2147483646 w 91"/>
              <a:gd name="T5" fmla="*/ 2147483646 h 40"/>
              <a:gd name="T6" fmla="*/ 2147483646 w 91"/>
              <a:gd name="T7" fmla="*/ 2147483646 h 40"/>
              <a:gd name="T8" fmla="*/ 2147483646 w 91"/>
              <a:gd name="T9" fmla="*/ 2147483646 h 40"/>
              <a:gd name="T10" fmla="*/ 2147483646 w 91"/>
              <a:gd name="T11" fmla="*/ 2147483646 h 40"/>
              <a:gd name="T12" fmla="*/ 2147483646 w 91"/>
              <a:gd name="T13" fmla="*/ 2147483646 h 40"/>
              <a:gd name="T14" fmla="*/ 2147483646 w 91"/>
              <a:gd name="T15" fmla="*/ 2147483646 h 40"/>
              <a:gd name="T16" fmla="*/ 2147483646 w 91"/>
              <a:gd name="T17" fmla="*/ 2147483646 h 40"/>
              <a:gd name="T18" fmla="*/ 2147483646 w 91"/>
              <a:gd name="T19" fmla="*/ 2147483646 h 40"/>
              <a:gd name="T20" fmla="*/ 2147483646 w 91"/>
              <a:gd name="T21" fmla="*/ 2147483646 h 40"/>
              <a:gd name="T22" fmla="*/ 2147483646 w 91"/>
              <a:gd name="T23" fmla="*/ 2147483646 h 40"/>
              <a:gd name="T24" fmla="*/ 2147483646 w 91"/>
              <a:gd name="T25" fmla="*/ 2147483646 h 40"/>
              <a:gd name="T26" fmla="*/ 2147483646 w 91"/>
              <a:gd name="T27" fmla="*/ 2147483646 h 40"/>
              <a:gd name="T28" fmla="*/ 2147483646 w 91"/>
              <a:gd name="T29" fmla="*/ 2147483646 h 40"/>
              <a:gd name="T30" fmla="*/ 2147483646 w 91"/>
              <a:gd name="T31" fmla="*/ 2147483646 h 40"/>
              <a:gd name="T32" fmla="*/ 2147483646 w 91"/>
              <a:gd name="T33" fmla="*/ 2147483646 h 40"/>
              <a:gd name="T34" fmla="*/ 2147483646 w 91"/>
              <a:gd name="T35" fmla="*/ 2147483646 h 40"/>
              <a:gd name="T36" fmla="*/ 2147483646 w 91"/>
              <a:gd name="T37" fmla="*/ 2147483646 h 40"/>
              <a:gd name="T38" fmla="*/ 2147483646 w 91"/>
              <a:gd name="T39" fmla="*/ 2147483646 h 40"/>
              <a:gd name="T40" fmla="*/ 2147483646 w 91"/>
              <a:gd name="T41" fmla="*/ 2147483646 h 40"/>
              <a:gd name="T42" fmla="*/ 2147483646 w 91"/>
              <a:gd name="T43" fmla="*/ 2147483646 h 40"/>
              <a:gd name="T44" fmla="*/ 2147483646 w 91"/>
              <a:gd name="T45" fmla="*/ 2147483646 h 40"/>
              <a:gd name="T46" fmla="*/ 2147483646 w 91"/>
              <a:gd name="T47" fmla="*/ 2147483646 h 40"/>
              <a:gd name="T48" fmla="*/ 2147483646 w 91"/>
              <a:gd name="T49" fmla="*/ 2147483646 h 40"/>
              <a:gd name="T50" fmla="*/ 2147483646 w 91"/>
              <a:gd name="T51" fmla="*/ 2147483646 h 40"/>
              <a:gd name="T52" fmla="*/ 2147483646 w 91"/>
              <a:gd name="T53" fmla="*/ 2147483646 h 40"/>
              <a:gd name="T54" fmla="*/ 2147483646 w 91"/>
              <a:gd name="T55" fmla="*/ 2147483646 h 40"/>
              <a:gd name="T56" fmla="*/ 2147483646 w 91"/>
              <a:gd name="T57" fmla="*/ 2147483646 h 40"/>
              <a:gd name="T58" fmla="*/ 2147483646 w 91"/>
              <a:gd name="T59" fmla="*/ 2147483646 h 40"/>
              <a:gd name="T60" fmla="*/ 2147483646 w 91"/>
              <a:gd name="T61" fmla="*/ 2147483646 h 40"/>
              <a:gd name="T62" fmla="*/ 2147483646 w 91"/>
              <a:gd name="T63" fmla="*/ 2147483646 h 40"/>
              <a:gd name="T64" fmla="*/ 2147483646 w 91"/>
              <a:gd name="T65" fmla="*/ 2147483646 h 40"/>
              <a:gd name="T66" fmla="*/ 2147483646 w 91"/>
              <a:gd name="T67" fmla="*/ 2147483646 h 40"/>
              <a:gd name="T68" fmla="*/ 2147483646 w 91"/>
              <a:gd name="T69" fmla="*/ 2147483646 h 40"/>
              <a:gd name="T70" fmla="*/ 2147483646 w 91"/>
              <a:gd name="T71" fmla="*/ 2147483646 h 40"/>
              <a:gd name="T72" fmla="*/ 2147483646 w 91"/>
              <a:gd name="T73" fmla="*/ 2147483646 h 40"/>
              <a:gd name="T74" fmla="*/ 2147483646 w 91"/>
              <a:gd name="T75" fmla="*/ 2147483646 h 40"/>
              <a:gd name="T76" fmla="*/ 2147483646 w 91"/>
              <a:gd name="T77" fmla="*/ 2147483646 h 40"/>
              <a:gd name="T78" fmla="*/ 2147483646 w 91"/>
              <a:gd name="T79" fmla="*/ 2147483646 h 40"/>
              <a:gd name="T80" fmla="*/ 2147483646 w 91"/>
              <a:gd name="T81" fmla="*/ 2147483646 h 40"/>
              <a:gd name="T82" fmla="*/ 2147483646 w 91"/>
              <a:gd name="T83" fmla="*/ 2147483646 h 40"/>
              <a:gd name="T84" fmla="*/ 2147483646 w 91"/>
              <a:gd name="T85" fmla="*/ 2147483646 h 40"/>
              <a:gd name="T86" fmla="*/ 2147483646 w 91"/>
              <a:gd name="T87" fmla="*/ 2147483646 h 40"/>
              <a:gd name="T88" fmla="*/ 2147483646 w 91"/>
              <a:gd name="T89" fmla="*/ 2147483646 h 40"/>
              <a:gd name="T90" fmla="*/ 2147483646 w 91"/>
              <a:gd name="T91" fmla="*/ 2147483646 h 40"/>
              <a:gd name="T92" fmla="*/ 2147483646 w 91"/>
              <a:gd name="T93" fmla="*/ 2147483646 h 40"/>
              <a:gd name="T94" fmla="*/ 2147483646 w 91"/>
              <a:gd name="T95" fmla="*/ 2147483646 h 40"/>
              <a:gd name="T96" fmla="*/ 2147483646 w 91"/>
              <a:gd name="T97" fmla="*/ 0 h 40"/>
              <a:gd name="T98" fmla="*/ 2147483646 w 91"/>
              <a:gd name="T99" fmla="*/ 0 h 40"/>
              <a:gd name="T100" fmla="*/ 2147483646 w 91"/>
              <a:gd name="T101" fmla="*/ 2147483646 h 40"/>
              <a:gd name="T102" fmla="*/ 2147483646 w 91"/>
              <a:gd name="T103" fmla="*/ 2147483646 h 40"/>
              <a:gd name="T104" fmla="*/ 2147483646 w 91"/>
              <a:gd name="T105" fmla="*/ 2147483646 h 40"/>
              <a:gd name="T106" fmla="*/ 2147483646 w 91"/>
              <a:gd name="T107" fmla="*/ 2147483646 h 40"/>
              <a:gd name="T108" fmla="*/ 2147483646 w 91"/>
              <a:gd name="T109" fmla="*/ 2147483646 h 40"/>
              <a:gd name="T110" fmla="*/ 2147483646 w 91"/>
              <a:gd name="T111" fmla="*/ 2147483646 h 40"/>
              <a:gd name="T112" fmla="*/ 2147483646 w 91"/>
              <a:gd name="T113" fmla="*/ 2147483646 h 40"/>
              <a:gd name="T114" fmla="*/ 2147483646 w 91"/>
              <a:gd name="T115" fmla="*/ 2147483646 h 40"/>
              <a:gd name="T116" fmla="*/ 0 w 91"/>
              <a:gd name="T117" fmla="*/ 2147483646 h 40"/>
              <a:gd name="T118" fmla="*/ 0 w 91"/>
              <a:gd name="T119" fmla="*/ 2147483646 h 40"/>
              <a:gd name="T120" fmla="*/ 2147483646 w 91"/>
              <a:gd name="T121" fmla="*/ 2147483646 h 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1" h="40">
                <a:moveTo>
                  <a:pt x="1" y="37"/>
                </a:moveTo>
                <a:lnTo>
                  <a:pt x="4" y="40"/>
                </a:lnTo>
                <a:lnTo>
                  <a:pt x="6" y="40"/>
                </a:lnTo>
                <a:lnTo>
                  <a:pt x="10" y="37"/>
                </a:lnTo>
                <a:lnTo>
                  <a:pt x="10" y="36"/>
                </a:lnTo>
                <a:lnTo>
                  <a:pt x="12" y="35"/>
                </a:lnTo>
                <a:lnTo>
                  <a:pt x="13" y="36"/>
                </a:lnTo>
                <a:lnTo>
                  <a:pt x="14" y="35"/>
                </a:lnTo>
                <a:lnTo>
                  <a:pt x="22" y="29"/>
                </a:lnTo>
                <a:lnTo>
                  <a:pt x="25" y="30"/>
                </a:lnTo>
                <a:lnTo>
                  <a:pt x="26" y="29"/>
                </a:lnTo>
                <a:lnTo>
                  <a:pt x="29" y="30"/>
                </a:lnTo>
                <a:lnTo>
                  <a:pt x="33" y="29"/>
                </a:lnTo>
                <a:lnTo>
                  <a:pt x="33" y="27"/>
                </a:lnTo>
                <a:lnTo>
                  <a:pt x="33" y="28"/>
                </a:lnTo>
                <a:lnTo>
                  <a:pt x="34" y="26"/>
                </a:lnTo>
                <a:lnTo>
                  <a:pt x="37" y="27"/>
                </a:lnTo>
                <a:lnTo>
                  <a:pt x="38" y="26"/>
                </a:lnTo>
                <a:lnTo>
                  <a:pt x="40" y="26"/>
                </a:lnTo>
                <a:lnTo>
                  <a:pt x="49" y="19"/>
                </a:lnTo>
                <a:lnTo>
                  <a:pt x="53" y="18"/>
                </a:lnTo>
                <a:lnTo>
                  <a:pt x="63" y="18"/>
                </a:lnTo>
                <a:lnTo>
                  <a:pt x="65" y="18"/>
                </a:lnTo>
                <a:lnTo>
                  <a:pt x="66" y="17"/>
                </a:lnTo>
                <a:lnTo>
                  <a:pt x="67" y="17"/>
                </a:lnTo>
                <a:lnTo>
                  <a:pt x="67" y="15"/>
                </a:lnTo>
                <a:lnTo>
                  <a:pt x="65" y="14"/>
                </a:lnTo>
                <a:lnTo>
                  <a:pt x="63" y="12"/>
                </a:lnTo>
                <a:lnTo>
                  <a:pt x="64" y="12"/>
                </a:lnTo>
                <a:lnTo>
                  <a:pt x="66" y="14"/>
                </a:lnTo>
                <a:lnTo>
                  <a:pt x="69" y="14"/>
                </a:lnTo>
                <a:lnTo>
                  <a:pt x="67" y="11"/>
                </a:lnTo>
                <a:lnTo>
                  <a:pt x="68" y="12"/>
                </a:lnTo>
                <a:lnTo>
                  <a:pt x="71" y="12"/>
                </a:lnTo>
                <a:lnTo>
                  <a:pt x="72" y="12"/>
                </a:lnTo>
                <a:lnTo>
                  <a:pt x="76" y="9"/>
                </a:lnTo>
                <a:lnTo>
                  <a:pt x="79" y="9"/>
                </a:lnTo>
                <a:lnTo>
                  <a:pt x="82" y="8"/>
                </a:lnTo>
                <a:lnTo>
                  <a:pt x="84" y="6"/>
                </a:lnTo>
                <a:lnTo>
                  <a:pt x="84" y="5"/>
                </a:lnTo>
                <a:lnTo>
                  <a:pt x="85" y="4"/>
                </a:lnTo>
                <a:lnTo>
                  <a:pt x="87" y="4"/>
                </a:lnTo>
                <a:lnTo>
                  <a:pt x="87" y="3"/>
                </a:lnTo>
                <a:lnTo>
                  <a:pt x="91" y="2"/>
                </a:lnTo>
                <a:lnTo>
                  <a:pt x="91" y="1"/>
                </a:lnTo>
                <a:lnTo>
                  <a:pt x="85" y="0"/>
                </a:lnTo>
                <a:lnTo>
                  <a:pt x="80" y="0"/>
                </a:lnTo>
                <a:lnTo>
                  <a:pt x="66" y="5"/>
                </a:lnTo>
                <a:lnTo>
                  <a:pt x="36" y="14"/>
                </a:lnTo>
                <a:lnTo>
                  <a:pt x="28" y="16"/>
                </a:lnTo>
                <a:lnTo>
                  <a:pt x="21" y="18"/>
                </a:lnTo>
                <a:lnTo>
                  <a:pt x="14" y="19"/>
                </a:lnTo>
                <a:lnTo>
                  <a:pt x="10" y="19"/>
                </a:lnTo>
                <a:lnTo>
                  <a:pt x="5" y="26"/>
                </a:lnTo>
                <a:lnTo>
                  <a:pt x="1" y="30"/>
                </a:lnTo>
                <a:lnTo>
                  <a:pt x="0" y="32"/>
                </a:lnTo>
                <a:lnTo>
                  <a:pt x="0" y="37"/>
                </a:lnTo>
                <a:lnTo>
                  <a:pt x="1" y="3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4" name="Freeform 172"/>
          <p:cNvSpPr>
            <a:spLocks/>
          </p:cNvSpPr>
          <p:nvPr/>
        </p:nvSpPr>
        <p:spPr bwMode="auto">
          <a:xfrm>
            <a:off x="7596188" y="2238375"/>
            <a:ext cx="731837" cy="665163"/>
          </a:xfrm>
          <a:custGeom>
            <a:avLst/>
            <a:gdLst>
              <a:gd name="T0" fmla="*/ 2147483646 w 234"/>
              <a:gd name="T1" fmla="*/ 2147483646 h 226"/>
              <a:gd name="T2" fmla="*/ 2147483646 w 234"/>
              <a:gd name="T3" fmla="*/ 2147483646 h 226"/>
              <a:gd name="T4" fmla="*/ 2147483646 w 234"/>
              <a:gd name="T5" fmla="*/ 2147483646 h 226"/>
              <a:gd name="T6" fmla="*/ 2147483646 w 234"/>
              <a:gd name="T7" fmla="*/ 2147483646 h 226"/>
              <a:gd name="T8" fmla="*/ 2147483646 w 234"/>
              <a:gd name="T9" fmla="*/ 2147483646 h 226"/>
              <a:gd name="T10" fmla="*/ 2147483646 w 234"/>
              <a:gd name="T11" fmla="*/ 2147483646 h 226"/>
              <a:gd name="T12" fmla="*/ 2147483646 w 234"/>
              <a:gd name="T13" fmla="*/ 2147483646 h 226"/>
              <a:gd name="T14" fmla="*/ 0 w 234"/>
              <a:gd name="T15" fmla="*/ 2147483646 h 226"/>
              <a:gd name="T16" fmla="*/ 2147483646 w 234"/>
              <a:gd name="T17" fmla="*/ 2147483646 h 226"/>
              <a:gd name="T18" fmla="*/ 2147483646 w 234"/>
              <a:gd name="T19" fmla="*/ 2147483646 h 226"/>
              <a:gd name="T20" fmla="*/ 2147483646 w 234"/>
              <a:gd name="T21" fmla="*/ 2147483646 h 226"/>
              <a:gd name="T22" fmla="*/ 2147483646 w 234"/>
              <a:gd name="T23" fmla="*/ 2147483646 h 226"/>
              <a:gd name="T24" fmla="*/ 2147483646 w 234"/>
              <a:gd name="T25" fmla="*/ 2147483646 h 226"/>
              <a:gd name="T26" fmla="*/ 2147483646 w 234"/>
              <a:gd name="T27" fmla="*/ 2147483646 h 226"/>
              <a:gd name="T28" fmla="*/ 2147483646 w 234"/>
              <a:gd name="T29" fmla="*/ 2147483646 h 226"/>
              <a:gd name="T30" fmla="*/ 2147483646 w 234"/>
              <a:gd name="T31" fmla="*/ 2147483646 h 226"/>
              <a:gd name="T32" fmla="*/ 2147483646 w 234"/>
              <a:gd name="T33" fmla="*/ 2147483646 h 226"/>
              <a:gd name="T34" fmla="*/ 2147483646 w 234"/>
              <a:gd name="T35" fmla="*/ 2147483646 h 226"/>
              <a:gd name="T36" fmla="*/ 2147483646 w 234"/>
              <a:gd name="T37" fmla="*/ 2147483646 h 226"/>
              <a:gd name="T38" fmla="*/ 2147483646 w 234"/>
              <a:gd name="T39" fmla="*/ 2147483646 h 226"/>
              <a:gd name="T40" fmla="*/ 2147483646 w 234"/>
              <a:gd name="T41" fmla="*/ 2147483646 h 226"/>
              <a:gd name="T42" fmla="*/ 2147483646 w 234"/>
              <a:gd name="T43" fmla="*/ 2147483646 h 226"/>
              <a:gd name="T44" fmla="*/ 2147483646 w 234"/>
              <a:gd name="T45" fmla="*/ 2147483646 h 226"/>
              <a:gd name="T46" fmla="*/ 2147483646 w 234"/>
              <a:gd name="T47" fmla="*/ 2147483646 h 226"/>
              <a:gd name="T48" fmla="*/ 2147483646 w 234"/>
              <a:gd name="T49" fmla="*/ 2147483646 h 226"/>
              <a:gd name="T50" fmla="*/ 2147483646 w 234"/>
              <a:gd name="T51" fmla="*/ 2147483646 h 226"/>
              <a:gd name="T52" fmla="*/ 2147483646 w 234"/>
              <a:gd name="T53" fmla="*/ 2147483646 h 226"/>
              <a:gd name="T54" fmla="*/ 2147483646 w 234"/>
              <a:gd name="T55" fmla="*/ 2147483646 h 226"/>
              <a:gd name="T56" fmla="*/ 2147483646 w 234"/>
              <a:gd name="T57" fmla="*/ 2147483646 h 226"/>
              <a:gd name="T58" fmla="*/ 2147483646 w 234"/>
              <a:gd name="T59" fmla="*/ 2147483646 h 226"/>
              <a:gd name="T60" fmla="*/ 2147483646 w 234"/>
              <a:gd name="T61" fmla="*/ 2147483646 h 226"/>
              <a:gd name="T62" fmla="*/ 2147483646 w 234"/>
              <a:gd name="T63" fmla="*/ 2147483646 h 226"/>
              <a:gd name="T64" fmla="*/ 2147483646 w 234"/>
              <a:gd name="T65" fmla="*/ 2147483646 h 226"/>
              <a:gd name="T66" fmla="*/ 2147483646 w 234"/>
              <a:gd name="T67" fmla="*/ 2147483646 h 226"/>
              <a:gd name="T68" fmla="*/ 2147483646 w 234"/>
              <a:gd name="T69" fmla="*/ 2147483646 h 226"/>
              <a:gd name="T70" fmla="*/ 2147483646 w 234"/>
              <a:gd name="T71" fmla="*/ 2147483646 h 226"/>
              <a:gd name="T72" fmla="*/ 2147483646 w 234"/>
              <a:gd name="T73" fmla="*/ 2147483646 h 226"/>
              <a:gd name="T74" fmla="*/ 2147483646 w 234"/>
              <a:gd name="T75" fmla="*/ 2147483646 h 226"/>
              <a:gd name="T76" fmla="*/ 2147483646 w 234"/>
              <a:gd name="T77" fmla="*/ 2147483646 h 226"/>
              <a:gd name="T78" fmla="*/ 2147483646 w 234"/>
              <a:gd name="T79" fmla="*/ 2147483646 h 226"/>
              <a:gd name="T80" fmla="*/ 2147483646 w 234"/>
              <a:gd name="T81" fmla="*/ 2147483646 h 226"/>
              <a:gd name="T82" fmla="*/ 2147483646 w 234"/>
              <a:gd name="T83" fmla="*/ 2147483646 h 226"/>
              <a:gd name="T84" fmla="*/ 2147483646 w 234"/>
              <a:gd name="T85" fmla="*/ 2147483646 h 226"/>
              <a:gd name="T86" fmla="*/ 2147483646 w 234"/>
              <a:gd name="T87" fmla="*/ 2147483646 h 226"/>
              <a:gd name="T88" fmla="*/ 2147483646 w 234"/>
              <a:gd name="T89" fmla="*/ 2147483646 h 226"/>
              <a:gd name="T90" fmla="*/ 2147483646 w 234"/>
              <a:gd name="T91" fmla="*/ 2147483646 h 226"/>
              <a:gd name="T92" fmla="*/ 2147483646 w 234"/>
              <a:gd name="T93" fmla="*/ 2147483646 h 226"/>
              <a:gd name="T94" fmla="*/ 2147483646 w 234"/>
              <a:gd name="T95" fmla="*/ 2147483646 h 226"/>
              <a:gd name="T96" fmla="*/ 2147483646 w 234"/>
              <a:gd name="T97" fmla="*/ 2147483646 h 226"/>
              <a:gd name="T98" fmla="*/ 2147483646 w 234"/>
              <a:gd name="T99" fmla="*/ 2147483646 h 226"/>
              <a:gd name="T100" fmla="*/ 2147483646 w 234"/>
              <a:gd name="T101" fmla="*/ 2147483646 h 2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34" h="226">
                <a:moveTo>
                  <a:pt x="4" y="119"/>
                </a:moveTo>
                <a:lnTo>
                  <a:pt x="5" y="120"/>
                </a:lnTo>
                <a:lnTo>
                  <a:pt x="8" y="123"/>
                </a:lnTo>
                <a:lnTo>
                  <a:pt x="8" y="127"/>
                </a:lnTo>
                <a:lnTo>
                  <a:pt x="10" y="129"/>
                </a:lnTo>
                <a:lnTo>
                  <a:pt x="10" y="131"/>
                </a:lnTo>
                <a:lnTo>
                  <a:pt x="9" y="130"/>
                </a:lnTo>
                <a:lnTo>
                  <a:pt x="6" y="131"/>
                </a:lnTo>
                <a:lnTo>
                  <a:pt x="5" y="131"/>
                </a:lnTo>
                <a:lnTo>
                  <a:pt x="9" y="138"/>
                </a:lnTo>
                <a:lnTo>
                  <a:pt x="9" y="139"/>
                </a:lnTo>
                <a:lnTo>
                  <a:pt x="9" y="141"/>
                </a:lnTo>
                <a:lnTo>
                  <a:pt x="9" y="143"/>
                </a:lnTo>
                <a:lnTo>
                  <a:pt x="11" y="143"/>
                </a:lnTo>
                <a:lnTo>
                  <a:pt x="11" y="146"/>
                </a:lnTo>
                <a:lnTo>
                  <a:pt x="9" y="149"/>
                </a:lnTo>
                <a:lnTo>
                  <a:pt x="9" y="152"/>
                </a:lnTo>
                <a:lnTo>
                  <a:pt x="12" y="161"/>
                </a:lnTo>
                <a:lnTo>
                  <a:pt x="12" y="165"/>
                </a:lnTo>
                <a:lnTo>
                  <a:pt x="12" y="166"/>
                </a:lnTo>
                <a:lnTo>
                  <a:pt x="12" y="167"/>
                </a:lnTo>
                <a:lnTo>
                  <a:pt x="12" y="170"/>
                </a:lnTo>
                <a:lnTo>
                  <a:pt x="9" y="170"/>
                </a:lnTo>
                <a:lnTo>
                  <a:pt x="9" y="171"/>
                </a:lnTo>
                <a:lnTo>
                  <a:pt x="10" y="173"/>
                </a:lnTo>
                <a:lnTo>
                  <a:pt x="11" y="177"/>
                </a:lnTo>
                <a:lnTo>
                  <a:pt x="11" y="182"/>
                </a:lnTo>
                <a:lnTo>
                  <a:pt x="11" y="183"/>
                </a:lnTo>
                <a:lnTo>
                  <a:pt x="9" y="184"/>
                </a:lnTo>
                <a:lnTo>
                  <a:pt x="3" y="187"/>
                </a:lnTo>
                <a:lnTo>
                  <a:pt x="0" y="191"/>
                </a:lnTo>
                <a:lnTo>
                  <a:pt x="2" y="191"/>
                </a:lnTo>
                <a:lnTo>
                  <a:pt x="1" y="192"/>
                </a:lnTo>
                <a:lnTo>
                  <a:pt x="1" y="195"/>
                </a:lnTo>
                <a:lnTo>
                  <a:pt x="9" y="202"/>
                </a:lnTo>
                <a:lnTo>
                  <a:pt x="13" y="204"/>
                </a:lnTo>
                <a:lnTo>
                  <a:pt x="15" y="205"/>
                </a:lnTo>
                <a:lnTo>
                  <a:pt x="19" y="204"/>
                </a:lnTo>
                <a:lnTo>
                  <a:pt x="24" y="203"/>
                </a:lnTo>
                <a:lnTo>
                  <a:pt x="41" y="210"/>
                </a:lnTo>
                <a:lnTo>
                  <a:pt x="45" y="211"/>
                </a:lnTo>
                <a:lnTo>
                  <a:pt x="47" y="210"/>
                </a:lnTo>
                <a:lnTo>
                  <a:pt x="49" y="209"/>
                </a:lnTo>
                <a:lnTo>
                  <a:pt x="50" y="208"/>
                </a:lnTo>
                <a:lnTo>
                  <a:pt x="51" y="206"/>
                </a:lnTo>
                <a:lnTo>
                  <a:pt x="54" y="204"/>
                </a:lnTo>
                <a:lnTo>
                  <a:pt x="57" y="205"/>
                </a:lnTo>
                <a:lnTo>
                  <a:pt x="61" y="202"/>
                </a:lnTo>
                <a:lnTo>
                  <a:pt x="64" y="201"/>
                </a:lnTo>
                <a:lnTo>
                  <a:pt x="67" y="203"/>
                </a:lnTo>
                <a:lnTo>
                  <a:pt x="67" y="207"/>
                </a:lnTo>
                <a:lnTo>
                  <a:pt x="68" y="207"/>
                </a:lnTo>
                <a:lnTo>
                  <a:pt x="68" y="208"/>
                </a:lnTo>
                <a:lnTo>
                  <a:pt x="69" y="208"/>
                </a:lnTo>
                <a:lnTo>
                  <a:pt x="69" y="206"/>
                </a:lnTo>
                <a:lnTo>
                  <a:pt x="70" y="206"/>
                </a:lnTo>
                <a:lnTo>
                  <a:pt x="70" y="205"/>
                </a:lnTo>
                <a:lnTo>
                  <a:pt x="71" y="205"/>
                </a:lnTo>
                <a:lnTo>
                  <a:pt x="71" y="206"/>
                </a:lnTo>
                <a:lnTo>
                  <a:pt x="73" y="206"/>
                </a:lnTo>
                <a:lnTo>
                  <a:pt x="77" y="207"/>
                </a:lnTo>
                <a:lnTo>
                  <a:pt x="78" y="208"/>
                </a:lnTo>
                <a:lnTo>
                  <a:pt x="79" y="207"/>
                </a:lnTo>
                <a:lnTo>
                  <a:pt x="79" y="209"/>
                </a:lnTo>
                <a:lnTo>
                  <a:pt x="84" y="210"/>
                </a:lnTo>
                <a:lnTo>
                  <a:pt x="93" y="218"/>
                </a:lnTo>
                <a:lnTo>
                  <a:pt x="94" y="223"/>
                </a:lnTo>
                <a:lnTo>
                  <a:pt x="99" y="220"/>
                </a:lnTo>
                <a:lnTo>
                  <a:pt x="105" y="224"/>
                </a:lnTo>
                <a:lnTo>
                  <a:pt x="108" y="224"/>
                </a:lnTo>
                <a:lnTo>
                  <a:pt x="113" y="226"/>
                </a:lnTo>
                <a:lnTo>
                  <a:pt x="117" y="224"/>
                </a:lnTo>
                <a:lnTo>
                  <a:pt x="118" y="221"/>
                </a:lnTo>
                <a:lnTo>
                  <a:pt x="120" y="220"/>
                </a:lnTo>
                <a:lnTo>
                  <a:pt x="123" y="217"/>
                </a:lnTo>
                <a:lnTo>
                  <a:pt x="123" y="215"/>
                </a:lnTo>
                <a:lnTo>
                  <a:pt x="125" y="213"/>
                </a:lnTo>
                <a:lnTo>
                  <a:pt x="131" y="214"/>
                </a:lnTo>
                <a:lnTo>
                  <a:pt x="132" y="211"/>
                </a:lnTo>
                <a:lnTo>
                  <a:pt x="134" y="210"/>
                </a:lnTo>
                <a:lnTo>
                  <a:pt x="136" y="214"/>
                </a:lnTo>
                <a:lnTo>
                  <a:pt x="139" y="218"/>
                </a:lnTo>
                <a:lnTo>
                  <a:pt x="141" y="218"/>
                </a:lnTo>
                <a:lnTo>
                  <a:pt x="145" y="217"/>
                </a:lnTo>
                <a:lnTo>
                  <a:pt x="146" y="219"/>
                </a:lnTo>
                <a:lnTo>
                  <a:pt x="149" y="217"/>
                </a:lnTo>
                <a:lnTo>
                  <a:pt x="152" y="214"/>
                </a:lnTo>
                <a:lnTo>
                  <a:pt x="151" y="210"/>
                </a:lnTo>
                <a:lnTo>
                  <a:pt x="158" y="210"/>
                </a:lnTo>
                <a:lnTo>
                  <a:pt x="168" y="206"/>
                </a:lnTo>
                <a:lnTo>
                  <a:pt x="168" y="204"/>
                </a:lnTo>
                <a:lnTo>
                  <a:pt x="177" y="197"/>
                </a:lnTo>
                <a:lnTo>
                  <a:pt x="186" y="192"/>
                </a:lnTo>
                <a:lnTo>
                  <a:pt x="191" y="184"/>
                </a:lnTo>
                <a:lnTo>
                  <a:pt x="198" y="178"/>
                </a:lnTo>
                <a:lnTo>
                  <a:pt x="208" y="179"/>
                </a:lnTo>
                <a:lnTo>
                  <a:pt x="214" y="185"/>
                </a:lnTo>
                <a:lnTo>
                  <a:pt x="227" y="176"/>
                </a:lnTo>
                <a:lnTo>
                  <a:pt x="234" y="161"/>
                </a:lnTo>
                <a:lnTo>
                  <a:pt x="220" y="142"/>
                </a:lnTo>
                <a:lnTo>
                  <a:pt x="220" y="129"/>
                </a:lnTo>
                <a:lnTo>
                  <a:pt x="207" y="124"/>
                </a:lnTo>
                <a:lnTo>
                  <a:pt x="209" y="119"/>
                </a:lnTo>
                <a:lnTo>
                  <a:pt x="205" y="118"/>
                </a:lnTo>
                <a:lnTo>
                  <a:pt x="201" y="114"/>
                </a:lnTo>
                <a:lnTo>
                  <a:pt x="197" y="112"/>
                </a:lnTo>
                <a:lnTo>
                  <a:pt x="183" y="111"/>
                </a:lnTo>
                <a:lnTo>
                  <a:pt x="178" y="104"/>
                </a:lnTo>
                <a:lnTo>
                  <a:pt x="178" y="96"/>
                </a:lnTo>
                <a:lnTo>
                  <a:pt x="179" y="91"/>
                </a:lnTo>
                <a:lnTo>
                  <a:pt x="181" y="87"/>
                </a:lnTo>
                <a:lnTo>
                  <a:pt x="182" y="83"/>
                </a:lnTo>
                <a:lnTo>
                  <a:pt x="186" y="80"/>
                </a:lnTo>
                <a:lnTo>
                  <a:pt x="189" y="77"/>
                </a:lnTo>
                <a:lnTo>
                  <a:pt x="189" y="73"/>
                </a:lnTo>
                <a:lnTo>
                  <a:pt x="187" y="70"/>
                </a:lnTo>
                <a:lnTo>
                  <a:pt x="186" y="67"/>
                </a:lnTo>
                <a:lnTo>
                  <a:pt x="190" y="64"/>
                </a:lnTo>
                <a:lnTo>
                  <a:pt x="191" y="60"/>
                </a:lnTo>
                <a:lnTo>
                  <a:pt x="192" y="58"/>
                </a:lnTo>
                <a:lnTo>
                  <a:pt x="194" y="55"/>
                </a:lnTo>
                <a:lnTo>
                  <a:pt x="194" y="52"/>
                </a:lnTo>
                <a:lnTo>
                  <a:pt x="195" y="48"/>
                </a:lnTo>
                <a:lnTo>
                  <a:pt x="198" y="48"/>
                </a:lnTo>
                <a:lnTo>
                  <a:pt x="199" y="45"/>
                </a:lnTo>
                <a:lnTo>
                  <a:pt x="203" y="42"/>
                </a:lnTo>
                <a:lnTo>
                  <a:pt x="201" y="40"/>
                </a:lnTo>
                <a:lnTo>
                  <a:pt x="201" y="30"/>
                </a:lnTo>
                <a:lnTo>
                  <a:pt x="198" y="28"/>
                </a:lnTo>
                <a:lnTo>
                  <a:pt x="192" y="27"/>
                </a:lnTo>
                <a:lnTo>
                  <a:pt x="187" y="25"/>
                </a:lnTo>
                <a:lnTo>
                  <a:pt x="182" y="23"/>
                </a:lnTo>
                <a:lnTo>
                  <a:pt x="177" y="21"/>
                </a:lnTo>
                <a:lnTo>
                  <a:pt x="175" y="15"/>
                </a:lnTo>
                <a:lnTo>
                  <a:pt x="176" y="10"/>
                </a:lnTo>
                <a:lnTo>
                  <a:pt x="180" y="0"/>
                </a:lnTo>
                <a:lnTo>
                  <a:pt x="171" y="4"/>
                </a:lnTo>
                <a:lnTo>
                  <a:pt x="160" y="1"/>
                </a:lnTo>
                <a:lnTo>
                  <a:pt x="159" y="3"/>
                </a:lnTo>
                <a:lnTo>
                  <a:pt x="157" y="1"/>
                </a:lnTo>
                <a:lnTo>
                  <a:pt x="157" y="2"/>
                </a:lnTo>
                <a:lnTo>
                  <a:pt x="155" y="2"/>
                </a:lnTo>
                <a:lnTo>
                  <a:pt x="144" y="3"/>
                </a:lnTo>
                <a:lnTo>
                  <a:pt x="135" y="6"/>
                </a:lnTo>
                <a:lnTo>
                  <a:pt x="134" y="5"/>
                </a:lnTo>
                <a:lnTo>
                  <a:pt x="133" y="6"/>
                </a:lnTo>
                <a:lnTo>
                  <a:pt x="123" y="10"/>
                </a:lnTo>
                <a:lnTo>
                  <a:pt x="121" y="8"/>
                </a:lnTo>
                <a:lnTo>
                  <a:pt x="117" y="10"/>
                </a:lnTo>
                <a:lnTo>
                  <a:pt x="116" y="9"/>
                </a:lnTo>
                <a:lnTo>
                  <a:pt x="108" y="14"/>
                </a:lnTo>
                <a:lnTo>
                  <a:pt x="105" y="16"/>
                </a:lnTo>
                <a:lnTo>
                  <a:pt x="103" y="16"/>
                </a:lnTo>
                <a:lnTo>
                  <a:pt x="101" y="18"/>
                </a:lnTo>
                <a:lnTo>
                  <a:pt x="96" y="20"/>
                </a:lnTo>
                <a:lnTo>
                  <a:pt x="95" y="20"/>
                </a:lnTo>
                <a:lnTo>
                  <a:pt x="94" y="20"/>
                </a:lnTo>
                <a:lnTo>
                  <a:pt x="90" y="23"/>
                </a:lnTo>
                <a:lnTo>
                  <a:pt x="83" y="27"/>
                </a:lnTo>
                <a:lnTo>
                  <a:pt x="79" y="29"/>
                </a:lnTo>
                <a:lnTo>
                  <a:pt x="77" y="31"/>
                </a:lnTo>
                <a:lnTo>
                  <a:pt x="76" y="31"/>
                </a:lnTo>
                <a:lnTo>
                  <a:pt x="73" y="33"/>
                </a:lnTo>
                <a:lnTo>
                  <a:pt x="72" y="32"/>
                </a:lnTo>
                <a:lnTo>
                  <a:pt x="70" y="34"/>
                </a:lnTo>
                <a:lnTo>
                  <a:pt x="69" y="34"/>
                </a:lnTo>
                <a:lnTo>
                  <a:pt x="66" y="35"/>
                </a:lnTo>
                <a:lnTo>
                  <a:pt x="65" y="36"/>
                </a:lnTo>
                <a:lnTo>
                  <a:pt x="64" y="37"/>
                </a:lnTo>
                <a:lnTo>
                  <a:pt x="60" y="37"/>
                </a:lnTo>
                <a:lnTo>
                  <a:pt x="60" y="38"/>
                </a:lnTo>
                <a:lnTo>
                  <a:pt x="57" y="38"/>
                </a:lnTo>
                <a:lnTo>
                  <a:pt x="51" y="41"/>
                </a:lnTo>
                <a:lnTo>
                  <a:pt x="46" y="47"/>
                </a:lnTo>
                <a:lnTo>
                  <a:pt x="44" y="51"/>
                </a:lnTo>
                <a:lnTo>
                  <a:pt x="40" y="54"/>
                </a:lnTo>
                <a:lnTo>
                  <a:pt x="37" y="57"/>
                </a:lnTo>
                <a:lnTo>
                  <a:pt x="26" y="65"/>
                </a:lnTo>
                <a:lnTo>
                  <a:pt x="25" y="66"/>
                </a:lnTo>
                <a:lnTo>
                  <a:pt x="20" y="71"/>
                </a:lnTo>
                <a:lnTo>
                  <a:pt x="18" y="75"/>
                </a:lnTo>
                <a:lnTo>
                  <a:pt x="15" y="83"/>
                </a:lnTo>
                <a:lnTo>
                  <a:pt x="14" y="84"/>
                </a:lnTo>
                <a:lnTo>
                  <a:pt x="14" y="85"/>
                </a:lnTo>
                <a:lnTo>
                  <a:pt x="15" y="85"/>
                </a:lnTo>
                <a:lnTo>
                  <a:pt x="15" y="86"/>
                </a:lnTo>
                <a:lnTo>
                  <a:pt x="13" y="86"/>
                </a:lnTo>
                <a:lnTo>
                  <a:pt x="12" y="88"/>
                </a:lnTo>
                <a:lnTo>
                  <a:pt x="14" y="89"/>
                </a:lnTo>
                <a:lnTo>
                  <a:pt x="12" y="95"/>
                </a:lnTo>
                <a:lnTo>
                  <a:pt x="11" y="106"/>
                </a:lnTo>
                <a:lnTo>
                  <a:pt x="10" y="108"/>
                </a:lnTo>
                <a:lnTo>
                  <a:pt x="5" y="111"/>
                </a:lnTo>
                <a:lnTo>
                  <a:pt x="6" y="113"/>
                </a:lnTo>
                <a:lnTo>
                  <a:pt x="5" y="116"/>
                </a:lnTo>
                <a:lnTo>
                  <a:pt x="4" y="117"/>
                </a:lnTo>
                <a:lnTo>
                  <a:pt x="4" y="120"/>
                </a:lnTo>
                <a:lnTo>
                  <a:pt x="4" y="119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5" name="Freeform 173"/>
          <p:cNvSpPr>
            <a:spLocks/>
          </p:cNvSpPr>
          <p:nvPr/>
        </p:nvSpPr>
        <p:spPr bwMode="auto">
          <a:xfrm>
            <a:off x="6824663" y="4008438"/>
            <a:ext cx="61912" cy="28575"/>
          </a:xfrm>
          <a:custGeom>
            <a:avLst/>
            <a:gdLst>
              <a:gd name="T0" fmla="*/ 2147483646 w 20"/>
              <a:gd name="T1" fmla="*/ 2147483646 h 10"/>
              <a:gd name="T2" fmla="*/ 2147483646 w 20"/>
              <a:gd name="T3" fmla="*/ 0 h 10"/>
              <a:gd name="T4" fmla="*/ 0 w 20"/>
              <a:gd name="T5" fmla="*/ 0 h 10"/>
              <a:gd name="T6" fmla="*/ 0 w 20"/>
              <a:gd name="T7" fmla="*/ 2147483646 h 10"/>
              <a:gd name="T8" fmla="*/ 2147483646 w 20"/>
              <a:gd name="T9" fmla="*/ 2147483646 h 10"/>
              <a:gd name="T10" fmla="*/ 2147483646 w 20"/>
              <a:gd name="T11" fmla="*/ 2147483646 h 10"/>
              <a:gd name="T12" fmla="*/ 2147483646 w 20"/>
              <a:gd name="T13" fmla="*/ 2147483646 h 10"/>
              <a:gd name="T14" fmla="*/ 2147483646 w 20"/>
              <a:gd name="T15" fmla="*/ 2147483646 h 10"/>
              <a:gd name="T16" fmla="*/ 2147483646 w 20"/>
              <a:gd name="T17" fmla="*/ 2147483646 h 10"/>
              <a:gd name="T18" fmla="*/ 2147483646 w 20"/>
              <a:gd name="T19" fmla="*/ 2147483646 h 10"/>
              <a:gd name="T20" fmla="*/ 2147483646 w 20"/>
              <a:gd name="T21" fmla="*/ 2147483646 h 10"/>
              <a:gd name="T22" fmla="*/ 2147483646 w 20"/>
              <a:gd name="T23" fmla="*/ 2147483646 h 10"/>
              <a:gd name="T24" fmla="*/ 2147483646 w 20"/>
              <a:gd name="T25" fmla="*/ 2147483646 h 1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10">
                <a:moveTo>
                  <a:pt x="7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3" y="4"/>
                </a:lnTo>
                <a:lnTo>
                  <a:pt x="4" y="6"/>
                </a:lnTo>
                <a:lnTo>
                  <a:pt x="12" y="10"/>
                </a:lnTo>
                <a:lnTo>
                  <a:pt x="14" y="10"/>
                </a:lnTo>
                <a:lnTo>
                  <a:pt x="18" y="9"/>
                </a:lnTo>
                <a:lnTo>
                  <a:pt x="20" y="9"/>
                </a:lnTo>
                <a:lnTo>
                  <a:pt x="20" y="8"/>
                </a:lnTo>
                <a:lnTo>
                  <a:pt x="10" y="2"/>
                </a:lnTo>
                <a:lnTo>
                  <a:pt x="7" y="2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6" name="Freeform 174"/>
          <p:cNvSpPr>
            <a:spLocks/>
          </p:cNvSpPr>
          <p:nvPr/>
        </p:nvSpPr>
        <p:spPr bwMode="auto">
          <a:xfrm>
            <a:off x="6911975" y="4065588"/>
            <a:ext cx="25400" cy="20637"/>
          </a:xfrm>
          <a:custGeom>
            <a:avLst/>
            <a:gdLst>
              <a:gd name="T0" fmla="*/ 2147483646 w 8"/>
              <a:gd name="T1" fmla="*/ 2147483646 h 7"/>
              <a:gd name="T2" fmla="*/ 2147483646 w 8"/>
              <a:gd name="T3" fmla="*/ 0 h 7"/>
              <a:gd name="T4" fmla="*/ 2147483646 w 8"/>
              <a:gd name="T5" fmla="*/ 0 h 7"/>
              <a:gd name="T6" fmla="*/ 2147483646 w 8"/>
              <a:gd name="T7" fmla="*/ 2147483646 h 7"/>
              <a:gd name="T8" fmla="*/ 2147483646 w 8"/>
              <a:gd name="T9" fmla="*/ 2147483646 h 7"/>
              <a:gd name="T10" fmla="*/ 0 w 8"/>
              <a:gd name="T11" fmla="*/ 2147483646 h 7"/>
              <a:gd name="T12" fmla="*/ 0 w 8"/>
              <a:gd name="T13" fmla="*/ 2147483646 h 7"/>
              <a:gd name="T14" fmla="*/ 2147483646 w 8"/>
              <a:gd name="T15" fmla="*/ 2147483646 h 7"/>
              <a:gd name="T16" fmla="*/ 2147483646 w 8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7">
                <a:moveTo>
                  <a:pt x="4" y="3"/>
                </a:moveTo>
                <a:lnTo>
                  <a:pt x="8" y="0"/>
                </a:lnTo>
                <a:lnTo>
                  <a:pt x="3" y="3"/>
                </a:lnTo>
                <a:lnTo>
                  <a:pt x="0" y="6"/>
                </a:lnTo>
                <a:lnTo>
                  <a:pt x="0" y="7"/>
                </a:lnTo>
                <a:lnTo>
                  <a:pt x="3" y="4"/>
                </a:lnTo>
                <a:lnTo>
                  <a:pt x="4" y="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7" name="Freeform 175"/>
          <p:cNvSpPr>
            <a:spLocks/>
          </p:cNvSpPr>
          <p:nvPr/>
        </p:nvSpPr>
        <p:spPr bwMode="auto">
          <a:xfrm>
            <a:off x="6645275" y="3397250"/>
            <a:ext cx="950913" cy="668338"/>
          </a:xfrm>
          <a:custGeom>
            <a:avLst/>
            <a:gdLst>
              <a:gd name="T0" fmla="*/ 2147483646 w 303"/>
              <a:gd name="T1" fmla="*/ 2147483646 h 227"/>
              <a:gd name="T2" fmla="*/ 2147483646 w 303"/>
              <a:gd name="T3" fmla="*/ 2147483646 h 227"/>
              <a:gd name="T4" fmla="*/ 2147483646 w 303"/>
              <a:gd name="T5" fmla="*/ 2147483646 h 227"/>
              <a:gd name="T6" fmla="*/ 2147483646 w 303"/>
              <a:gd name="T7" fmla="*/ 2147483646 h 227"/>
              <a:gd name="T8" fmla="*/ 2147483646 w 303"/>
              <a:gd name="T9" fmla="*/ 2147483646 h 227"/>
              <a:gd name="T10" fmla="*/ 2147483646 w 303"/>
              <a:gd name="T11" fmla="*/ 2147483646 h 227"/>
              <a:gd name="T12" fmla="*/ 2147483646 w 303"/>
              <a:gd name="T13" fmla="*/ 2147483646 h 227"/>
              <a:gd name="T14" fmla="*/ 2147483646 w 303"/>
              <a:gd name="T15" fmla="*/ 2147483646 h 227"/>
              <a:gd name="T16" fmla="*/ 2147483646 w 303"/>
              <a:gd name="T17" fmla="*/ 2147483646 h 227"/>
              <a:gd name="T18" fmla="*/ 2147483646 w 303"/>
              <a:gd name="T19" fmla="*/ 2147483646 h 227"/>
              <a:gd name="T20" fmla="*/ 2147483646 w 303"/>
              <a:gd name="T21" fmla="*/ 2147483646 h 227"/>
              <a:gd name="T22" fmla="*/ 2147483646 w 303"/>
              <a:gd name="T23" fmla="*/ 2147483646 h 227"/>
              <a:gd name="T24" fmla="*/ 2147483646 w 303"/>
              <a:gd name="T25" fmla="*/ 2147483646 h 227"/>
              <a:gd name="T26" fmla="*/ 2147483646 w 303"/>
              <a:gd name="T27" fmla="*/ 2147483646 h 227"/>
              <a:gd name="T28" fmla="*/ 2147483646 w 303"/>
              <a:gd name="T29" fmla="*/ 2147483646 h 227"/>
              <a:gd name="T30" fmla="*/ 2147483646 w 303"/>
              <a:gd name="T31" fmla="*/ 2147483646 h 227"/>
              <a:gd name="T32" fmla="*/ 2147483646 w 303"/>
              <a:gd name="T33" fmla="*/ 2147483646 h 227"/>
              <a:gd name="T34" fmla="*/ 2147483646 w 303"/>
              <a:gd name="T35" fmla="*/ 2147483646 h 227"/>
              <a:gd name="T36" fmla="*/ 2147483646 w 303"/>
              <a:gd name="T37" fmla="*/ 2147483646 h 227"/>
              <a:gd name="T38" fmla="*/ 2147483646 w 303"/>
              <a:gd name="T39" fmla="*/ 2147483646 h 227"/>
              <a:gd name="T40" fmla="*/ 2147483646 w 303"/>
              <a:gd name="T41" fmla="*/ 2147483646 h 227"/>
              <a:gd name="T42" fmla="*/ 2147483646 w 303"/>
              <a:gd name="T43" fmla="*/ 2147483646 h 227"/>
              <a:gd name="T44" fmla="*/ 2147483646 w 303"/>
              <a:gd name="T45" fmla="*/ 2147483646 h 227"/>
              <a:gd name="T46" fmla="*/ 2147483646 w 303"/>
              <a:gd name="T47" fmla="*/ 2147483646 h 227"/>
              <a:gd name="T48" fmla="*/ 2147483646 w 303"/>
              <a:gd name="T49" fmla="*/ 2147483646 h 227"/>
              <a:gd name="T50" fmla="*/ 2147483646 w 303"/>
              <a:gd name="T51" fmla="*/ 2147483646 h 227"/>
              <a:gd name="T52" fmla="*/ 2147483646 w 303"/>
              <a:gd name="T53" fmla="*/ 2147483646 h 227"/>
              <a:gd name="T54" fmla="*/ 2147483646 w 303"/>
              <a:gd name="T55" fmla="*/ 2147483646 h 227"/>
              <a:gd name="T56" fmla="*/ 2147483646 w 303"/>
              <a:gd name="T57" fmla="*/ 2147483646 h 227"/>
              <a:gd name="T58" fmla="*/ 2147483646 w 303"/>
              <a:gd name="T59" fmla="*/ 2147483646 h 227"/>
              <a:gd name="T60" fmla="*/ 2147483646 w 303"/>
              <a:gd name="T61" fmla="*/ 2147483646 h 227"/>
              <a:gd name="T62" fmla="*/ 2147483646 w 303"/>
              <a:gd name="T63" fmla="*/ 2147483646 h 227"/>
              <a:gd name="T64" fmla="*/ 2147483646 w 303"/>
              <a:gd name="T65" fmla="*/ 2147483646 h 227"/>
              <a:gd name="T66" fmla="*/ 2147483646 w 303"/>
              <a:gd name="T67" fmla="*/ 2147483646 h 227"/>
              <a:gd name="T68" fmla="*/ 2147483646 w 303"/>
              <a:gd name="T69" fmla="*/ 2147483646 h 227"/>
              <a:gd name="T70" fmla="*/ 2147483646 w 303"/>
              <a:gd name="T71" fmla="*/ 2147483646 h 227"/>
              <a:gd name="T72" fmla="*/ 2147483646 w 303"/>
              <a:gd name="T73" fmla="*/ 2147483646 h 227"/>
              <a:gd name="T74" fmla="*/ 2147483646 w 303"/>
              <a:gd name="T75" fmla="*/ 2147483646 h 227"/>
              <a:gd name="T76" fmla="*/ 2147483646 w 303"/>
              <a:gd name="T77" fmla="*/ 2147483646 h 227"/>
              <a:gd name="T78" fmla="*/ 2147483646 w 303"/>
              <a:gd name="T79" fmla="*/ 2147483646 h 227"/>
              <a:gd name="T80" fmla="*/ 2147483646 w 303"/>
              <a:gd name="T81" fmla="*/ 2147483646 h 227"/>
              <a:gd name="T82" fmla="*/ 2147483646 w 303"/>
              <a:gd name="T83" fmla="*/ 2147483646 h 227"/>
              <a:gd name="T84" fmla="*/ 2147483646 w 303"/>
              <a:gd name="T85" fmla="*/ 2147483646 h 227"/>
              <a:gd name="T86" fmla="*/ 2147483646 w 303"/>
              <a:gd name="T87" fmla="*/ 2147483646 h 227"/>
              <a:gd name="T88" fmla="*/ 2147483646 w 303"/>
              <a:gd name="T89" fmla="*/ 2147483646 h 227"/>
              <a:gd name="T90" fmla="*/ 2147483646 w 303"/>
              <a:gd name="T91" fmla="*/ 2147483646 h 227"/>
              <a:gd name="T92" fmla="*/ 2147483646 w 303"/>
              <a:gd name="T93" fmla="*/ 2147483646 h 227"/>
              <a:gd name="T94" fmla="*/ 2147483646 w 303"/>
              <a:gd name="T95" fmla="*/ 2147483646 h 227"/>
              <a:gd name="T96" fmla="*/ 2147483646 w 303"/>
              <a:gd name="T97" fmla="*/ 2147483646 h 227"/>
              <a:gd name="T98" fmla="*/ 2147483646 w 303"/>
              <a:gd name="T99" fmla="*/ 2147483646 h 227"/>
              <a:gd name="T100" fmla="*/ 2147483646 w 303"/>
              <a:gd name="T101" fmla="*/ 2147483646 h 227"/>
              <a:gd name="T102" fmla="*/ 2147483646 w 303"/>
              <a:gd name="T103" fmla="*/ 2147483646 h 227"/>
              <a:gd name="T104" fmla="*/ 2147483646 w 303"/>
              <a:gd name="T105" fmla="*/ 2147483646 h 227"/>
              <a:gd name="T106" fmla="*/ 2147483646 w 303"/>
              <a:gd name="T107" fmla="*/ 2147483646 h 227"/>
              <a:gd name="T108" fmla="*/ 2147483646 w 303"/>
              <a:gd name="T109" fmla="*/ 2147483646 h 227"/>
              <a:gd name="T110" fmla="*/ 2147483646 w 303"/>
              <a:gd name="T111" fmla="*/ 2147483646 h 227"/>
              <a:gd name="T112" fmla="*/ 2147483646 w 303"/>
              <a:gd name="T113" fmla="*/ 2147483646 h 227"/>
              <a:gd name="T114" fmla="*/ 2147483646 w 303"/>
              <a:gd name="T115" fmla="*/ 2147483646 h 227"/>
              <a:gd name="T116" fmla="*/ 2147483646 w 303"/>
              <a:gd name="T117" fmla="*/ 2147483646 h 227"/>
              <a:gd name="T118" fmla="*/ 2147483646 w 303"/>
              <a:gd name="T119" fmla="*/ 2147483646 h 227"/>
              <a:gd name="T120" fmla="*/ 2147483646 w 303"/>
              <a:gd name="T121" fmla="*/ 2147483646 h 227"/>
              <a:gd name="T122" fmla="*/ 2147483646 w 303"/>
              <a:gd name="T123" fmla="*/ 2147483646 h 227"/>
              <a:gd name="T124" fmla="*/ 2147483646 w 303"/>
              <a:gd name="T125" fmla="*/ 2147483646 h 22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303" h="227">
                <a:moveTo>
                  <a:pt x="270" y="186"/>
                </a:moveTo>
                <a:lnTo>
                  <a:pt x="270" y="186"/>
                </a:lnTo>
                <a:lnTo>
                  <a:pt x="273" y="187"/>
                </a:lnTo>
                <a:lnTo>
                  <a:pt x="274" y="188"/>
                </a:lnTo>
                <a:lnTo>
                  <a:pt x="275" y="189"/>
                </a:lnTo>
                <a:lnTo>
                  <a:pt x="277" y="189"/>
                </a:lnTo>
                <a:lnTo>
                  <a:pt x="278" y="189"/>
                </a:lnTo>
                <a:lnTo>
                  <a:pt x="287" y="185"/>
                </a:lnTo>
                <a:lnTo>
                  <a:pt x="289" y="183"/>
                </a:lnTo>
                <a:lnTo>
                  <a:pt x="292" y="181"/>
                </a:lnTo>
                <a:lnTo>
                  <a:pt x="294" y="179"/>
                </a:lnTo>
                <a:lnTo>
                  <a:pt x="295" y="176"/>
                </a:lnTo>
                <a:lnTo>
                  <a:pt x="296" y="173"/>
                </a:lnTo>
                <a:lnTo>
                  <a:pt x="297" y="171"/>
                </a:lnTo>
                <a:lnTo>
                  <a:pt x="297" y="167"/>
                </a:lnTo>
                <a:lnTo>
                  <a:pt x="297" y="164"/>
                </a:lnTo>
                <a:lnTo>
                  <a:pt x="297" y="158"/>
                </a:lnTo>
                <a:lnTo>
                  <a:pt x="296" y="153"/>
                </a:lnTo>
                <a:lnTo>
                  <a:pt x="295" y="148"/>
                </a:lnTo>
                <a:lnTo>
                  <a:pt x="295" y="145"/>
                </a:lnTo>
                <a:lnTo>
                  <a:pt x="295" y="143"/>
                </a:lnTo>
                <a:lnTo>
                  <a:pt x="296" y="140"/>
                </a:lnTo>
                <a:lnTo>
                  <a:pt x="297" y="137"/>
                </a:lnTo>
                <a:lnTo>
                  <a:pt x="299" y="135"/>
                </a:lnTo>
                <a:lnTo>
                  <a:pt x="302" y="132"/>
                </a:lnTo>
                <a:lnTo>
                  <a:pt x="303" y="130"/>
                </a:lnTo>
                <a:lnTo>
                  <a:pt x="299" y="132"/>
                </a:lnTo>
                <a:lnTo>
                  <a:pt x="298" y="134"/>
                </a:lnTo>
                <a:lnTo>
                  <a:pt x="295" y="135"/>
                </a:lnTo>
                <a:lnTo>
                  <a:pt x="291" y="135"/>
                </a:lnTo>
                <a:lnTo>
                  <a:pt x="282" y="130"/>
                </a:lnTo>
                <a:lnTo>
                  <a:pt x="277" y="127"/>
                </a:lnTo>
                <a:lnTo>
                  <a:pt x="274" y="128"/>
                </a:lnTo>
                <a:lnTo>
                  <a:pt x="270" y="133"/>
                </a:lnTo>
                <a:lnTo>
                  <a:pt x="267" y="134"/>
                </a:lnTo>
                <a:lnTo>
                  <a:pt x="262" y="131"/>
                </a:lnTo>
                <a:lnTo>
                  <a:pt x="258" y="129"/>
                </a:lnTo>
                <a:lnTo>
                  <a:pt x="255" y="126"/>
                </a:lnTo>
                <a:lnTo>
                  <a:pt x="252" y="122"/>
                </a:lnTo>
                <a:lnTo>
                  <a:pt x="249" y="119"/>
                </a:lnTo>
                <a:lnTo>
                  <a:pt x="245" y="118"/>
                </a:lnTo>
                <a:lnTo>
                  <a:pt x="241" y="119"/>
                </a:lnTo>
                <a:lnTo>
                  <a:pt x="237" y="122"/>
                </a:lnTo>
                <a:lnTo>
                  <a:pt x="236" y="123"/>
                </a:lnTo>
                <a:lnTo>
                  <a:pt x="231" y="127"/>
                </a:lnTo>
                <a:lnTo>
                  <a:pt x="231" y="130"/>
                </a:lnTo>
                <a:lnTo>
                  <a:pt x="229" y="130"/>
                </a:lnTo>
                <a:lnTo>
                  <a:pt x="225" y="128"/>
                </a:lnTo>
                <a:lnTo>
                  <a:pt x="222" y="127"/>
                </a:lnTo>
                <a:lnTo>
                  <a:pt x="220" y="128"/>
                </a:lnTo>
                <a:lnTo>
                  <a:pt x="218" y="131"/>
                </a:lnTo>
                <a:lnTo>
                  <a:pt x="216" y="133"/>
                </a:lnTo>
                <a:lnTo>
                  <a:pt x="212" y="133"/>
                </a:lnTo>
                <a:lnTo>
                  <a:pt x="211" y="132"/>
                </a:lnTo>
                <a:lnTo>
                  <a:pt x="208" y="133"/>
                </a:lnTo>
                <a:lnTo>
                  <a:pt x="205" y="139"/>
                </a:lnTo>
                <a:lnTo>
                  <a:pt x="202" y="140"/>
                </a:lnTo>
                <a:lnTo>
                  <a:pt x="198" y="141"/>
                </a:lnTo>
                <a:lnTo>
                  <a:pt x="195" y="140"/>
                </a:lnTo>
                <a:lnTo>
                  <a:pt x="192" y="132"/>
                </a:lnTo>
                <a:lnTo>
                  <a:pt x="189" y="128"/>
                </a:lnTo>
                <a:lnTo>
                  <a:pt x="188" y="128"/>
                </a:lnTo>
                <a:lnTo>
                  <a:pt x="182" y="119"/>
                </a:lnTo>
                <a:lnTo>
                  <a:pt x="186" y="118"/>
                </a:lnTo>
                <a:lnTo>
                  <a:pt x="190" y="116"/>
                </a:lnTo>
                <a:lnTo>
                  <a:pt x="189" y="112"/>
                </a:lnTo>
                <a:lnTo>
                  <a:pt x="186" y="113"/>
                </a:lnTo>
                <a:lnTo>
                  <a:pt x="181" y="113"/>
                </a:lnTo>
                <a:lnTo>
                  <a:pt x="179" y="114"/>
                </a:lnTo>
                <a:lnTo>
                  <a:pt x="178" y="111"/>
                </a:lnTo>
                <a:lnTo>
                  <a:pt x="179" y="110"/>
                </a:lnTo>
                <a:lnTo>
                  <a:pt x="180" y="107"/>
                </a:lnTo>
                <a:lnTo>
                  <a:pt x="181" y="107"/>
                </a:lnTo>
                <a:lnTo>
                  <a:pt x="182" y="105"/>
                </a:lnTo>
                <a:lnTo>
                  <a:pt x="185" y="100"/>
                </a:lnTo>
                <a:lnTo>
                  <a:pt x="190" y="98"/>
                </a:lnTo>
                <a:lnTo>
                  <a:pt x="194" y="94"/>
                </a:lnTo>
                <a:lnTo>
                  <a:pt x="185" y="95"/>
                </a:lnTo>
                <a:lnTo>
                  <a:pt x="184" y="92"/>
                </a:lnTo>
                <a:lnTo>
                  <a:pt x="183" y="80"/>
                </a:lnTo>
                <a:lnTo>
                  <a:pt x="182" y="79"/>
                </a:lnTo>
                <a:lnTo>
                  <a:pt x="177" y="74"/>
                </a:lnTo>
                <a:lnTo>
                  <a:pt x="179" y="73"/>
                </a:lnTo>
                <a:lnTo>
                  <a:pt x="180" y="70"/>
                </a:lnTo>
                <a:lnTo>
                  <a:pt x="180" y="69"/>
                </a:lnTo>
                <a:lnTo>
                  <a:pt x="181" y="68"/>
                </a:lnTo>
                <a:lnTo>
                  <a:pt x="182" y="69"/>
                </a:lnTo>
                <a:lnTo>
                  <a:pt x="186" y="67"/>
                </a:lnTo>
                <a:lnTo>
                  <a:pt x="187" y="68"/>
                </a:lnTo>
                <a:lnTo>
                  <a:pt x="188" y="68"/>
                </a:lnTo>
                <a:lnTo>
                  <a:pt x="191" y="70"/>
                </a:lnTo>
                <a:lnTo>
                  <a:pt x="190" y="71"/>
                </a:lnTo>
                <a:lnTo>
                  <a:pt x="191" y="72"/>
                </a:lnTo>
                <a:lnTo>
                  <a:pt x="194" y="70"/>
                </a:lnTo>
                <a:lnTo>
                  <a:pt x="194" y="69"/>
                </a:lnTo>
                <a:lnTo>
                  <a:pt x="193" y="63"/>
                </a:lnTo>
                <a:lnTo>
                  <a:pt x="199" y="61"/>
                </a:lnTo>
                <a:lnTo>
                  <a:pt x="190" y="55"/>
                </a:lnTo>
                <a:lnTo>
                  <a:pt x="186" y="53"/>
                </a:lnTo>
                <a:lnTo>
                  <a:pt x="181" y="46"/>
                </a:lnTo>
                <a:lnTo>
                  <a:pt x="177" y="46"/>
                </a:lnTo>
                <a:lnTo>
                  <a:pt x="174" y="47"/>
                </a:lnTo>
                <a:lnTo>
                  <a:pt x="170" y="39"/>
                </a:lnTo>
                <a:lnTo>
                  <a:pt x="169" y="40"/>
                </a:lnTo>
                <a:lnTo>
                  <a:pt x="164" y="41"/>
                </a:lnTo>
                <a:lnTo>
                  <a:pt x="163" y="44"/>
                </a:lnTo>
                <a:lnTo>
                  <a:pt x="160" y="43"/>
                </a:lnTo>
                <a:lnTo>
                  <a:pt x="160" y="35"/>
                </a:lnTo>
                <a:lnTo>
                  <a:pt x="155" y="35"/>
                </a:lnTo>
                <a:lnTo>
                  <a:pt x="153" y="36"/>
                </a:lnTo>
                <a:lnTo>
                  <a:pt x="150" y="37"/>
                </a:lnTo>
                <a:lnTo>
                  <a:pt x="147" y="36"/>
                </a:lnTo>
                <a:lnTo>
                  <a:pt x="143" y="39"/>
                </a:lnTo>
                <a:lnTo>
                  <a:pt x="138" y="41"/>
                </a:lnTo>
                <a:lnTo>
                  <a:pt x="132" y="41"/>
                </a:lnTo>
                <a:lnTo>
                  <a:pt x="127" y="40"/>
                </a:lnTo>
                <a:lnTo>
                  <a:pt x="123" y="40"/>
                </a:lnTo>
                <a:lnTo>
                  <a:pt x="122" y="38"/>
                </a:lnTo>
                <a:lnTo>
                  <a:pt x="123" y="36"/>
                </a:lnTo>
                <a:lnTo>
                  <a:pt x="124" y="34"/>
                </a:lnTo>
                <a:lnTo>
                  <a:pt x="125" y="29"/>
                </a:lnTo>
                <a:lnTo>
                  <a:pt x="126" y="22"/>
                </a:lnTo>
                <a:lnTo>
                  <a:pt x="130" y="18"/>
                </a:lnTo>
                <a:lnTo>
                  <a:pt x="132" y="12"/>
                </a:lnTo>
                <a:lnTo>
                  <a:pt x="134" y="5"/>
                </a:lnTo>
                <a:lnTo>
                  <a:pt x="132" y="4"/>
                </a:lnTo>
                <a:lnTo>
                  <a:pt x="130" y="5"/>
                </a:lnTo>
                <a:lnTo>
                  <a:pt x="126" y="4"/>
                </a:lnTo>
                <a:lnTo>
                  <a:pt x="125" y="6"/>
                </a:lnTo>
                <a:lnTo>
                  <a:pt x="111" y="0"/>
                </a:lnTo>
                <a:lnTo>
                  <a:pt x="104" y="14"/>
                </a:lnTo>
                <a:lnTo>
                  <a:pt x="91" y="38"/>
                </a:lnTo>
                <a:lnTo>
                  <a:pt x="84" y="50"/>
                </a:lnTo>
                <a:lnTo>
                  <a:pt x="71" y="68"/>
                </a:lnTo>
                <a:lnTo>
                  <a:pt x="68" y="71"/>
                </a:lnTo>
                <a:lnTo>
                  <a:pt x="57" y="82"/>
                </a:lnTo>
                <a:lnTo>
                  <a:pt x="54" y="86"/>
                </a:lnTo>
                <a:lnTo>
                  <a:pt x="44" y="98"/>
                </a:lnTo>
                <a:lnTo>
                  <a:pt x="43" y="99"/>
                </a:lnTo>
                <a:lnTo>
                  <a:pt x="34" y="109"/>
                </a:lnTo>
                <a:lnTo>
                  <a:pt x="28" y="117"/>
                </a:lnTo>
                <a:lnTo>
                  <a:pt x="20" y="123"/>
                </a:lnTo>
                <a:lnTo>
                  <a:pt x="6" y="122"/>
                </a:lnTo>
                <a:lnTo>
                  <a:pt x="4" y="122"/>
                </a:lnTo>
                <a:lnTo>
                  <a:pt x="3" y="124"/>
                </a:lnTo>
                <a:lnTo>
                  <a:pt x="0" y="129"/>
                </a:lnTo>
                <a:lnTo>
                  <a:pt x="1" y="131"/>
                </a:lnTo>
                <a:lnTo>
                  <a:pt x="4" y="134"/>
                </a:lnTo>
                <a:lnTo>
                  <a:pt x="4" y="137"/>
                </a:lnTo>
                <a:lnTo>
                  <a:pt x="5" y="143"/>
                </a:lnTo>
                <a:lnTo>
                  <a:pt x="5" y="144"/>
                </a:lnTo>
                <a:lnTo>
                  <a:pt x="5" y="145"/>
                </a:lnTo>
                <a:lnTo>
                  <a:pt x="7" y="148"/>
                </a:lnTo>
                <a:lnTo>
                  <a:pt x="8" y="145"/>
                </a:lnTo>
                <a:lnTo>
                  <a:pt x="11" y="148"/>
                </a:lnTo>
                <a:lnTo>
                  <a:pt x="5" y="158"/>
                </a:lnTo>
                <a:lnTo>
                  <a:pt x="12" y="169"/>
                </a:lnTo>
                <a:lnTo>
                  <a:pt x="13" y="171"/>
                </a:lnTo>
                <a:lnTo>
                  <a:pt x="12" y="174"/>
                </a:lnTo>
                <a:lnTo>
                  <a:pt x="10" y="177"/>
                </a:lnTo>
                <a:lnTo>
                  <a:pt x="11" y="178"/>
                </a:lnTo>
                <a:lnTo>
                  <a:pt x="13" y="176"/>
                </a:lnTo>
                <a:lnTo>
                  <a:pt x="15" y="175"/>
                </a:lnTo>
                <a:lnTo>
                  <a:pt x="18" y="179"/>
                </a:lnTo>
                <a:lnTo>
                  <a:pt x="22" y="180"/>
                </a:lnTo>
                <a:lnTo>
                  <a:pt x="24" y="182"/>
                </a:lnTo>
                <a:lnTo>
                  <a:pt x="25" y="181"/>
                </a:lnTo>
                <a:lnTo>
                  <a:pt x="26" y="181"/>
                </a:lnTo>
                <a:lnTo>
                  <a:pt x="26" y="182"/>
                </a:lnTo>
                <a:lnTo>
                  <a:pt x="26" y="183"/>
                </a:lnTo>
                <a:lnTo>
                  <a:pt x="28" y="182"/>
                </a:lnTo>
                <a:lnTo>
                  <a:pt x="32" y="182"/>
                </a:lnTo>
                <a:lnTo>
                  <a:pt x="33" y="183"/>
                </a:lnTo>
                <a:lnTo>
                  <a:pt x="39" y="188"/>
                </a:lnTo>
                <a:lnTo>
                  <a:pt x="44" y="190"/>
                </a:lnTo>
                <a:lnTo>
                  <a:pt x="47" y="193"/>
                </a:lnTo>
                <a:lnTo>
                  <a:pt x="48" y="194"/>
                </a:lnTo>
                <a:lnTo>
                  <a:pt x="52" y="196"/>
                </a:lnTo>
                <a:lnTo>
                  <a:pt x="52" y="197"/>
                </a:lnTo>
                <a:lnTo>
                  <a:pt x="51" y="197"/>
                </a:lnTo>
                <a:lnTo>
                  <a:pt x="50" y="197"/>
                </a:lnTo>
                <a:lnTo>
                  <a:pt x="53" y="202"/>
                </a:lnTo>
                <a:lnTo>
                  <a:pt x="54" y="203"/>
                </a:lnTo>
                <a:lnTo>
                  <a:pt x="63" y="205"/>
                </a:lnTo>
                <a:lnTo>
                  <a:pt x="70" y="208"/>
                </a:lnTo>
                <a:lnTo>
                  <a:pt x="71" y="209"/>
                </a:lnTo>
                <a:lnTo>
                  <a:pt x="89" y="219"/>
                </a:lnTo>
                <a:lnTo>
                  <a:pt x="93" y="220"/>
                </a:lnTo>
                <a:lnTo>
                  <a:pt x="97" y="221"/>
                </a:lnTo>
                <a:lnTo>
                  <a:pt x="104" y="223"/>
                </a:lnTo>
                <a:lnTo>
                  <a:pt x="114" y="227"/>
                </a:lnTo>
                <a:lnTo>
                  <a:pt x="118" y="227"/>
                </a:lnTo>
                <a:lnTo>
                  <a:pt x="134" y="221"/>
                </a:lnTo>
                <a:lnTo>
                  <a:pt x="136" y="219"/>
                </a:lnTo>
                <a:lnTo>
                  <a:pt x="138" y="216"/>
                </a:lnTo>
                <a:lnTo>
                  <a:pt x="139" y="217"/>
                </a:lnTo>
                <a:lnTo>
                  <a:pt x="138" y="219"/>
                </a:lnTo>
                <a:lnTo>
                  <a:pt x="139" y="220"/>
                </a:lnTo>
                <a:lnTo>
                  <a:pt x="141" y="219"/>
                </a:lnTo>
                <a:lnTo>
                  <a:pt x="143" y="217"/>
                </a:lnTo>
                <a:lnTo>
                  <a:pt x="143" y="215"/>
                </a:lnTo>
                <a:lnTo>
                  <a:pt x="146" y="210"/>
                </a:lnTo>
                <a:lnTo>
                  <a:pt x="148" y="208"/>
                </a:lnTo>
                <a:lnTo>
                  <a:pt x="151" y="206"/>
                </a:lnTo>
                <a:lnTo>
                  <a:pt x="152" y="208"/>
                </a:lnTo>
                <a:lnTo>
                  <a:pt x="150" y="209"/>
                </a:lnTo>
                <a:lnTo>
                  <a:pt x="149" y="211"/>
                </a:lnTo>
                <a:lnTo>
                  <a:pt x="149" y="212"/>
                </a:lnTo>
                <a:lnTo>
                  <a:pt x="151" y="212"/>
                </a:lnTo>
                <a:lnTo>
                  <a:pt x="152" y="214"/>
                </a:lnTo>
                <a:lnTo>
                  <a:pt x="154" y="214"/>
                </a:lnTo>
                <a:lnTo>
                  <a:pt x="158" y="212"/>
                </a:lnTo>
                <a:lnTo>
                  <a:pt x="159" y="212"/>
                </a:lnTo>
                <a:lnTo>
                  <a:pt x="162" y="210"/>
                </a:lnTo>
                <a:lnTo>
                  <a:pt x="164" y="208"/>
                </a:lnTo>
                <a:lnTo>
                  <a:pt x="166" y="204"/>
                </a:lnTo>
                <a:lnTo>
                  <a:pt x="167" y="197"/>
                </a:lnTo>
                <a:lnTo>
                  <a:pt x="170" y="195"/>
                </a:lnTo>
                <a:lnTo>
                  <a:pt x="172" y="193"/>
                </a:lnTo>
                <a:lnTo>
                  <a:pt x="174" y="193"/>
                </a:lnTo>
                <a:lnTo>
                  <a:pt x="179" y="191"/>
                </a:lnTo>
                <a:lnTo>
                  <a:pt x="185" y="192"/>
                </a:lnTo>
                <a:lnTo>
                  <a:pt x="189" y="191"/>
                </a:lnTo>
                <a:lnTo>
                  <a:pt x="192" y="189"/>
                </a:lnTo>
                <a:lnTo>
                  <a:pt x="195" y="186"/>
                </a:lnTo>
                <a:lnTo>
                  <a:pt x="198" y="184"/>
                </a:lnTo>
                <a:lnTo>
                  <a:pt x="198" y="183"/>
                </a:lnTo>
                <a:lnTo>
                  <a:pt x="202" y="182"/>
                </a:lnTo>
                <a:lnTo>
                  <a:pt x="207" y="181"/>
                </a:lnTo>
                <a:lnTo>
                  <a:pt x="211" y="182"/>
                </a:lnTo>
                <a:lnTo>
                  <a:pt x="221" y="184"/>
                </a:lnTo>
                <a:lnTo>
                  <a:pt x="224" y="187"/>
                </a:lnTo>
                <a:lnTo>
                  <a:pt x="233" y="193"/>
                </a:lnTo>
                <a:lnTo>
                  <a:pt x="236" y="198"/>
                </a:lnTo>
                <a:lnTo>
                  <a:pt x="237" y="199"/>
                </a:lnTo>
                <a:lnTo>
                  <a:pt x="243" y="196"/>
                </a:lnTo>
                <a:lnTo>
                  <a:pt x="244" y="197"/>
                </a:lnTo>
                <a:lnTo>
                  <a:pt x="249" y="193"/>
                </a:lnTo>
                <a:lnTo>
                  <a:pt x="256" y="189"/>
                </a:lnTo>
                <a:lnTo>
                  <a:pt x="260" y="188"/>
                </a:lnTo>
                <a:lnTo>
                  <a:pt x="263" y="186"/>
                </a:lnTo>
                <a:lnTo>
                  <a:pt x="267" y="186"/>
                </a:lnTo>
                <a:lnTo>
                  <a:pt x="269" y="186"/>
                </a:lnTo>
                <a:lnTo>
                  <a:pt x="270" y="18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8" name="Freeform 176"/>
          <p:cNvSpPr>
            <a:spLocks/>
          </p:cNvSpPr>
          <p:nvPr/>
        </p:nvSpPr>
        <p:spPr bwMode="auto">
          <a:xfrm>
            <a:off x="7150100" y="2482850"/>
            <a:ext cx="138113" cy="207963"/>
          </a:xfrm>
          <a:custGeom>
            <a:avLst/>
            <a:gdLst>
              <a:gd name="T0" fmla="*/ 2147483646 w 44"/>
              <a:gd name="T1" fmla="*/ 2147483646 h 71"/>
              <a:gd name="T2" fmla="*/ 2147483646 w 44"/>
              <a:gd name="T3" fmla="*/ 2147483646 h 71"/>
              <a:gd name="T4" fmla="*/ 2147483646 w 44"/>
              <a:gd name="T5" fmla="*/ 2147483646 h 71"/>
              <a:gd name="T6" fmla="*/ 2147483646 w 44"/>
              <a:gd name="T7" fmla="*/ 2147483646 h 71"/>
              <a:gd name="T8" fmla="*/ 2147483646 w 44"/>
              <a:gd name="T9" fmla="*/ 2147483646 h 71"/>
              <a:gd name="T10" fmla="*/ 2147483646 w 44"/>
              <a:gd name="T11" fmla="*/ 2147483646 h 71"/>
              <a:gd name="T12" fmla="*/ 2147483646 w 44"/>
              <a:gd name="T13" fmla="*/ 2147483646 h 71"/>
              <a:gd name="T14" fmla="*/ 2147483646 w 44"/>
              <a:gd name="T15" fmla="*/ 2147483646 h 71"/>
              <a:gd name="T16" fmla="*/ 2147483646 w 44"/>
              <a:gd name="T17" fmla="*/ 2147483646 h 71"/>
              <a:gd name="T18" fmla="*/ 2147483646 w 44"/>
              <a:gd name="T19" fmla="*/ 2147483646 h 71"/>
              <a:gd name="T20" fmla="*/ 2147483646 w 44"/>
              <a:gd name="T21" fmla="*/ 2147483646 h 71"/>
              <a:gd name="T22" fmla="*/ 2147483646 w 44"/>
              <a:gd name="T23" fmla="*/ 2147483646 h 71"/>
              <a:gd name="T24" fmla="*/ 2147483646 w 44"/>
              <a:gd name="T25" fmla="*/ 2147483646 h 71"/>
              <a:gd name="T26" fmla="*/ 2147483646 w 44"/>
              <a:gd name="T27" fmla="*/ 2147483646 h 71"/>
              <a:gd name="T28" fmla="*/ 2147483646 w 44"/>
              <a:gd name="T29" fmla="*/ 2147483646 h 71"/>
              <a:gd name="T30" fmla="*/ 2147483646 w 44"/>
              <a:gd name="T31" fmla="*/ 2147483646 h 71"/>
              <a:gd name="T32" fmla="*/ 2147483646 w 44"/>
              <a:gd name="T33" fmla="*/ 2147483646 h 71"/>
              <a:gd name="T34" fmla="*/ 2147483646 w 44"/>
              <a:gd name="T35" fmla="*/ 2147483646 h 71"/>
              <a:gd name="T36" fmla="*/ 2147483646 w 44"/>
              <a:gd name="T37" fmla="*/ 2147483646 h 71"/>
              <a:gd name="T38" fmla="*/ 2147483646 w 44"/>
              <a:gd name="T39" fmla="*/ 2147483646 h 71"/>
              <a:gd name="T40" fmla="*/ 2147483646 w 44"/>
              <a:gd name="T41" fmla="*/ 2147483646 h 71"/>
              <a:gd name="T42" fmla="*/ 2147483646 w 44"/>
              <a:gd name="T43" fmla="*/ 2147483646 h 71"/>
              <a:gd name="T44" fmla="*/ 2147483646 w 44"/>
              <a:gd name="T45" fmla="*/ 2147483646 h 71"/>
              <a:gd name="T46" fmla="*/ 2147483646 w 44"/>
              <a:gd name="T47" fmla="*/ 2147483646 h 71"/>
              <a:gd name="T48" fmla="*/ 2147483646 w 44"/>
              <a:gd name="T49" fmla="*/ 2147483646 h 71"/>
              <a:gd name="T50" fmla="*/ 2147483646 w 44"/>
              <a:gd name="T51" fmla="*/ 2147483646 h 71"/>
              <a:gd name="T52" fmla="*/ 2147483646 w 44"/>
              <a:gd name="T53" fmla="*/ 2147483646 h 71"/>
              <a:gd name="T54" fmla="*/ 2147483646 w 44"/>
              <a:gd name="T55" fmla="*/ 2147483646 h 71"/>
              <a:gd name="T56" fmla="*/ 2147483646 w 44"/>
              <a:gd name="T57" fmla="*/ 2147483646 h 71"/>
              <a:gd name="T58" fmla="*/ 2147483646 w 44"/>
              <a:gd name="T59" fmla="*/ 2147483646 h 71"/>
              <a:gd name="T60" fmla="*/ 2147483646 w 44"/>
              <a:gd name="T61" fmla="*/ 2147483646 h 71"/>
              <a:gd name="T62" fmla="*/ 2147483646 w 44"/>
              <a:gd name="T63" fmla="*/ 2147483646 h 71"/>
              <a:gd name="T64" fmla="*/ 2147483646 w 44"/>
              <a:gd name="T65" fmla="*/ 2147483646 h 71"/>
              <a:gd name="T66" fmla="*/ 2147483646 w 44"/>
              <a:gd name="T67" fmla="*/ 2147483646 h 71"/>
              <a:gd name="T68" fmla="*/ 2147483646 w 44"/>
              <a:gd name="T69" fmla="*/ 2147483646 h 71"/>
              <a:gd name="T70" fmla="*/ 2147483646 w 44"/>
              <a:gd name="T71" fmla="*/ 2147483646 h 71"/>
              <a:gd name="T72" fmla="*/ 2147483646 w 44"/>
              <a:gd name="T73" fmla="*/ 2147483646 h 71"/>
              <a:gd name="T74" fmla="*/ 2147483646 w 44"/>
              <a:gd name="T75" fmla="*/ 2147483646 h 71"/>
              <a:gd name="T76" fmla="*/ 2147483646 w 44"/>
              <a:gd name="T77" fmla="*/ 2147483646 h 71"/>
              <a:gd name="T78" fmla="*/ 2147483646 w 44"/>
              <a:gd name="T79" fmla="*/ 2147483646 h 71"/>
              <a:gd name="T80" fmla="*/ 2147483646 w 44"/>
              <a:gd name="T81" fmla="*/ 2147483646 h 71"/>
              <a:gd name="T82" fmla="*/ 2147483646 w 44"/>
              <a:gd name="T83" fmla="*/ 2147483646 h 71"/>
              <a:gd name="T84" fmla="*/ 2147483646 w 44"/>
              <a:gd name="T85" fmla="*/ 2147483646 h 71"/>
              <a:gd name="T86" fmla="*/ 2147483646 w 44"/>
              <a:gd name="T87" fmla="*/ 2147483646 h 71"/>
              <a:gd name="T88" fmla="*/ 2147483646 w 44"/>
              <a:gd name="T89" fmla="*/ 0 h 71"/>
              <a:gd name="T90" fmla="*/ 2147483646 w 44"/>
              <a:gd name="T91" fmla="*/ 2147483646 h 71"/>
              <a:gd name="T92" fmla="*/ 2147483646 w 44"/>
              <a:gd name="T93" fmla="*/ 2147483646 h 71"/>
              <a:gd name="T94" fmla="*/ 2147483646 w 44"/>
              <a:gd name="T95" fmla="*/ 2147483646 h 71"/>
              <a:gd name="T96" fmla="*/ 2147483646 w 44"/>
              <a:gd name="T97" fmla="*/ 2147483646 h 71"/>
              <a:gd name="T98" fmla="*/ 2147483646 w 44"/>
              <a:gd name="T99" fmla="*/ 2147483646 h 71"/>
              <a:gd name="T100" fmla="*/ 0 w 44"/>
              <a:gd name="T101" fmla="*/ 2147483646 h 71"/>
              <a:gd name="T102" fmla="*/ 0 w 44"/>
              <a:gd name="T103" fmla="*/ 2147483646 h 71"/>
              <a:gd name="T104" fmla="*/ 2147483646 w 44"/>
              <a:gd name="T105" fmla="*/ 2147483646 h 71"/>
              <a:gd name="T106" fmla="*/ 2147483646 w 44"/>
              <a:gd name="T107" fmla="*/ 2147483646 h 7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4" h="71">
                <a:moveTo>
                  <a:pt x="2" y="68"/>
                </a:moveTo>
                <a:lnTo>
                  <a:pt x="4" y="71"/>
                </a:lnTo>
                <a:lnTo>
                  <a:pt x="6" y="71"/>
                </a:lnTo>
                <a:lnTo>
                  <a:pt x="7" y="70"/>
                </a:lnTo>
                <a:lnTo>
                  <a:pt x="8" y="69"/>
                </a:lnTo>
                <a:lnTo>
                  <a:pt x="10" y="70"/>
                </a:lnTo>
                <a:lnTo>
                  <a:pt x="10" y="69"/>
                </a:lnTo>
                <a:lnTo>
                  <a:pt x="12" y="68"/>
                </a:lnTo>
                <a:lnTo>
                  <a:pt x="13" y="67"/>
                </a:lnTo>
                <a:lnTo>
                  <a:pt x="15" y="67"/>
                </a:lnTo>
                <a:lnTo>
                  <a:pt x="14" y="67"/>
                </a:lnTo>
                <a:lnTo>
                  <a:pt x="11" y="65"/>
                </a:lnTo>
                <a:lnTo>
                  <a:pt x="10" y="63"/>
                </a:lnTo>
                <a:lnTo>
                  <a:pt x="11" y="63"/>
                </a:lnTo>
                <a:lnTo>
                  <a:pt x="13" y="63"/>
                </a:lnTo>
                <a:lnTo>
                  <a:pt x="15" y="64"/>
                </a:lnTo>
                <a:lnTo>
                  <a:pt x="17" y="66"/>
                </a:lnTo>
                <a:lnTo>
                  <a:pt x="18" y="66"/>
                </a:lnTo>
                <a:lnTo>
                  <a:pt x="19" y="65"/>
                </a:lnTo>
                <a:lnTo>
                  <a:pt x="20" y="64"/>
                </a:lnTo>
                <a:lnTo>
                  <a:pt x="19" y="64"/>
                </a:lnTo>
                <a:lnTo>
                  <a:pt x="19" y="63"/>
                </a:lnTo>
                <a:lnTo>
                  <a:pt x="25" y="56"/>
                </a:lnTo>
                <a:lnTo>
                  <a:pt x="30" y="55"/>
                </a:lnTo>
                <a:lnTo>
                  <a:pt x="32" y="52"/>
                </a:lnTo>
                <a:lnTo>
                  <a:pt x="36" y="47"/>
                </a:lnTo>
                <a:lnTo>
                  <a:pt x="36" y="46"/>
                </a:lnTo>
                <a:lnTo>
                  <a:pt x="37" y="43"/>
                </a:lnTo>
                <a:lnTo>
                  <a:pt x="39" y="40"/>
                </a:lnTo>
                <a:lnTo>
                  <a:pt x="40" y="40"/>
                </a:lnTo>
                <a:lnTo>
                  <a:pt x="42" y="38"/>
                </a:lnTo>
                <a:lnTo>
                  <a:pt x="42" y="37"/>
                </a:lnTo>
                <a:lnTo>
                  <a:pt x="42" y="35"/>
                </a:lnTo>
                <a:lnTo>
                  <a:pt x="43" y="30"/>
                </a:lnTo>
                <a:lnTo>
                  <a:pt x="42" y="21"/>
                </a:lnTo>
                <a:lnTo>
                  <a:pt x="43" y="20"/>
                </a:lnTo>
                <a:lnTo>
                  <a:pt x="44" y="19"/>
                </a:lnTo>
                <a:lnTo>
                  <a:pt x="44" y="18"/>
                </a:lnTo>
                <a:lnTo>
                  <a:pt x="40" y="9"/>
                </a:lnTo>
                <a:lnTo>
                  <a:pt x="38" y="9"/>
                </a:lnTo>
                <a:lnTo>
                  <a:pt x="38" y="7"/>
                </a:lnTo>
                <a:lnTo>
                  <a:pt x="37" y="4"/>
                </a:lnTo>
                <a:lnTo>
                  <a:pt x="35" y="1"/>
                </a:lnTo>
                <a:lnTo>
                  <a:pt x="33" y="0"/>
                </a:lnTo>
                <a:lnTo>
                  <a:pt x="30" y="2"/>
                </a:lnTo>
                <a:lnTo>
                  <a:pt x="27" y="5"/>
                </a:lnTo>
                <a:lnTo>
                  <a:pt x="9" y="33"/>
                </a:lnTo>
                <a:lnTo>
                  <a:pt x="2" y="47"/>
                </a:lnTo>
                <a:lnTo>
                  <a:pt x="1" y="51"/>
                </a:lnTo>
                <a:lnTo>
                  <a:pt x="0" y="56"/>
                </a:lnTo>
                <a:lnTo>
                  <a:pt x="0" y="62"/>
                </a:lnTo>
                <a:lnTo>
                  <a:pt x="1" y="65"/>
                </a:lnTo>
                <a:lnTo>
                  <a:pt x="2" y="68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699" name="Freeform 177"/>
          <p:cNvSpPr>
            <a:spLocks/>
          </p:cNvSpPr>
          <p:nvPr/>
        </p:nvSpPr>
        <p:spPr bwMode="auto">
          <a:xfrm>
            <a:off x="7256463" y="2349500"/>
            <a:ext cx="169862" cy="100013"/>
          </a:xfrm>
          <a:custGeom>
            <a:avLst/>
            <a:gdLst>
              <a:gd name="T0" fmla="*/ 2147483646 w 54"/>
              <a:gd name="T1" fmla="*/ 2147483646 h 34"/>
              <a:gd name="T2" fmla="*/ 2147483646 w 54"/>
              <a:gd name="T3" fmla="*/ 2147483646 h 34"/>
              <a:gd name="T4" fmla="*/ 2147483646 w 54"/>
              <a:gd name="T5" fmla="*/ 2147483646 h 34"/>
              <a:gd name="T6" fmla="*/ 2147483646 w 54"/>
              <a:gd name="T7" fmla="*/ 2147483646 h 34"/>
              <a:gd name="T8" fmla="*/ 2147483646 w 54"/>
              <a:gd name="T9" fmla="*/ 2147483646 h 34"/>
              <a:gd name="T10" fmla="*/ 2147483646 w 54"/>
              <a:gd name="T11" fmla="*/ 2147483646 h 34"/>
              <a:gd name="T12" fmla="*/ 2147483646 w 54"/>
              <a:gd name="T13" fmla="*/ 2147483646 h 34"/>
              <a:gd name="T14" fmla="*/ 2147483646 w 54"/>
              <a:gd name="T15" fmla="*/ 2147483646 h 34"/>
              <a:gd name="T16" fmla="*/ 2147483646 w 54"/>
              <a:gd name="T17" fmla="*/ 2147483646 h 34"/>
              <a:gd name="T18" fmla="*/ 2147483646 w 54"/>
              <a:gd name="T19" fmla="*/ 2147483646 h 34"/>
              <a:gd name="T20" fmla="*/ 2147483646 w 54"/>
              <a:gd name="T21" fmla="*/ 2147483646 h 34"/>
              <a:gd name="T22" fmla="*/ 2147483646 w 54"/>
              <a:gd name="T23" fmla="*/ 2147483646 h 34"/>
              <a:gd name="T24" fmla="*/ 2147483646 w 54"/>
              <a:gd name="T25" fmla="*/ 2147483646 h 34"/>
              <a:gd name="T26" fmla="*/ 2147483646 w 54"/>
              <a:gd name="T27" fmla="*/ 2147483646 h 34"/>
              <a:gd name="T28" fmla="*/ 2147483646 w 54"/>
              <a:gd name="T29" fmla="*/ 2147483646 h 34"/>
              <a:gd name="T30" fmla="*/ 2147483646 w 54"/>
              <a:gd name="T31" fmla="*/ 2147483646 h 34"/>
              <a:gd name="T32" fmla="*/ 2147483646 w 54"/>
              <a:gd name="T33" fmla="*/ 2147483646 h 34"/>
              <a:gd name="T34" fmla="*/ 2147483646 w 54"/>
              <a:gd name="T35" fmla="*/ 2147483646 h 34"/>
              <a:gd name="T36" fmla="*/ 2147483646 w 54"/>
              <a:gd name="T37" fmla="*/ 2147483646 h 34"/>
              <a:gd name="T38" fmla="*/ 2147483646 w 54"/>
              <a:gd name="T39" fmla="*/ 0 h 34"/>
              <a:gd name="T40" fmla="*/ 2147483646 w 54"/>
              <a:gd name="T41" fmla="*/ 0 h 34"/>
              <a:gd name="T42" fmla="*/ 2147483646 w 54"/>
              <a:gd name="T43" fmla="*/ 0 h 34"/>
              <a:gd name="T44" fmla="*/ 2147483646 w 54"/>
              <a:gd name="T45" fmla="*/ 0 h 34"/>
              <a:gd name="T46" fmla="*/ 2147483646 w 54"/>
              <a:gd name="T47" fmla="*/ 2147483646 h 34"/>
              <a:gd name="T48" fmla="*/ 2147483646 w 54"/>
              <a:gd name="T49" fmla="*/ 2147483646 h 34"/>
              <a:gd name="T50" fmla="*/ 2147483646 w 54"/>
              <a:gd name="T51" fmla="*/ 2147483646 h 34"/>
              <a:gd name="T52" fmla="*/ 2147483646 w 54"/>
              <a:gd name="T53" fmla="*/ 2147483646 h 34"/>
              <a:gd name="T54" fmla="*/ 2147483646 w 54"/>
              <a:gd name="T55" fmla="*/ 2147483646 h 34"/>
              <a:gd name="T56" fmla="*/ 2147483646 w 54"/>
              <a:gd name="T57" fmla="*/ 2147483646 h 34"/>
              <a:gd name="T58" fmla="*/ 2147483646 w 54"/>
              <a:gd name="T59" fmla="*/ 2147483646 h 34"/>
              <a:gd name="T60" fmla="*/ 0 w 54"/>
              <a:gd name="T61" fmla="*/ 2147483646 h 34"/>
              <a:gd name="T62" fmla="*/ 0 w 54"/>
              <a:gd name="T63" fmla="*/ 2147483646 h 34"/>
              <a:gd name="T64" fmla="*/ 2147483646 w 54"/>
              <a:gd name="T65" fmla="*/ 2147483646 h 34"/>
              <a:gd name="T66" fmla="*/ 2147483646 w 54"/>
              <a:gd name="T67" fmla="*/ 2147483646 h 3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54" h="34">
                <a:moveTo>
                  <a:pt x="4" y="34"/>
                </a:moveTo>
                <a:lnTo>
                  <a:pt x="5" y="33"/>
                </a:lnTo>
                <a:lnTo>
                  <a:pt x="12" y="34"/>
                </a:lnTo>
                <a:lnTo>
                  <a:pt x="13" y="34"/>
                </a:lnTo>
                <a:lnTo>
                  <a:pt x="15" y="32"/>
                </a:lnTo>
                <a:lnTo>
                  <a:pt x="16" y="28"/>
                </a:lnTo>
                <a:lnTo>
                  <a:pt x="19" y="26"/>
                </a:lnTo>
                <a:lnTo>
                  <a:pt x="22" y="25"/>
                </a:lnTo>
                <a:lnTo>
                  <a:pt x="27" y="22"/>
                </a:lnTo>
                <a:lnTo>
                  <a:pt x="27" y="21"/>
                </a:lnTo>
                <a:lnTo>
                  <a:pt x="26" y="20"/>
                </a:lnTo>
                <a:lnTo>
                  <a:pt x="25" y="15"/>
                </a:lnTo>
                <a:lnTo>
                  <a:pt x="34" y="11"/>
                </a:lnTo>
                <a:lnTo>
                  <a:pt x="39" y="11"/>
                </a:lnTo>
                <a:lnTo>
                  <a:pt x="47" y="4"/>
                </a:lnTo>
                <a:lnTo>
                  <a:pt x="52" y="5"/>
                </a:lnTo>
                <a:lnTo>
                  <a:pt x="53" y="4"/>
                </a:lnTo>
                <a:lnTo>
                  <a:pt x="54" y="3"/>
                </a:lnTo>
                <a:lnTo>
                  <a:pt x="54" y="2"/>
                </a:lnTo>
                <a:lnTo>
                  <a:pt x="52" y="0"/>
                </a:lnTo>
                <a:lnTo>
                  <a:pt x="50" y="0"/>
                </a:lnTo>
                <a:lnTo>
                  <a:pt x="47" y="0"/>
                </a:lnTo>
                <a:lnTo>
                  <a:pt x="45" y="0"/>
                </a:lnTo>
                <a:lnTo>
                  <a:pt x="36" y="4"/>
                </a:lnTo>
                <a:lnTo>
                  <a:pt x="26" y="10"/>
                </a:lnTo>
                <a:lnTo>
                  <a:pt x="21" y="14"/>
                </a:lnTo>
                <a:lnTo>
                  <a:pt x="20" y="16"/>
                </a:lnTo>
                <a:lnTo>
                  <a:pt x="16" y="20"/>
                </a:lnTo>
                <a:lnTo>
                  <a:pt x="6" y="27"/>
                </a:lnTo>
                <a:lnTo>
                  <a:pt x="3" y="28"/>
                </a:lnTo>
                <a:lnTo>
                  <a:pt x="0" y="30"/>
                </a:lnTo>
                <a:lnTo>
                  <a:pt x="0" y="32"/>
                </a:lnTo>
                <a:lnTo>
                  <a:pt x="2" y="34"/>
                </a:lnTo>
                <a:lnTo>
                  <a:pt x="4" y="34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0" name="Freeform 178"/>
          <p:cNvSpPr>
            <a:spLocks/>
          </p:cNvSpPr>
          <p:nvPr/>
        </p:nvSpPr>
        <p:spPr bwMode="auto">
          <a:xfrm>
            <a:off x="6992938" y="2581275"/>
            <a:ext cx="639762" cy="977900"/>
          </a:xfrm>
          <a:custGeom>
            <a:avLst/>
            <a:gdLst>
              <a:gd name="T0" fmla="*/ 2147483646 w 204"/>
              <a:gd name="T1" fmla="*/ 2147483646 h 332"/>
              <a:gd name="T2" fmla="*/ 2147483646 w 204"/>
              <a:gd name="T3" fmla="*/ 2147483646 h 332"/>
              <a:gd name="T4" fmla="*/ 2147483646 w 204"/>
              <a:gd name="T5" fmla="*/ 2147483646 h 332"/>
              <a:gd name="T6" fmla="*/ 2147483646 w 204"/>
              <a:gd name="T7" fmla="*/ 2147483646 h 332"/>
              <a:gd name="T8" fmla="*/ 2147483646 w 204"/>
              <a:gd name="T9" fmla="*/ 2147483646 h 332"/>
              <a:gd name="T10" fmla="*/ 2147483646 w 204"/>
              <a:gd name="T11" fmla="*/ 2147483646 h 332"/>
              <a:gd name="T12" fmla="*/ 2147483646 w 204"/>
              <a:gd name="T13" fmla="*/ 2147483646 h 332"/>
              <a:gd name="T14" fmla="*/ 2147483646 w 204"/>
              <a:gd name="T15" fmla="*/ 2147483646 h 332"/>
              <a:gd name="T16" fmla="*/ 2147483646 w 204"/>
              <a:gd name="T17" fmla="*/ 2147483646 h 332"/>
              <a:gd name="T18" fmla="*/ 2147483646 w 204"/>
              <a:gd name="T19" fmla="*/ 2147483646 h 332"/>
              <a:gd name="T20" fmla="*/ 2147483646 w 204"/>
              <a:gd name="T21" fmla="*/ 2147483646 h 332"/>
              <a:gd name="T22" fmla="*/ 2147483646 w 204"/>
              <a:gd name="T23" fmla="*/ 2147483646 h 332"/>
              <a:gd name="T24" fmla="*/ 2147483646 w 204"/>
              <a:gd name="T25" fmla="*/ 2147483646 h 332"/>
              <a:gd name="T26" fmla="*/ 2147483646 w 204"/>
              <a:gd name="T27" fmla="*/ 2147483646 h 332"/>
              <a:gd name="T28" fmla="*/ 2147483646 w 204"/>
              <a:gd name="T29" fmla="*/ 2147483646 h 332"/>
              <a:gd name="T30" fmla="*/ 2147483646 w 204"/>
              <a:gd name="T31" fmla="*/ 2147483646 h 332"/>
              <a:gd name="T32" fmla="*/ 2147483646 w 204"/>
              <a:gd name="T33" fmla="*/ 2147483646 h 332"/>
              <a:gd name="T34" fmla="*/ 2147483646 w 204"/>
              <a:gd name="T35" fmla="*/ 2147483646 h 332"/>
              <a:gd name="T36" fmla="*/ 2147483646 w 204"/>
              <a:gd name="T37" fmla="*/ 2147483646 h 332"/>
              <a:gd name="T38" fmla="*/ 2147483646 w 204"/>
              <a:gd name="T39" fmla="*/ 2147483646 h 332"/>
              <a:gd name="T40" fmla="*/ 2147483646 w 204"/>
              <a:gd name="T41" fmla="*/ 2147483646 h 332"/>
              <a:gd name="T42" fmla="*/ 2147483646 w 204"/>
              <a:gd name="T43" fmla="*/ 2147483646 h 332"/>
              <a:gd name="T44" fmla="*/ 2147483646 w 204"/>
              <a:gd name="T45" fmla="*/ 2147483646 h 332"/>
              <a:gd name="T46" fmla="*/ 2147483646 w 204"/>
              <a:gd name="T47" fmla="*/ 2147483646 h 332"/>
              <a:gd name="T48" fmla="*/ 2147483646 w 204"/>
              <a:gd name="T49" fmla="*/ 2147483646 h 332"/>
              <a:gd name="T50" fmla="*/ 2147483646 w 204"/>
              <a:gd name="T51" fmla="*/ 2147483646 h 332"/>
              <a:gd name="T52" fmla="*/ 2147483646 w 204"/>
              <a:gd name="T53" fmla="*/ 2147483646 h 332"/>
              <a:gd name="T54" fmla="*/ 2147483646 w 204"/>
              <a:gd name="T55" fmla="*/ 2147483646 h 332"/>
              <a:gd name="T56" fmla="*/ 2147483646 w 204"/>
              <a:gd name="T57" fmla="*/ 2147483646 h 332"/>
              <a:gd name="T58" fmla="*/ 2147483646 w 204"/>
              <a:gd name="T59" fmla="*/ 2147483646 h 332"/>
              <a:gd name="T60" fmla="*/ 2147483646 w 204"/>
              <a:gd name="T61" fmla="*/ 2147483646 h 332"/>
              <a:gd name="T62" fmla="*/ 2147483646 w 204"/>
              <a:gd name="T63" fmla="*/ 2147483646 h 332"/>
              <a:gd name="T64" fmla="*/ 2147483646 w 204"/>
              <a:gd name="T65" fmla="*/ 2147483646 h 332"/>
              <a:gd name="T66" fmla="*/ 2147483646 w 204"/>
              <a:gd name="T67" fmla="*/ 2147483646 h 332"/>
              <a:gd name="T68" fmla="*/ 2147483646 w 204"/>
              <a:gd name="T69" fmla="*/ 2147483646 h 332"/>
              <a:gd name="T70" fmla="*/ 2147483646 w 204"/>
              <a:gd name="T71" fmla="*/ 2147483646 h 332"/>
              <a:gd name="T72" fmla="*/ 2147483646 w 204"/>
              <a:gd name="T73" fmla="*/ 2147483646 h 332"/>
              <a:gd name="T74" fmla="*/ 2147483646 w 204"/>
              <a:gd name="T75" fmla="*/ 2147483646 h 332"/>
              <a:gd name="T76" fmla="*/ 2147483646 w 204"/>
              <a:gd name="T77" fmla="*/ 2147483646 h 332"/>
              <a:gd name="T78" fmla="*/ 2147483646 w 204"/>
              <a:gd name="T79" fmla="*/ 2147483646 h 332"/>
              <a:gd name="T80" fmla="*/ 2147483646 w 204"/>
              <a:gd name="T81" fmla="*/ 2147483646 h 332"/>
              <a:gd name="T82" fmla="*/ 2147483646 w 204"/>
              <a:gd name="T83" fmla="*/ 2147483646 h 332"/>
              <a:gd name="T84" fmla="*/ 2147483646 w 204"/>
              <a:gd name="T85" fmla="*/ 2147483646 h 332"/>
              <a:gd name="T86" fmla="*/ 2147483646 w 204"/>
              <a:gd name="T87" fmla="*/ 2147483646 h 332"/>
              <a:gd name="T88" fmla="*/ 2147483646 w 204"/>
              <a:gd name="T89" fmla="*/ 2147483646 h 332"/>
              <a:gd name="T90" fmla="*/ 2147483646 w 204"/>
              <a:gd name="T91" fmla="*/ 2147483646 h 332"/>
              <a:gd name="T92" fmla="*/ 2147483646 w 204"/>
              <a:gd name="T93" fmla="*/ 2147483646 h 332"/>
              <a:gd name="T94" fmla="*/ 2147483646 w 204"/>
              <a:gd name="T95" fmla="*/ 2147483646 h 332"/>
              <a:gd name="T96" fmla="*/ 0 w 204"/>
              <a:gd name="T97" fmla="*/ 2147483646 h 332"/>
              <a:gd name="T98" fmla="*/ 2147483646 w 204"/>
              <a:gd name="T99" fmla="*/ 2147483646 h 332"/>
              <a:gd name="T100" fmla="*/ 2147483646 w 204"/>
              <a:gd name="T101" fmla="*/ 2147483646 h 332"/>
              <a:gd name="T102" fmla="*/ 2147483646 w 204"/>
              <a:gd name="T103" fmla="*/ 2147483646 h 332"/>
              <a:gd name="T104" fmla="*/ 2147483646 w 204"/>
              <a:gd name="T105" fmla="*/ 2147483646 h 332"/>
              <a:gd name="T106" fmla="*/ 2147483646 w 204"/>
              <a:gd name="T107" fmla="*/ 2147483646 h 332"/>
              <a:gd name="T108" fmla="*/ 2147483646 w 204"/>
              <a:gd name="T109" fmla="*/ 2147483646 h 332"/>
              <a:gd name="T110" fmla="*/ 2147483646 w 204"/>
              <a:gd name="T111" fmla="*/ 2147483646 h 33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04" h="332">
                <a:moveTo>
                  <a:pt x="114" y="287"/>
                </a:moveTo>
                <a:lnTo>
                  <a:pt x="116" y="287"/>
                </a:lnTo>
                <a:lnTo>
                  <a:pt x="116" y="294"/>
                </a:lnTo>
                <a:lnTo>
                  <a:pt x="117" y="292"/>
                </a:lnTo>
                <a:lnTo>
                  <a:pt x="118" y="292"/>
                </a:lnTo>
                <a:lnTo>
                  <a:pt x="121" y="294"/>
                </a:lnTo>
                <a:lnTo>
                  <a:pt x="123" y="292"/>
                </a:lnTo>
                <a:lnTo>
                  <a:pt x="124" y="292"/>
                </a:lnTo>
                <a:lnTo>
                  <a:pt x="125" y="294"/>
                </a:lnTo>
                <a:lnTo>
                  <a:pt x="124" y="294"/>
                </a:lnTo>
                <a:lnTo>
                  <a:pt x="122" y="295"/>
                </a:lnTo>
                <a:lnTo>
                  <a:pt x="122" y="296"/>
                </a:lnTo>
                <a:lnTo>
                  <a:pt x="120" y="296"/>
                </a:lnTo>
                <a:lnTo>
                  <a:pt x="119" y="297"/>
                </a:lnTo>
                <a:lnTo>
                  <a:pt x="117" y="297"/>
                </a:lnTo>
                <a:lnTo>
                  <a:pt x="117" y="298"/>
                </a:lnTo>
                <a:lnTo>
                  <a:pt x="117" y="301"/>
                </a:lnTo>
                <a:lnTo>
                  <a:pt x="118" y="303"/>
                </a:lnTo>
                <a:lnTo>
                  <a:pt x="118" y="304"/>
                </a:lnTo>
                <a:lnTo>
                  <a:pt x="120" y="303"/>
                </a:lnTo>
                <a:lnTo>
                  <a:pt x="121" y="305"/>
                </a:lnTo>
                <a:lnTo>
                  <a:pt x="120" y="306"/>
                </a:lnTo>
                <a:lnTo>
                  <a:pt x="120" y="309"/>
                </a:lnTo>
                <a:lnTo>
                  <a:pt x="124" y="311"/>
                </a:lnTo>
                <a:lnTo>
                  <a:pt x="120" y="313"/>
                </a:lnTo>
                <a:lnTo>
                  <a:pt x="120" y="316"/>
                </a:lnTo>
                <a:lnTo>
                  <a:pt x="126" y="318"/>
                </a:lnTo>
                <a:lnTo>
                  <a:pt x="128" y="319"/>
                </a:lnTo>
                <a:lnTo>
                  <a:pt x="139" y="317"/>
                </a:lnTo>
                <a:lnTo>
                  <a:pt x="141" y="321"/>
                </a:lnTo>
                <a:lnTo>
                  <a:pt x="143" y="323"/>
                </a:lnTo>
                <a:lnTo>
                  <a:pt x="143" y="325"/>
                </a:lnTo>
                <a:lnTo>
                  <a:pt x="139" y="329"/>
                </a:lnTo>
                <a:lnTo>
                  <a:pt x="138" y="331"/>
                </a:lnTo>
                <a:lnTo>
                  <a:pt x="153" y="332"/>
                </a:lnTo>
                <a:lnTo>
                  <a:pt x="158" y="321"/>
                </a:lnTo>
                <a:lnTo>
                  <a:pt x="160" y="315"/>
                </a:lnTo>
                <a:lnTo>
                  <a:pt x="170" y="295"/>
                </a:lnTo>
                <a:lnTo>
                  <a:pt x="182" y="297"/>
                </a:lnTo>
                <a:lnTo>
                  <a:pt x="181" y="296"/>
                </a:lnTo>
                <a:lnTo>
                  <a:pt x="179" y="293"/>
                </a:lnTo>
                <a:lnTo>
                  <a:pt x="178" y="290"/>
                </a:lnTo>
                <a:lnTo>
                  <a:pt x="177" y="288"/>
                </a:lnTo>
                <a:lnTo>
                  <a:pt x="174" y="286"/>
                </a:lnTo>
                <a:lnTo>
                  <a:pt x="170" y="285"/>
                </a:lnTo>
                <a:lnTo>
                  <a:pt x="168" y="283"/>
                </a:lnTo>
                <a:lnTo>
                  <a:pt x="167" y="283"/>
                </a:lnTo>
                <a:lnTo>
                  <a:pt x="164" y="283"/>
                </a:lnTo>
                <a:lnTo>
                  <a:pt x="156" y="284"/>
                </a:lnTo>
                <a:lnTo>
                  <a:pt x="152" y="286"/>
                </a:lnTo>
                <a:lnTo>
                  <a:pt x="150" y="287"/>
                </a:lnTo>
                <a:lnTo>
                  <a:pt x="145" y="283"/>
                </a:lnTo>
                <a:lnTo>
                  <a:pt x="141" y="278"/>
                </a:lnTo>
                <a:lnTo>
                  <a:pt x="140" y="277"/>
                </a:lnTo>
                <a:lnTo>
                  <a:pt x="137" y="276"/>
                </a:lnTo>
                <a:lnTo>
                  <a:pt x="136" y="274"/>
                </a:lnTo>
                <a:lnTo>
                  <a:pt x="132" y="272"/>
                </a:lnTo>
                <a:lnTo>
                  <a:pt x="129" y="273"/>
                </a:lnTo>
                <a:lnTo>
                  <a:pt x="125" y="273"/>
                </a:lnTo>
                <a:lnTo>
                  <a:pt x="122" y="274"/>
                </a:lnTo>
                <a:lnTo>
                  <a:pt x="120" y="275"/>
                </a:lnTo>
                <a:lnTo>
                  <a:pt x="119" y="274"/>
                </a:lnTo>
                <a:lnTo>
                  <a:pt x="119" y="272"/>
                </a:lnTo>
                <a:lnTo>
                  <a:pt x="116" y="271"/>
                </a:lnTo>
                <a:lnTo>
                  <a:pt x="113" y="269"/>
                </a:lnTo>
                <a:lnTo>
                  <a:pt x="110" y="266"/>
                </a:lnTo>
                <a:lnTo>
                  <a:pt x="108" y="265"/>
                </a:lnTo>
                <a:lnTo>
                  <a:pt x="108" y="264"/>
                </a:lnTo>
                <a:lnTo>
                  <a:pt x="105" y="263"/>
                </a:lnTo>
                <a:lnTo>
                  <a:pt x="105" y="262"/>
                </a:lnTo>
                <a:lnTo>
                  <a:pt x="108" y="261"/>
                </a:lnTo>
                <a:lnTo>
                  <a:pt x="109" y="260"/>
                </a:lnTo>
                <a:lnTo>
                  <a:pt x="111" y="260"/>
                </a:lnTo>
                <a:lnTo>
                  <a:pt x="111" y="259"/>
                </a:lnTo>
                <a:lnTo>
                  <a:pt x="112" y="259"/>
                </a:lnTo>
                <a:lnTo>
                  <a:pt x="115" y="261"/>
                </a:lnTo>
                <a:lnTo>
                  <a:pt x="116" y="260"/>
                </a:lnTo>
                <a:lnTo>
                  <a:pt x="116" y="257"/>
                </a:lnTo>
                <a:lnTo>
                  <a:pt x="119" y="255"/>
                </a:lnTo>
                <a:lnTo>
                  <a:pt x="120" y="254"/>
                </a:lnTo>
                <a:lnTo>
                  <a:pt x="121" y="252"/>
                </a:lnTo>
                <a:lnTo>
                  <a:pt x="124" y="250"/>
                </a:lnTo>
                <a:lnTo>
                  <a:pt x="125" y="247"/>
                </a:lnTo>
                <a:lnTo>
                  <a:pt x="128" y="247"/>
                </a:lnTo>
                <a:lnTo>
                  <a:pt x="129" y="245"/>
                </a:lnTo>
                <a:lnTo>
                  <a:pt x="130" y="240"/>
                </a:lnTo>
                <a:lnTo>
                  <a:pt x="132" y="238"/>
                </a:lnTo>
                <a:lnTo>
                  <a:pt x="133" y="238"/>
                </a:lnTo>
                <a:lnTo>
                  <a:pt x="128" y="237"/>
                </a:lnTo>
                <a:lnTo>
                  <a:pt x="127" y="238"/>
                </a:lnTo>
                <a:lnTo>
                  <a:pt x="126" y="237"/>
                </a:lnTo>
                <a:lnTo>
                  <a:pt x="124" y="236"/>
                </a:lnTo>
                <a:lnTo>
                  <a:pt x="124" y="234"/>
                </a:lnTo>
                <a:lnTo>
                  <a:pt x="124" y="230"/>
                </a:lnTo>
                <a:lnTo>
                  <a:pt x="126" y="228"/>
                </a:lnTo>
                <a:lnTo>
                  <a:pt x="125" y="228"/>
                </a:lnTo>
                <a:lnTo>
                  <a:pt x="124" y="229"/>
                </a:lnTo>
                <a:lnTo>
                  <a:pt x="123" y="229"/>
                </a:lnTo>
                <a:lnTo>
                  <a:pt x="122" y="227"/>
                </a:lnTo>
                <a:lnTo>
                  <a:pt x="125" y="226"/>
                </a:lnTo>
                <a:lnTo>
                  <a:pt x="128" y="226"/>
                </a:lnTo>
                <a:lnTo>
                  <a:pt x="128" y="225"/>
                </a:lnTo>
                <a:lnTo>
                  <a:pt x="126" y="223"/>
                </a:lnTo>
                <a:lnTo>
                  <a:pt x="126" y="222"/>
                </a:lnTo>
                <a:lnTo>
                  <a:pt x="126" y="220"/>
                </a:lnTo>
                <a:lnTo>
                  <a:pt x="127" y="218"/>
                </a:lnTo>
                <a:lnTo>
                  <a:pt x="130" y="217"/>
                </a:lnTo>
                <a:lnTo>
                  <a:pt x="132" y="213"/>
                </a:lnTo>
                <a:lnTo>
                  <a:pt x="131" y="210"/>
                </a:lnTo>
                <a:lnTo>
                  <a:pt x="130" y="209"/>
                </a:lnTo>
                <a:lnTo>
                  <a:pt x="130" y="208"/>
                </a:lnTo>
                <a:lnTo>
                  <a:pt x="129" y="208"/>
                </a:lnTo>
                <a:lnTo>
                  <a:pt x="128" y="206"/>
                </a:lnTo>
                <a:lnTo>
                  <a:pt x="127" y="204"/>
                </a:lnTo>
                <a:lnTo>
                  <a:pt x="125" y="201"/>
                </a:lnTo>
                <a:lnTo>
                  <a:pt x="125" y="198"/>
                </a:lnTo>
                <a:lnTo>
                  <a:pt x="124" y="195"/>
                </a:lnTo>
                <a:lnTo>
                  <a:pt x="122" y="192"/>
                </a:lnTo>
                <a:lnTo>
                  <a:pt x="120" y="190"/>
                </a:lnTo>
                <a:lnTo>
                  <a:pt x="120" y="185"/>
                </a:lnTo>
                <a:lnTo>
                  <a:pt x="118" y="180"/>
                </a:lnTo>
                <a:lnTo>
                  <a:pt x="119" y="178"/>
                </a:lnTo>
                <a:lnTo>
                  <a:pt x="118" y="177"/>
                </a:lnTo>
                <a:lnTo>
                  <a:pt x="118" y="174"/>
                </a:lnTo>
                <a:lnTo>
                  <a:pt x="117" y="171"/>
                </a:lnTo>
                <a:lnTo>
                  <a:pt x="117" y="167"/>
                </a:lnTo>
                <a:lnTo>
                  <a:pt x="119" y="166"/>
                </a:lnTo>
                <a:lnTo>
                  <a:pt x="122" y="164"/>
                </a:lnTo>
                <a:lnTo>
                  <a:pt x="123" y="163"/>
                </a:lnTo>
                <a:lnTo>
                  <a:pt x="125" y="163"/>
                </a:lnTo>
                <a:lnTo>
                  <a:pt x="126" y="164"/>
                </a:lnTo>
                <a:lnTo>
                  <a:pt x="126" y="166"/>
                </a:lnTo>
                <a:lnTo>
                  <a:pt x="128" y="166"/>
                </a:lnTo>
                <a:lnTo>
                  <a:pt x="129" y="164"/>
                </a:lnTo>
                <a:lnTo>
                  <a:pt x="133" y="162"/>
                </a:lnTo>
                <a:lnTo>
                  <a:pt x="134" y="164"/>
                </a:lnTo>
                <a:lnTo>
                  <a:pt x="136" y="165"/>
                </a:lnTo>
                <a:lnTo>
                  <a:pt x="137" y="166"/>
                </a:lnTo>
                <a:lnTo>
                  <a:pt x="138" y="167"/>
                </a:lnTo>
                <a:lnTo>
                  <a:pt x="140" y="166"/>
                </a:lnTo>
                <a:lnTo>
                  <a:pt x="141" y="169"/>
                </a:lnTo>
                <a:lnTo>
                  <a:pt x="141" y="170"/>
                </a:lnTo>
                <a:lnTo>
                  <a:pt x="141" y="171"/>
                </a:lnTo>
                <a:lnTo>
                  <a:pt x="146" y="170"/>
                </a:lnTo>
                <a:lnTo>
                  <a:pt x="146" y="169"/>
                </a:lnTo>
                <a:lnTo>
                  <a:pt x="148" y="170"/>
                </a:lnTo>
                <a:lnTo>
                  <a:pt x="153" y="165"/>
                </a:lnTo>
                <a:lnTo>
                  <a:pt x="157" y="165"/>
                </a:lnTo>
                <a:lnTo>
                  <a:pt x="159" y="162"/>
                </a:lnTo>
                <a:lnTo>
                  <a:pt x="164" y="160"/>
                </a:lnTo>
                <a:lnTo>
                  <a:pt x="166" y="158"/>
                </a:lnTo>
                <a:lnTo>
                  <a:pt x="168" y="147"/>
                </a:lnTo>
                <a:lnTo>
                  <a:pt x="171" y="147"/>
                </a:lnTo>
                <a:lnTo>
                  <a:pt x="173" y="147"/>
                </a:lnTo>
                <a:lnTo>
                  <a:pt x="173" y="148"/>
                </a:lnTo>
                <a:lnTo>
                  <a:pt x="179" y="148"/>
                </a:lnTo>
                <a:lnTo>
                  <a:pt x="191" y="153"/>
                </a:lnTo>
                <a:lnTo>
                  <a:pt x="200" y="162"/>
                </a:lnTo>
                <a:lnTo>
                  <a:pt x="202" y="165"/>
                </a:lnTo>
                <a:lnTo>
                  <a:pt x="204" y="164"/>
                </a:lnTo>
                <a:lnTo>
                  <a:pt x="202" y="161"/>
                </a:lnTo>
                <a:lnTo>
                  <a:pt x="192" y="150"/>
                </a:lnTo>
                <a:lnTo>
                  <a:pt x="180" y="145"/>
                </a:lnTo>
                <a:lnTo>
                  <a:pt x="175" y="145"/>
                </a:lnTo>
                <a:lnTo>
                  <a:pt x="175" y="144"/>
                </a:lnTo>
                <a:lnTo>
                  <a:pt x="176" y="143"/>
                </a:lnTo>
                <a:lnTo>
                  <a:pt x="177" y="142"/>
                </a:lnTo>
                <a:lnTo>
                  <a:pt x="176" y="142"/>
                </a:lnTo>
                <a:lnTo>
                  <a:pt x="178" y="142"/>
                </a:lnTo>
                <a:lnTo>
                  <a:pt x="179" y="141"/>
                </a:lnTo>
                <a:lnTo>
                  <a:pt x="179" y="139"/>
                </a:lnTo>
                <a:lnTo>
                  <a:pt x="179" y="138"/>
                </a:lnTo>
                <a:lnTo>
                  <a:pt x="178" y="137"/>
                </a:lnTo>
                <a:lnTo>
                  <a:pt x="177" y="131"/>
                </a:lnTo>
                <a:lnTo>
                  <a:pt x="176" y="127"/>
                </a:lnTo>
                <a:lnTo>
                  <a:pt x="175" y="127"/>
                </a:lnTo>
                <a:lnTo>
                  <a:pt x="174" y="126"/>
                </a:lnTo>
                <a:lnTo>
                  <a:pt x="171" y="126"/>
                </a:lnTo>
                <a:lnTo>
                  <a:pt x="169" y="125"/>
                </a:lnTo>
                <a:lnTo>
                  <a:pt x="166" y="124"/>
                </a:lnTo>
                <a:lnTo>
                  <a:pt x="165" y="123"/>
                </a:lnTo>
                <a:lnTo>
                  <a:pt x="163" y="123"/>
                </a:lnTo>
                <a:lnTo>
                  <a:pt x="160" y="122"/>
                </a:lnTo>
                <a:lnTo>
                  <a:pt x="156" y="122"/>
                </a:lnTo>
                <a:lnTo>
                  <a:pt x="153" y="127"/>
                </a:lnTo>
                <a:lnTo>
                  <a:pt x="152" y="128"/>
                </a:lnTo>
                <a:lnTo>
                  <a:pt x="150" y="128"/>
                </a:lnTo>
                <a:lnTo>
                  <a:pt x="147" y="128"/>
                </a:lnTo>
                <a:lnTo>
                  <a:pt x="145" y="127"/>
                </a:lnTo>
                <a:lnTo>
                  <a:pt x="141" y="122"/>
                </a:lnTo>
                <a:lnTo>
                  <a:pt x="140" y="122"/>
                </a:lnTo>
                <a:lnTo>
                  <a:pt x="138" y="115"/>
                </a:lnTo>
                <a:lnTo>
                  <a:pt x="137" y="115"/>
                </a:lnTo>
                <a:lnTo>
                  <a:pt x="137" y="114"/>
                </a:lnTo>
                <a:lnTo>
                  <a:pt x="139" y="89"/>
                </a:lnTo>
                <a:lnTo>
                  <a:pt x="131" y="73"/>
                </a:lnTo>
                <a:lnTo>
                  <a:pt x="132" y="73"/>
                </a:lnTo>
                <a:lnTo>
                  <a:pt x="131" y="71"/>
                </a:lnTo>
                <a:lnTo>
                  <a:pt x="130" y="71"/>
                </a:lnTo>
                <a:lnTo>
                  <a:pt x="125" y="60"/>
                </a:lnTo>
                <a:lnTo>
                  <a:pt x="123" y="60"/>
                </a:lnTo>
                <a:lnTo>
                  <a:pt x="124" y="58"/>
                </a:lnTo>
                <a:lnTo>
                  <a:pt x="125" y="59"/>
                </a:lnTo>
                <a:lnTo>
                  <a:pt x="129" y="54"/>
                </a:lnTo>
                <a:lnTo>
                  <a:pt x="151" y="35"/>
                </a:lnTo>
                <a:lnTo>
                  <a:pt x="179" y="12"/>
                </a:lnTo>
                <a:lnTo>
                  <a:pt x="186" y="8"/>
                </a:lnTo>
                <a:lnTo>
                  <a:pt x="189" y="7"/>
                </a:lnTo>
                <a:lnTo>
                  <a:pt x="191" y="7"/>
                </a:lnTo>
                <a:lnTo>
                  <a:pt x="196" y="3"/>
                </a:lnTo>
                <a:lnTo>
                  <a:pt x="196" y="0"/>
                </a:lnTo>
                <a:lnTo>
                  <a:pt x="191" y="3"/>
                </a:lnTo>
                <a:lnTo>
                  <a:pt x="188" y="4"/>
                </a:lnTo>
                <a:lnTo>
                  <a:pt x="188" y="5"/>
                </a:lnTo>
                <a:lnTo>
                  <a:pt x="186" y="5"/>
                </a:lnTo>
                <a:lnTo>
                  <a:pt x="179" y="9"/>
                </a:lnTo>
                <a:lnTo>
                  <a:pt x="151" y="33"/>
                </a:lnTo>
                <a:lnTo>
                  <a:pt x="124" y="55"/>
                </a:lnTo>
                <a:lnTo>
                  <a:pt x="124" y="56"/>
                </a:lnTo>
                <a:lnTo>
                  <a:pt x="123" y="56"/>
                </a:lnTo>
                <a:lnTo>
                  <a:pt x="121" y="55"/>
                </a:lnTo>
                <a:lnTo>
                  <a:pt x="119" y="56"/>
                </a:lnTo>
                <a:lnTo>
                  <a:pt x="117" y="56"/>
                </a:lnTo>
                <a:lnTo>
                  <a:pt x="115" y="56"/>
                </a:lnTo>
                <a:lnTo>
                  <a:pt x="112" y="57"/>
                </a:lnTo>
                <a:lnTo>
                  <a:pt x="108" y="58"/>
                </a:lnTo>
                <a:lnTo>
                  <a:pt x="105" y="60"/>
                </a:lnTo>
                <a:lnTo>
                  <a:pt x="104" y="63"/>
                </a:lnTo>
                <a:lnTo>
                  <a:pt x="100" y="67"/>
                </a:lnTo>
                <a:lnTo>
                  <a:pt x="95" y="71"/>
                </a:lnTo>
                <a:lnTo>
                  <a:pt x="87" y="73"/>
                </a:lnTo>
                <a:lnTo>
                  <a:pt x="86" y="73"/>
                </a:lnTo>
                <a:lnTo>
                  <a:pt x="72" y="64"/>
                </a:lnTo>
                <a:lnTo>
                  <a:pt x="69" y="58"/>
                </a:lnTo>
                <a:lnTo>
                  <a:pt x="69" y="52"/>
                </a:lnTo>
                <a:lnTo>
                  <a:pt x="71" y="47"/>
                </a:lnTo>
                <a:lnTo>
                  <a:pt x="71" y="46"/>
                </a:lnTo>
                <a:lnTo>
                  <a:pt x="69" y="46"/>
                </a:lnTo>
                <a:lnTo>
                  <a:pt x="69" y="48"/>
                </a:lnTo>
                <a:lnTo>
                  <a:pt x="68" y="48"/>
                </a:lnTo>
                <a:lnTo>
                  <a:pt x="67" y="48"/>
                </a:lnTo>
                <a:lnTo>
                  <a:pt x="66" y="48"/>
                </a:lnTo>
                <a:lnTo>
                  <a:pt x="67" y="46"/>
                </a:lnTo>
                <a:lnTo>
                  <a:pt x="65" y="45"/>
                </a:lnTo>
                <a:lnTo>
                  <a:pt x="56" y="46"/>
                </a:lnTo>
                <a:lnTo>
                  <a:pt x="54" y="48"/>
                </a:lnTo>
                <a:lnTo>
                  <a:pt x="52" y="52"/>
                </a:lnTo>
                <a:lnTo>
                  <a:pt x="51" y="68"/>
                </a:lnTo>
                <a:lnTo>
                  <a:pt x="50" y="76"/>
                </a:lnTo>
                <a:lnTo>
                  <a:pt x="48" y="85"/>
                </a:lnTo>
                <a:lnTo>
                  <a:pt x="42" y="104"/>
                </a:lnTo>
                <a:lnTo>
                  <a:pt x="35" y="127"/>
                </a:lnTo>
                <a:lnTo>
                  <a:pt x="32" y="150"/>
                </a:lnTo>
                <a:lnTo>
                  <a:pt x="30" y="163"/>
                </a:lnTo>
                <a:lnTo>
                  <a:pt x="27" y="187"/>
                </a:lnTo>
                <a:lnTo>
                  <a:pt x="24" y="202"/>
                </a:lnTo>
                <a:lnTo>
                  <a:pt x="23" y="207"/>
                </a:lnTo>
                <a:lnTo>
                  <a:pt x="21" y="215"/>
                </a:lnTo>
                <a:lnTo>
                  <a:pt x="20" y="217"/>
                </a:lnTo>
                <a:lnTo>
                  <a:pt x="18" y="224"/>
                </a:lnTo>
                <a:lnTo>
                  <a:pt x="19" y="224"/>
                </a:lnTo>
                <a:lnTo>
                  <a:pt x="20" y="224"/>
                </a:lnTo>
                <a:lnTo>
                  <a:pt x="21" y="224"/>
                </a:lnTo>
                <a:lnTo>
                  <a:pt x="20" y="224"/>
                </a:lnTo>
                <a:lnTo>
                  <a:pt x="21" y="223"/>
                </a:lnTo>
                <a:lnTo>
                  <a:pt x="25" y="223"/>
                </a:lnTo>
                <a:lnTo>
                  <a:pt x="27" y="224"/>
                </a:lnTo>
                <a:lnTo>
                  <a:pt x="26" y="224"/>
                </a:lnTo>
                <a:lnTo>
                  <a:pt x="26" y="225"/>
                </a:lnTo>
                <a:lnTo>
                  <a:pt x="22" y="225"/>
                </a:lnTo>
                <a:lnTo>
                  <a:pt x="22" y="226"/>
                </a:lnTo>
                <a:lnTo>
                  <a:pt x="22" y="227"/>
                </a:lnTo>
                <a:lnTo>
                  <a:pt x="23" y="228"/>
                </a:lnTo>
                <a:lnTo>
                  <a:pt x="22" y="229"/>
                </a:lnTo>
                <a:lnTo>
                  <a:pt x="19" y="227"/>
                </a:lnTo>
                <a:lnTo>
                  <a:pt x="17" y="228"/>
                </a:lnTo>
                <a:lnTo>
                  <a:pt x="16" y="237"/>
                </a:lnTo>
                <a:lnTo>
                  <a:pt x="11" y="250"/>
                </a:lnTo>
                <a:lnTo>
                  <a:pt x="0" y="276"/>
                </a:lnTo>
                <a:lnTo>
                  <a:pt x="0" y="277"/>
                </a:lnTo>
                <a:lnTo>
                  <a:pt x="14" y="283"/>
                </a:lnTo>
                <a:lnTo>
                  <a:pt x="15" y="281"/>
                </a:lnTo>
                <a:lnTo>
                  <a:pt x="19" y="282"/>
                </a:lnTo>
                <a:lnTo>
                  <a:pt x="21" y="281"/>
                </a:lnTo>
                <a:lnTo>
                  <a:pt x="23" y="282"/>
                </a:lnTo>
                <a:lnTo>
                  <a:pt x="21" y="289"/>
                </a:lnTo>
                <a:lnTo>
                  <a:pt x="19" y="295"/>
                </a:lnTo>
                <a:lnTo>
                  <a:pt x="15" y="299"/>
                </a:lnTo>
                <a:lnTo>
                  <a:pt x="14" y="306"/>
                </a:lnTo>
                <a:lnTo>
                  <a:pt x="13" y="311"/>
                </a:lnTo>
                <a:lnTo>
                  <a:pt x="11" y="315"/>
                </a:lnTo>
                <a:lnTo>
                  <a:pt x="12" y="317"/>
                </a:lnTo>
                <a:lnTo>
                  <a:pt x="16" y="317"/>
                </a:lnTo>
                <a:lnTo>
                  <a:pt x="21" y="318"/>
                </a:lnTo>
                <a:lnTo>
                  <a:pt x="27" y="318"/>
                </a:lnTo>
                <a:lnTo>
                  <a:pt x="32" y="316"/>
                </a:lnTo>
                <a:lnTo>
                  <a:pt x="36" y="313"/>
                </a:lnTo>
                <a:lnTo>
                  <a:pt x="39" y="314"/>
                </a:lnTo>
                <a:lnTo>
                  <a:pt x="42" y="313"/>
                </a:lnTo>
                <a:lnTo>
                  <a:pt x="44" y="312"/>
                </a:lnTo>
                <a:lnTo>
                  <a:pt x="49" y="312"/>
                </a:lnTo>
                <a:lnTo>
                  <a:pt x="49" y="320"/>
                </a:lnTo>
                <a:lnTo>
                  <a:pt x="52" y="321"/>
                </a:lnTo>
                <a:lnTo>
                  <a:pt x="53" y="318"/>
                </a:lnTo>
                <a:lnTo>
                  <a:pt x="58" y="317"/>
                </a:lnTo>
                <a:lnTo>
                  <a:pt x="62" y="313"/>
                </a:lnTo>
                <a:lnTo>
                  <a:pt x="71" y="314"/>
                </a:lnTo>
                <a:lnTo>
                  <a:pt x="73" y="313"/>
                </a:lnTo>
                <a:lnTo>
                  <a:pt x="75" y="312"/>
                </a:lnTo>
                <a:lnTo>
                  <a:pt x="77" y="309"/>
                </a:lnTo>
                <a:lnTo>
                  <a:pt x="79" y="307"/>
                </a:lnTo>
                <a:lnTo>
                  <a:pt x="82" y="305"/>
                </a:lnTo>
                <a:lnTo>
                  <a:pt x="84" y="305"/>
                </a:lnTo>
                <a:lnTo>
                  <a:pt x="87" y="305"/>
                </a:lnTo>
                <a:lnTo>
                  <a:pt x="90" y="305"/>
                </a:lnTo>
                <a:lnTo>
                  <a:pt x="93" y="303"/>
                </a:lnTo>
                <a:lnTo>
                  <a:pt x="93" y="301"/>
                </a:lnTo>
                <a:lnTo>
                  <a:pt x="94" y="299"/>
                </a:lnTo>
                <a:lnTo>
                  <a:pt x="95" y="297"/>
                </a:lnTo>
                <a:lnTo>
                  <a:pt x="95" y="295"/>
                </a:lnTo>
                <a:lnTo>
                  <a:pt x="103" y="295"/>
                </a:lnTo>
                <a:lnTo>
                  <a:pt x="105" y="293"/>
                </a:lnTo>
                <a:lnTo>
                  <a:pt x="107" y="291"/>
                </a:lnTo>
                <a:lnTo>
                  <a:pt x="112" y="291"/>
                </a:lnTo>
                <a:lnTo>
                  <a:pt x="113" y="290"/>
                </a:lnTo>
                <a:lnTo>
                  <a:pt x="114" y="287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1" name="Freeform 179"/>
          <p:cNvSpPr>
            <a:spLocks/>
          </p:cNvSpPr>
          <p:nvPr/>
        </p:nvSpPr>
        <p:spPr bwMode="auto">
          <a:xfrm>
            <a:off x="6767513" y="3930650"/>
            <a:ext cx="1309687" cy="644525"/>
          </a:xfrm>
          <a:custGeom>
            <a:avLst/>
            <a:gdLst>
              <a:gd name="T0" fmla="*/ 2147483646 w 418"/>
              <a:gd name="T1" fmla="*/ 2147483646 h 219"/>
              <a:gd name="T2" fmla="*/ 2147483646 w 418"/>
              <a:gd name="T3" fmla="*/ 2147483646 h 219"/>
              <a:gd name="T4" fmla="*/ 2147483646 w 418"/>
              <a:gd name="T5" fmla="*/ 2147483646 h 219"/>
              <a:gd name="T6" fmla="*/ 2147483646 w 418"/>
              <a:gd name="T7" fmla="*/ 0 h 219"/>
              <a:gd name="T8" fmla="*/ 2147483646 w 418"/>
              <a:gd name="T9" fmla="*/ 2147483646 h 219"/>
              <a:gd name="T10" fmla="*/ 2147483646 w 418"/>
              <a:gd name="T11" fmla="*/ 2147483646 h 219"/>
              <a:gd name="T12" fmla="*/ 2147483646 w 418"/>
              <a:gd name="T13" fmla="*/ 2147483646 h 219"/>
              <a:gd name="T14" fmla="*/ 2147483646 w 418"/>
              <a:gd name="T15" fmla="*/ 2147483646 h 219"/>
              <a:gd name="T16" fmla="*/ 2147483646 w 418"/>
              <a:gd name="T17" fmla="*/ 2147483646 h 219"/>
              <a:gd name="T18" fmla="*/ 2147483646 w 418"/>
              <a:gd name="T19" fmla="*/ 2147483646 h 219"/>
              <a:gd name="T20" fmla="*/ 2147483646 w 418"/>
              <a:gd name="T21" fmla="*/ 2147483646 h 219"/>
              <a:gd name="T22" fmla="*/ 2147483646 w 418"/>
              <a:gd name="T23" fmla="*/ 2147483646 h 219"/>
              <a:gd name="T24" fmla="*/ 2147483646 w 418"/>
              <a:gd name="T25" fmla="*/ 2147483646 h 219"/>
              <a:gd name="T26" fmla="*/ 2147483646 w 418"/>
              <a:gd name="T27" fmla="*/ 2147483646 h 219"/>
              <a:gd name="T28" fmla="*/ 2147483646 w 418"/>
              <a:gd name="T29" fmla="*/ 2147483646 h 219"/>
              <a:gd name="T30" fmla="*/ 2147483646 w 418"/>
              <a:gd name="T31" fmla="*/ 2147483646 h 219"/>
              <a:gd name="T32" fmla="*/ 2147483646 w 418"/>
              <a:gd name="T33" fmla="*/ 2147483646 h 219"/>
              <a:gd name="T34" fmla="*/ 2147483646 w 418"/>
              <a:gd name="T35" fmla="*/ 2147483646 h 219"/>
              <a:gd name="T36" fmla="*/ 2147483646 w 418"/>
              <a:gd name="T37" fmla="*/ 2147483646 h 219"/>
              <a:gd name="T38" fmla="*/ 2147483646 w 418"/>
              <a:gd name="T39" fmla="*/ 2147483646 h 219"/>
              <a:gd name="T40" fmla="*/ 2147483646 w 418"/>
              <a:gd name="T41" fmla="*/ 2147483646 h 219"/>
              <a:gd name="T42" fmla="*/ 2147483646 w 418"/>
              <a:gd name="T43" fmla="*/ 2147483646 h 219"/>
              <a:gd name="T44" fmla="*/ 2147483646 w 418"/>
              <a:gd name="T45" fmla="*/ 2147483646 h 219"/>
              <a:gd name="T46" fmla="*/ 2147483646 w 418"/>
              <a:gd name="T47" fmla="*/ 2147483646 h 219"/>
              <a:gd name="T48" fmla="*/ 2147483646 w 418"/>
              <a:gd name="T49" fmla="*/ 2147483646 h 219"/>
              <a:gd name="T50" fmla="*/ 2147483646 w 418"/>
              <a:gd name="T51" fmla="*/ 2147483646 h 219"/>
              <a:gd name="T52" fmla="*/ 2147483646 w 418"/>
              <a:gd name="T53" fmla="*/ 2147483646 h 219"/>
              <a:gd name="T54" fmla="*/ 2147483646 w 418"/>
              <a:gd name="T55" fmla="*/ 2147483646 h 219"/>
              <a:gd name="T56" fmla="*/ 2147483646 w 418"/>
              <a:gd name="T57" fmla="*/ 2147483646 h 219"/>
              <a:gd name="T58" fmla="*/ 2147483646 w 418"/>
              <a:gd name="T59" fmla="*/ 2147483646 h 219"/>
              <a:gd name="T60" fmla="*/ 2147483646 w 418"/>
              <a:gd name="T61" fmla="*/ 2147483646 h 219"/>
              <a:gd name="T62" fmla="*/ 2147483646 w 418"/>
              <a:gd name="T63" fmla="*/ 2147483646 h 219"/>
              <a:gd name="T64" fmla="*/ 2147483646 w 418"/>
              <a:gd name="T65" fmla="*/ 2147483646 h 219"/>
              <a:gd name="T66" fmla="*/ 2147483646 w 418"/>
              <a:gd name="T67" fmla="*/ 2147483646 h 219"/>
              <a:gd name="T68" fmla="*/ 2147483646 w 418"/>
              <a:gd name="T69" fmla="*/ 2147483646 h 219"/>
              <a:gd name="T70" fmla="*/ 2147483646 w 418"/>
              <a:gd name="T71" fmla="*/ 2147483646 h 219"/>
              <a:gd name="T72" fmla="*/ 2147483646 w 418"/>
              <a:gd name="T73" fmla="*/ 2147483646 h 219"/>
              <a:gd name="T74" fmla="*/ 2147483646 w 418"/>
              <a:gd name="T75" fmla="*/ 2147483646 h 219"/>
              <a:gd name="T76" fmla="*/ 2147483646 w 418"/>
              <a:gd name="T77" fmla="*/ 2147483646 h 219"/>
              <a:gd name="T78" fmla="*/ 2147483646 w 418"/>
              <a:gd name="T79" fmla="*/ 2147483646 h 219"/>
              <a:gd name="T80" fmla="*/ 2147483646 w 418"/>
              <a:gd name="T81" fmla="*/ 2147483646 h 219"/>
              <a:gd name="T82" fmla="*/ 2147483646 w 418"/>
              <a:gd name="T83" fmla="*/ 2147483646 h 219"/>
              <a:gd name="T84" fmla="*/ 2147483646 w 418"/>
              <a:gd name="T85" fmla="*/ 2147483646 h 219"/>
              <a:gd name="T86" fmla="*/ 2147483646 w 418"/>
              <a:gd name="T87" fmla="*/ 2147483646 h 219"/>
              <a:gd name="T88" fmla="*/ 2147483646 w 418"/>
              <a:gd name="T89" fmla="*/ 2147483646 h 219"/>
              <a:gd name="T90" fmla="*/ 2147483646 w 418"/>
              <a:gd name="T91" fmla="*/ 2147483646 h 219"/>
              <a:gd name="T92" fmla="*/ 2147483646 w 418"/>
              <a:gd name="T93" fmla="*/ 2147483646 h 219"/>
              <a:gd name="T94" fmla="*/ 2147483646 w 418"/>
              <a:gd name="T95" fmla="*/ 2147483646 h 219"/>
              <a:gd name="T96" fmla="*/ 2147483646 w 418"/>
              <a:gd name="T97" fmla="*/ 2147483646 h 219"/>
              <a:gd name="T98" fmla="*/ 2147483646 w 418"/>
              <a:gd name="T99" fmla="*/ 2147483646 h 219"/>
              <a:gd name="T100" fmla="*/ 2147483646 w 418"/>
              <a:gd name="T101" fmla="*/ 2147483646 h 219"/>
              <a:gd name="T102" fmla="*/ 2147483646 w 418"/>
              <a:gd name="T103" fmla="*/ 2147483646 h 219"/>
              <a:gd name="T104" fmla="*/ 2147483646 w 418"/>
              <a:gd name="T105" fmla="*/ 2147483646 h 219"/>
              <a:gd name="T106" fmla="*/ 2147483646 w 418"/>
              <a:gd name="T107" fmla="*/ 2147483646 h 219"/>
              <a:gd name="T108" fmla="*/ 2147483646 w 418"/>
              <a:gd name="T109" fmla="*/ 2147483646 h 219"/>
              <a:gd name="T110" fmla="*/ 2147483646 w 418"/>
              <a:gd name="T111" fmla="*/ 2147483646 h 219"/>
              <a:gd name="T112" fmla="*/ 2147483646 w 418"/>
              <a:gd name="T113" fmla="*/ 2147483646 h 219"/>
              <a:gd name="T114" fmla="*/ 2147483646 w 418"/>
              <a:gd name="T115" fmla="*/ 2147483646 h 219"/>
              <a:gd name="T116" fmla="*/ 2147483646 w 418"/>
              <a:gd name="T117" fmla="*/ 2147483646 h 219"/>
              <a:gd name="T118" fmla="*/ 2147483646 w 418"/>
              <a:gd name="T119" fmla="*/ 2147483646 h 219"/>
              <a:gd name="T120" fmla="*/ 2147483646 w 418"/>
              <a:gd name="T121" fmla="*/ 2147483646 h 219"/>
              <a:gd name="T122" fmla="*/ 2147483646 w 418"/>
              <a:gd name="T123" fmla="*/ 2147483646 h 219"/>
              <a:gd name="T124" fmla="*/ 2147483646 w 418"/>
              <a:gd name="T125" fmla="*/ 2147483646 h 21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18" h="219">
                <a:moveTo>
                  <a:pt x="364" y="26"/>
                </a:moveTo>
                <a:lnTo>
                  <a:pt x="361" y="27"/>
                </a:lnTo>
                <a:lnTo>
                  <a:pt x="355" y="27"/>
                </a:lnTo>
                <a:lnTo>
                  <a:pt x="351" y="26"/>
                </a:lnTo>
                <a:lnTo>
                  <a:pt x="350" y="23"/>
                </a:lnTo>
                <a:lnTo>
                  <a:pt x="347" y="20"/>
                </a:lnTo>
                <a:lnTo>
                  <a:pt x="341" y="19"/>
                </a:lnTo>
                <a:lnTo>
                  <a:pt x="339" y="16"/>
                </a:lnTo>
                <a:lnTo>
                  <a:pt x="337" y="14"/>
                </a:lnTo>
                <a:lnTo>
                  <a:pt x="332" y="12"/>
                </a:lnTo>
                <a:lnTo>
                  <a:pt x="329" y="8"/>
                </a:lnTo>
                <a:lnTo>
                  <a:pt x="326" y="4"/>
                </a:lnTo>
                <a:lnTo>
                  <a:pt x="322" y="4"/>
                </a:lnTo>
                <a:lnTo>
                  <a:pt x="317" y="0"/>
                </a:lnTo>
                <a:lnTo>
                  <a:pt x="312" y="1"/>
                </a:lnTo>
                <a:lnTo>
                  <a:pt x="308" y="1"/>
                </a:lnTo>
                <a:lnTo>
                  <a:pt x="305" y="5"/>
                </a:lnTo>
                <a:lnTo>
                  <a:pt x="302" y="5"/>
                </a:lnTo>
                <a:lnTo>
                  <a:pt x="298" y="2"/>
                </a:lnTo>
                <a:lnTo>
                  <a:pt x="293" y="0"/>
                </a:lnTo>
                <a:lnTo>
                  <a:pt x="289" y="6"/>
                </a:lnTo>
                <a:lnTo>
                  <a:pt x="285" y="8"/>
                </a:lnTo>
                <a:lnTo>
                  <a:pt x="280" y="7"/>
                </a:lnTo>
                <a:lnTo>
                  <a:pt x="275" y="2"/>
                </a:lnTo>
                <a:lnTo>
                  <a:pt x="271" y="6"/>
                </a:lnTo>
                <a:lnTo>
                  <a:pt x="266" y="17"/>
                </a:lnTo>
                <a:lnTo>
                  <a:pt x="263" y="26"/>
                </a:lnTo>
                <a:lnTo>
                  <a:pt x="255" y="31"/>
                </a:lnTo>
                <a:lnTo>
                  <a:pt x="249" y="33"/>
                </a:lnTo>
                <a:lnTo>
                  <a:pt x="243" y="32"/>
                </a:lnTo>
                <a:lnTo>
                  <a:pt x="238" y="34"/>
                </a:lnTo>
                <a:lnTo>
                  <a:pt x="231" y="31"/>
                </a:lnTo>
                <a:lnTo>
                  <a:pt x="220" y="31"/>
                </a:lnTo>
                <a:lnTo>
                  <a:pt x="211" y="33"/>
                </a:lnTo>
                <a:lnTo>
                  <a:pt x="210" y="31"/>
                </a:lnTo>
                <a:lnTo>
                  <a:pt x="214" y="27"/>
                </a:lnTo>
                <a:lnTo>
                  <a:pt x="213" y="25"/>
                </a:lnTo>
                <a:lnTo>
                  <a:pt x="214" y="21"/>
                </a:lnTo>
                <a:lnTo>
                  <a:pt x="210" y="19"/>
                </a:lnTo>
                <a:lnTo>
                  <a:pt x="204" y="15"/>
                </a:lnTo>
                <a:lnTo>
                  <a:pt x="198" y="18"/>
                </a:lnTo>
                <a:lnTo>
                  <a:pt x="197" y="17"/>
                </a:lnTo>
                <a:lnTo>
                  <a:pt x="194" y="12"/>
                </a:lnTo>
                <a:lnTo>
                  <a:pt x="185" y="6"/>
                </a:lnTo>
                <a:lnTo>
                  <a:pt x="182" y="3"/>
                </a:lnTo>
                <a:lnTo>
                  <a:pt x="172" y="1"/>
                </a:lnTo>
                <a:lnTo>
                  <a:pt x="168" y="0"/>
                </a:lnTo>
                <a:lnTo>
                  <a:pt x="163" y="1"/>
                </a:lnTo>
                <a:lnTo>
                  <a:pt x="159" y="2"/>
                </a:lnTo>
                <a:lnTo>
                  <a:pt x="159" y="3"/>
                </a:lnTo>
                <a:lnTo>
                  <a:pt x="156" y="5"/>
                </a:lnTo>
                <a:lnTo>
                  <a:pt x="153" y="8"/>
                </a:lnTo>
                <a:lnTo>
                  <a:pt x="150" y="10"/>
                </a:lnTo>
                <a:lnTo>
                  <a:pt x="146" y="11"/>
                </a:lnTo>
                <a:lnTo>
                  <a:pt x="140" y="10"/>
                </a:lnTo>
                <a:lnTo>
                  <a:pt x="135" y="12"/>
                </a:lnTo>
                <a:lnTo>
                  <a:pt x="133" y="12"/>
                </a:lnTo>
                <a:lnTo>
                  <a:pt x="131" y="14"/>
                </a:lnTo>
                <a:lnTo>
                  <a:pt x="128" y="16"/>
                </a:lnTo>
                <a:lnTo>
                  <a:pt x="127" y="23"/>
                </a:lnTo>
                <a:lnTo>
                  <a:pt x="125" y="27"/>
                </a:lnTo>
                <a:lnTo>
                  <a:pt x="123" y="29"/>
                </a:lnTo>
                <a:lnTo>
                  <a:pt x="120" y="31"/>
                </a:lnTo>
                <a:lnTo>
                  <a:pt x="121" y="32"/>
                </a:lnTo>
                <a:lnTo>
                  <a:pt x="119" y="34"/>
                </a:lnTo>
                <a:lnTo>
                  <a:pt x="124" y="33"/>
                </a:lnTo>
                <a:lnTo>
                  <a:pt x="125" y="31"/>
                </a:lnTo>
                <a:lnTo>
                  <a:pt x="130" y="25"/>
                </a:lnTo>
                <a:lnTo>
                  <a:pt x="130" y="27"/>
                </a:lnTo>
                <a:lnTo>
                  <a:pt x="132" y="29"/>
                </a:lnTo>
                <a:lnTo>
                  <a:pt x="133" y="29"/>
                </a:lnTo>
                <a:lnTo>
                  <a:pt x="135" y="29"/>
                </a:lnTo>
                <a:lnTo>
                  <a:pt x="134" y="31"/>
                </a:lnTo>
                <a:lnTo>
                  <a:pt x="136" y="31"/>
                </a:lnTo>
                <a:lnTo>
                  <a:pt x="136" y="32"/>
                </a:lnTo>
                <a:lnTo>
                  <a:pt x="134" y="32"/>
                </a:lnTo>
                <a:lnTo>
                  <a:pt x="131" y="34"/>
                </a:lnTo>
                <a:lnTo>
                  <a:pt x="127" y="34"/>
                </a:lnTo>
                <a:lnTo>
                  <a:pt x="125" y="35"/>
                </a:lnTo>
                <a:lnTo>
                  <a:pt x="128" y="35"/>
                </a:lnTo>
                <a:lnTo>
                  <a:pt x="130" y="36"/>
                </a:lnTo>
                <a:lnTo>
                  <a:pt x="134" y="37"/>
                </a:lnTo>
                <a:lnTo>
                  <a:pt x="135" y="39"/>
                </a:lnTo>
                <a:lnTo>
                  <a:pt x="138" y="40"/>
                </a:lnTo>
                <a:lnTo>
                  <a:pt x="136" y="43"/>
                </a:lnTo>
                <a:lnTo>
                  <a:pt x="129" y="39"/>
                </a:lnTo>
                <a:lnTo>
                  <a:pt x="126" y="38"/>
                </a:lnTo>
                <a:lnTo>
                  <a:pt x="125" y="38"/>
                </a:lnTo>
                <a:lnTo>
                  <a:pt x="118" y="41"/>
                </a:lnTo>
                <a:lnTo>
                  <a:pt x="114" y="40"/>
                </a:lnTo>
                <a:lnTo>
                  <a:pt x="104" y="42"/>
                </a:lnTo>
                <a:lnTo>
                  <a:pt x="100" y="42"/>
                </a:lnTo>
                <a:lnTo>
                  <a:pt x="98" y="44"/>
                </a:lnTo>
                <a:lnTo>
                  <a:pt x="98" y="46"/>
                </a:lnTo>
                <a:lnTo>
                  <a:pt x="97" y="46"/>
                </a:lnTo>
                <a:lnTo>
                  <a:pt x="89" y="50"/>
                </a:lnTo>
                <a:lnTo>
                  <a:pt x="86" y="51"/>
                </a:lnTo>
                <a:lnTo>
                  <a:pt x="82" y="52"/>
                </a:lnTo>
                <a:lnTo>
                  <a:pt x="76" y="52"/>
                </a:lnTo>
                <a:lnTo>
                  <a:pt x="71" y="53"/>
                </a:lnTo>
                <a:lnTo>
                  <a:pt x="69" y="52"/>
                </a:lnTo>
                <a:lnTo>
                  <a:pt x="62" y="50"/>
                </a:lnTo>
                <a:lnTo>
                  <a:pt x="56" y="47"/>
                </a:lnTo>
                <a:lnTo>
                  <a:pt x="55" y="47"/>
                </a:lnTo>
                <a:lnTo>
                  <a:pt x="53" y="48"/>
                </a:lnTo>
                <a:lnTo>
                  <a:pt x="50" y="50"/>
                </a:lnTo>
                <a:lnTo>
                  <a:pt x="50" y="51"/>
                </a:lnTo>
                <a:lnTo>
                  <a:pt x="48" y="52"/>
                </a:lnTo>
                <a:lnTo>
                  <a:pt x="46" y="53"/>
                </a:lnTo>
                <a:lnTo>
                  <a:pt x="46" y="55"/>
                </a:lnTo>
                <a:lnTo>
                  <a:pt x="45" y="58"/>
                </a:lnTo>
                <a:lnTo>
                  <a:pt x="41" y="61"/>
                </a:lnTo>
                <a:lnTo>
                  <a:pt x="40" y="62"/>
                </a:lnTo>
                <a:lnTo>
                  <a:pt x="37" y="64"/>
                </a:lnTo>
                <a:lnTo>
                  <a:pt x="27" y="67"/>
                </a:lnTo>
                <a:lnTo>
                  <a:pt x="25" y="68"/>
                </a:lnTo>
                <a:lnTo>
                  <a:pt x="18" y="71"/>
                </a:lnTo>
                <a:lnTo>
                  <a:pt x="15" y="70"/>
                </a:lnTo>
                <a:lnTo>
                  <a:pt x="8" y="70"/>
                </a:lnTo>
                <a:lnTo>
                  <a:pt x="6" y="69"/>
                </a:lnTo>
                <a:lnTo>
                  <a:pt x="6" y="75"/>
                </a:lnTo>
                <a:lnTo>
                  <a:pt x="0" y="77"/>
                </a:lnTo>
                <a:lnTo>
                  <a:pt x="0" y="79"/>
                </a:lnTo>
                <a:lnTo>
                  <a:pt x="3" y="83"/>
                </a:lnTo>
                <a:lnTo>
                  <a:pt x="7" y="89"/>
                </a:lnTo>
                <a:lnTo>
                  <a:pt x="11" y="102"/>
                </a:lnTo>
                <a:lnTo>
                  <a:pt x="17" y="117"/>
                </a:lnTo>
                <a:lnTo>
                  <a:pt x="33" y="100"/>
                </a:lnTo>
                <a:lnTo>
                  <a:pt x="39" y="105"/>
                </a:lnTo>
                <a:lnTo>
                  <a:pt x="24" y="123"/>
                </a:lnTo>
                <a:lnTo>
                  <a:pt x="26" y="134"/>
                </a:lnTo>
                <a:lnTo>
                  <a:pt x="32" y="144"/>
                </a:lnTo>
                <a:lnTo>
                  <a:pt x="39" y="136"/>
                </a:lnTo>
                <a:lnTo>
                  <a:pt x="43" y="137"/>
                </a:lnTo>
                <a:lnTo>
                  <a:pt x="45" y="136"/>
                </a:lnTo>
                <a:lnTo>
                  <a:pt x="57" y="130"/>
                </a:lnTo>
                <a:lnTo>
                  <a:pt x="62" y="129"/>
                </a:lnTo>
                <a:lnTo>
                  <a:pt x="64" y="127"/>
                </a:lnTo>
                <a:lnTo>
                  <a:pt x="65" y="127"/>
                </a:lnTo>
                <a:lnTo>
                  <a:pt x="67" y="127"/>
                </a:lnTo>
                <a:lnTo>
                  <a:pt x="79" y="125"/>
                </a:lnTo>
                <a:lnTo>
                  <a:pt x="81" y="128"/>
                </a:lnTo>
                <a:lnTo>
                  <a:pt x="77" y="137"/>
                </a:lnTo>
                <a:lnTo>
                  <a:pt x="78" y="147"/>
                </a:lnTo>
                <a:lnTo>
                  <a:pt x="87" y="143"/>
                </a:lnTo>
                <a:lnTo>
                  <a:pt x="100" y="146"/>
                </a:lnTo>
                <a:lnTo>
                  <a:pt x="102" y="147"/>
                </a:lnTo>
                <a:lnTo>
                  <a:pt x="104" y="146"/>
                </a:lnTo>
                <a:lnTo>
                  <a:pt x="105" y="146"/>
                </a:lnTo>
                <a:lnTo>
                  <a:pt x="108" y="146"/>
                </a:lnTo>
                <a:lnTo>
                  <a:pt x="108" y="139"/>
                </a:lnTo>
                <a:lnTo>
                  <a:pt x="113" y="137"/>
                </a:lnTo>
                <a:lnTo>
                  <a:pt x="114" y="137"/>
                </a:lnTo>
                <a:lnTo>
                  <a:pt x="116" y="132"/>
                </a:lnTo>
                <a:lnTo>
                  <a:pt x="116" y="131"/>
                </a:lnTo>
                <a:lnTo>
                  <a:pt x="119" y="131"/>
                </a:lnTo>
                <a:lnTo>
                  <a:pt x="121" y="128"/>
                </a:lnTo>
                <a:lnTo>
                  <a:pt x="122" y="125"/>
                </a:lnTo>
                <a:lnTo>
                  <a:pt x="126" y="123"/>
                </a:lnTo>
                <a:lnTo>
                  <a:pt x="127" y="120"/>
                </a:lnTo>
                <a:lnTo>
                  <a:pt x="128" y="120"/>
                </a:lnTo>
                <a:lnTo>
                  <a:pt x="128" y="119"/>
                </a:lnTo>
                <a:lnTo>
                  <a:pt x="129" y="119"/>
                </a:lnTo>
                <a:lnTo>
                  <a:pt x="132" y="118"/>
                </a:lnTo>
                <a:lnTo>
                  <a:pt x="133" y="118"/>
                </a:lnTo>
                <a:lnTo>
                  <a:pt x="135" y="119"/>
                </a:lnTo>
                <a:lnTo>
                  <a:pt x="138" y="120"/>
                </a:lnTo>
                <a:lnTo>
                  <a:pt x="141" y="121"/>
                </a:lnTo>
                <a:lnTo>
                  <a:pt x="142" y="122"/>
                </a:lnTo>
                <a:lnTo>
                  <a:pt x="142" y="126"/>
                </a:lnTo>
                <a:lnTo>
                  <a:pt x="144" y="126"/>
                </a:lnTo>
                <a:lnTo>
                  <a:pt x="147" y="126"/>
                </a:lnTo>
                <a:lnTo>
                  <a:pt x="147" y="127"/>
                </a:lnTo>
                <a:lnTo>
                  <a:pt x="146" y="134"/>
                </a:lnTo>
                <a:lnTo>
                  <a:pt x="147" y="134"/>
                </a:lnTo>
                <a:lnTo>
                  <a:pt x="147" y="135"/>
                </a:lnTo>
                <a:lnTo>
                  <a:pt x="146" y="135"/>
                </a:lnTo>
                <a:lnTo>
                  <a:pt x="144" y="137"/>
                </a:lnTo>
                <a:lnTo>
                  <a:pt x="143" y="138"/>
                </a:lnTo>
                <a:lnTo>
                  <a:pt x="144" y="147"/>
                </a:lnTo>
                <a:lnTo>
                  <a:pt x="147" y="148"/>
                </a:lnTo>
                <a:lnTo>
                  <a:pt x="147" y="149"/>
                </a:lnTo>
                <a:lnTo>
                  <a:pt x="145" y="149"/>
                </a:lnTo>
                <a:lnTo>
                  <a:pt x="143" y="148"/>
                </a:lnTo>
                <a:lnTo>
                  <a:pt x="141" y="146"/>
                </a:lnTo>
                <a:lnTo>
                  <a:pt x="139" y="146"/>
                </a:lnTo>
                <a:lnTo>
                  <a:pt x="135" y="145"/>
                </a:lnTo>
                <a:lnTo>
                  <a:pt x="134" y="144"/>
                </a:lnTo>
                <a:lnTo>
                  <a:pt x="132" y="144"/>
                </a:lnTo>
                <a:lnTo>
                  <a:pt x="131" y="145"/>
                </a:lnTo>
                <a:lnTo>
                  <a:pt x="131" y="147"/>
                </a:lnTo>
                <a:lnTo>
                  <a:pt x="131" y="149"/>
                </a:lnTo>
                <a:lnTo>
                  <a:pt x="132" y="150"/>
                </a:lnTo>
                <a:lnTo>
                  <a:pt x="133" y="151"/>
                </a:lnTo>
                <a:lnTo>
                  <a:pt x="135" y="153"/>
                </a:lnTo>
                <a:lnTo>
                  <a:pt x="146" y="150"/>
                </a:lnTo>
                <a:lnTo>
                  <a:pt x="148" y="151"/>
                </a:lnTo>
                <a:lnTo>
                  <a:pt x="149" y="150"/>
                </a:lnTo>
                <a:lnTo>
                  <a:pt x="150" y="150"/>
                </a:lnTo>
                <a:lnTo>
                  <a:pt x="151" y="151"/>
                </a:lnTo>
                <a:lnTo>
                  <a:pt x="152" y="151"/>
                </a:lnTo>
                <a:lnTo>
                  <a:pt x="151" y="152"/>
                </a:lnTo>
                <a:lnTo>
                  <a:pt x="153" y="152"/>
                </a:lnTo>
                <a:lnTo>
                  <a:pt x="153" y="151"/>
                </a:lnTo>
                <a:lnTo>
                  <a:pt x="154" y="150"/>
                </a:lnTo>
                <a:lnTo>
                  <a:pt x="157" y="150"/>
                </a:lnTo>
                <a:lnTo>
                  <a:pt x="158" y="150"/>
                </a:lnTo>
                <a:lnTo>
                  <a:pt x="163" y="154"/>
                </a:lnTo>
                <a:lnTo>
                  <a:pt x="163" y="155"/>
                </a:lnTo>
                <a:lnTo>
                  <a:pt x="164" y="155"/>
                </a:lnTo>
                <a:lnTo>
                  <a:pt x="165" y="157"/>
                </a:lnTo>
                <a:lnTo>
                  <a:pt x="164" y="158"/>
                </a:lnTo>
                <a:lnTo>
                  <a:pt x="165" y="158"/>
                </a:lnTo>
                <a:lnTo>
                  <a:pt x="167" y="158"/>
                </a:lnTo>
                <a:lnTo>
                  <a:pt x="175" y="148"/>
                </a:lnTo>
                <a:lnTo>
                  <a:pt x="184" y="140"/>
                </a:lnTo>
                <a:lnTo>
                  <a:pt x="184" y="138"/>
                </a:lnTo>
                <a:lnTo>
                  <a:pt x="185" y="136"/>
                </a:lnTo>
                <a:lnTo>
                  <a:pt x="185" y="135"/>
                </a:lnTo>
                <a:lnTo>
                  <a:pt x="185" y="134"/>
                </a:lnTo>
                <a:lnTo>
                  <a:pt x="186" y="130"/>
                </a:lnTo>
                <a:lnTo>
                  <a:pt x="187" y="129"/>
                </a:lnTo>
                <a:lnTo>
                  <a:pt x="188" y="127"/>
                </a:lnTo>
                <a:lnTo>
                  <a:pt x="191" y="125"/>
                </a:lnTo>
                <a:lnTo>
                  <a:pt x="192" y="125"/>
                </a:lnTo>
                <a:lnTo>
                  <a:pt x="191" y="128"/>
                </a:lnTo>
                <a:lnTo>
                  <a:pt x="193" y="131"/>
                </a:lnTo>
                <a:lnTo>
                  <a:pt x="200" y="131"/>
                </a:lnTo>
                <a:lnTo>
                  <a:pt x="201" y="131"/>
                </a:lnTo>
                <a:lnTo>
                  <a:pt x="203" y="137"/>
                </a:lnTo>
                <a:lnTo>
                  <a:pt x="206" y="145"/>
                </a:lnTo>
                <a:lnTo>
                  <a:pt x="206" y="146"/>
                </a:lnTo>
                <a:lnTo>
                  <a:pt x="204" y="149"/>
                </a:lnTo>
                <a:lnTo>
                  <a:pt x="199" y="159"/>
                </a:lnTo>
                <a:lnTo>
                  <a:pt x="209" y="170"/>
                </a:lnTo>
                <a:lnTo>
                  <a:pt x="210" y="170"/>
                </a:lnTo>
                <a:lnTo>
                  <a:pt x="210" y="172"/>
                </a:lnTo>
                <a:lnTo>
                  <a:pt x="213" y="176"/>
                </a:lnTo>
                <a:lnTo>
                  <a:pt x="213" y="187"/>
                </a:lnTo>
                <a:lnTo>
                  <a:pt x="220" y="189"/>
                </a:lnTo>
                <a:lnTo>
                  <a:pt x="222" y="187"/>
                </a:lnTo>
                <a:lnTo>
                  <a:pt x="226" y="185"/>
                </a:lnTo>
                <a:lnTo>
                  <a:pt x="228" y="185"/>
                </a:lnTo>
                <a:lnTo>
                  <a:pt x="228" y="184"/>
                </a:lnTo>
                <a:lnTo>
                  <a:pt x="238" y="191"/>
                </a:lnTo>
                <a:lnTo>
                  <a:pt x="234" y="204"/>
                </a:lnTo>
                <a:lnTo>
                  <a:pt x="237" y="206"/>
                </a:lnTo>
                <a:lnTo>
                  <a:pt x="240" y="206"/>
                </a:lnTo>
                <a:lnTo>
                  <a:pt x="243" y="205"/>
                </a:lnTo>
                <a:lnTo>
                  <a:pt x="250" y="206"/>
                </a:lnTo>
                <a:lnTo>
                  <a:pt x="254" y="206"/>
                </a:lnTo>
                <a:lnTo>
                  <a:pt x="259" y="206"/>
                </a:lnTo>
                <a:lnTo>
                  <a:pt x="261" y="204"/>
                </a:lnTo>
                <a:lnTo>
                  <a:pt x="261" y="202"/>
                </a:lnTo>
                <a:lnTo>
                  <a:pt x="277" y="206"/>
                </a:lnTo>
                <a:lnTo>
                  <a:pt x="277" y="207"/>
                </a:lnTo>
                <a:lnTo>
                  <a:pt x="281" y="201"/>
                </a:lnTo>
                <a:lnTo>
                  <a:pt x="282" y="201"/>
                </a:lnTo>
                <a:lnTo>
                  <a:pt x="284" y="199"/>
                </a:lnTo>
                <a:lnTo>
                  <a:pt x="288" y="199"/>
                </a:lnTo>
                <a:lnTo>
                  <a:pt x="291" y="196"/>
                </a:lnTo>
                <a:lnTo>
                  <a:pt x="291" y="195"/>
                </a:lnTo>
                <a:lnTo>
                  <a:pt x="293" y="193"/>
                </a:lnTo>
                <a:lnTo>
                  <a:pt x="300" y="195"/>
                </a:lnTo>
                <a:lnTo>
                  <a:pt x="301" y="196"/>
                </a:lnTo>
                <a:lnTo>
                  <a:pt x="303" y="199"/>
                </a:lnTo>
                <a:lnTo>
                  <a:pt x="306" y="203"/>
                </a:lnTo>
                <a:lnTo>
                  <a:pt x="309" y="205"/>
                </a:lnTo>
                <a:lnTo>
                  <a:pt x="310" y="206"/>
                </a:lnTo>
                <a:lnTo>
                  <a:pt x="309" y="213"/>
                </a:lnTo>
                <a:lnTo>
                  <a:pt x="310" y="219"/>
                </a:lnTo>
                <a:lnTo>
                  <a:pt x="313" y="219"/>
                </a:lnTo>
                <a:lnTo>
                  <a:pt x="317" y="218"/>
                </a:lnTo>
                <a:lnTo>
                  <a:pt x="325" y="216"/>
                </a:lnTo>
                <a:lnTo>
                  <a:pt x="326" y="201"/>
                </a:lnTo>
                <a:lnTo>
                  <a:pt x="336" y="186"/>
                </a:lnTo>
                <a:lnTo>
                  <a:pt x="351" y="178"/>
                </a:lnTo>
                <a:lnTo>
                  <a:pt x="379" y="170"/>
                </a:lnTo>
                <a:lnTo>
                  <a:pt x="392" y="158"/>
                </a:lnTo>
                <a:lnTo>
                  <a:pt x="379" y="138"/>
                </a:lnTo>
                <a:lnTo>
                  <a:pt x="376" y="122"/>
                </a:lnTo>
                <a:lnTo>
                  <a:pt x="373" y="116"/>
                </a:lnTo>
                <a:lnTo>
                  <a:pt x="370" y="94"/>
                </a:lnTo>
                <a:lnTo>
                  <a:pt x="380" y="96"/>
                </a:lnTo>
                <a:lnTo>
                  <a:pt x="385" y="99"/>
                </a:lnTo>
                <a:lnTo>
                  <a:pt x="395" y="97"/>
                </a:lnTo>
                <a:lnTo>
                  <a:pt x="407" y="92"/>
                </a:lnTo>
                <a:lnTo>
                  <a:pt x="410" y="94"/>
                </a:lnTo>
                <a:lnTo>
                  <a:pt x="413" y="98"/>
                </a:lnTo>
                <a:lnTo>
                  <a:pt x="416" y="96"/>
                </a:lnTo>
                <a:lnTo>
                  <a:pt x="418" y="96"/>
                </a:lnTo>
                <a:lnTo>
                  <a:pt x="416" y="88"/>
                </a:lnTo>
                <a:lnTo>
                  <a:pt x="412" y="76"/>
                </a:lnTo>
                <a:lnTo>
                  <a:pt x="407" y="70"/>
                </a:lnTo>
                <a:lnTo>
                  <a:pt x="401" y="65"/>
                </a:lnTo>
                <a:lnTo>
                  <a:pt x="402" y="58"/>
                </a:lnTo>
                <a:lnTo>
                  <a:pt x="398" y="57"/>
                </a:lnTo>
                <a:lnTo>
                  <a:pt x="399" y="53"/>
                </a:lnTo>
                <a:lnTo>
                  <a:pt x="399" y="45"/>
                </a:lnTo>
                <a:lnTo>
                  <a:pt x="396" y="42"/>
                </a:lnTo>
                <a:lnTo>
                  <a:pt x="391" y="41"/>
                </a:lnTo>
                <a:lnTo>
                  <a:pt x="386" y="40"/>
                </a:lnTo>
                <a:lnTo>
                  <a:pt x="383" y="38"/>
                </a:lnTo>
                <a:lnTo>
                  <a:pt x="381" y="32"/>
                </a:lnTo>
                <a:lnTo>
                  <a:pt x="380" y="27"/>
                </a:lnTo>
                <a:lnTo>
                  <a:pt x="377" y="26"/>
                </a:lnTo>
                <a:lnTo>
                  <a:pt x="370" y="25"/>
                </a:lnTo>
                <a:lnTo>
                  <a:pt x="364" y="26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2" name="Freeform 180"/>
          <p:cNvSpPr>
            <a:spLocks/>
          </p:cNvSpPr>
          <p:nvPr/>
        </p:nvSpPr>
        <p:spPr bwMode="auto">
          <a:xfrm>
            <a:off x="8043863" y="3052763"/>
            <a:ext cx="1587" cy="1587"/>
          </a:xfrm>
          <a:custGeom>
            <a:avLst/>
            <a:gdLst>
              <a:gd name="T0" fmla="*/ 0 w 1587"/>
              <a:gd name="T1" fmla="*/ 0 h 1587"/>
              <a:gd name="T2" fmla="*/ 0 w 1587"/>
              <a:gd name="T3" fmla="*/ 0 h 1587"/>
              <a:gd name="T4" fmla="*/ 0 w 1587"/>
              <a:gd name="T5" fmla="*/ 0 h 1587"/>
              <a:gd name="T6" fmla="*/ 0 60000 65536"/>
              <a:gd name="T7" fmla="*/ 0 60000 65536"/>
              <a:gd name="T8" fmla="*/ 0 60000 6553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0" t="0" r="r" b="b"/>
            <a:pathLst>
              <a:path w="1587" h="1587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E6E8F2"/>
          </a:solidFill>
          <a:ln w="3175" cap="flat" cmpd="sng">
            <a:solidFill>
              <a:srgbClr val="B9BFDB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3" name="Freeform 181"/>
          <p:cNvSpPr>
            <a:spLocks/>
          </p:cNvSpPr>
          <p:nvPr/>
        </p:nvSpPr>
        <p:spPr bwMode="auto">
          <a:xfrm>
            <a:off x="7896225" y="2843213"/>
            <a:ext cx="896938" cy="774700"/>
          </a:xfrm>
          <a:custGeom>
            <a:avLst/>
            <a:gdLst>
              <a:gd name="T0" fmla="*/ 2147483646 w 286"/>
              <a:gd name="T1" fmla="*/ 2147483646 h 263"/>
              <a:gd name="T2" fmla="*/ 2147483646 w 286"/>
              <a:gd name="T3" fmla="*/ 2147483646 h 263"/>
              <a:gd name="T4" fmla="*/ 2147483646 w 286"/>
              <a:gd name="T5" fmla="*/ 2147483646 h 263"/>
              <a:gd name="T6" fmla="*/ 2147483646 w 286"/>
              <a:gd name="T7" fmla="*/ 2147483646 h 263"/>
              <a:gd name="T8" fmla="*/ 2147483646 w 286"/>
              <a:gd name="T9" fmla="*/ 2147483646 h 263"/>
              <a:gd name="T10" fmla="*/ 2147483646 w 286"/>
              <a:gd name="T11" fmla="*/ 2147483646 h 263"/>
              <a:gd name="T12" fmla="*/ 2147483646 w 286"/>
              <a:gd name="T13" fmla="*/ 2147483646 h 263"/>
              <a:gd name="T14" fmla="*/ 2147483646 w 286"/>
              <a:gd name="T15" fmla="*/ 2147483646 h 263"/>
              <a:gd name="T16" fmla="*/ 2147483646 w 286"/>
              <a:gd name="T17" fmla="*/ 2147483646 h 263"/>
              <a:gd name="T18" fmla="*/ 2147483646 w 286"/>
              <a:gd name="T19" fmla="*/ 2147483646 h 263"/>
              <a:gd name="T20" fmla="*/ 2147483646 w 286"/>
              <a:gd name="T21" fmla="*/ 2147483646 h 263"/>
              <a:gd name="T22" fmla="*/ 2147483646 w 286"/>
              <a:gd name="T23" fmla="*/ 2147483646 h 263"/>
              <a:gd name="T24" fmla="*/ 2147483646 w 286"/>
              <a:gd name="T25" fmla="*/ 2147483646 h 263"/>
              <a:gd name="T26" fmla="*/ 2147483646 w 286"/>
              <a:gd name="T27" fmla="*/ 2147483646 h 263"/>
              <a:gd name="T28" fmla="*/ 2147483646 w 286"/>
              <a:gd name="T29" fmla="*/ 2147483646 h 263"/>
              <a:gd name="T30" fmla="*/ 2147483646 w 286"/>
              <a:gd name="T31" fmla="*/ 2147483646 h 263"/>
              <a:gd name="T32" fmla="*/ 2147483646 w 286"/>
              <a:gd name="T33" fmla="*/ 2147483646 h 263"/>
              <a:gd name="T34" fmla="*/ 2147483646 w 286"/>
              <a:gd name="T35" fmla="*/ 2147483646 h 263"/>
              <a:gd name="T36" fmla="*/ 2147483646 w 286"/>
              <a:gd name="T37" fmla="*/ 2147483646 h 263"/>
              <a:gd name="T38" fmla="*/ 2147483646 w 286"/>
              <a:gd name="T39" fmla="*/ 2147483646 h 263"/>
              <a:gd name="T40" fmla="*/ 2147483646 w 286"/>
              <a:gd name="T41" fmla="*/ 2147483646 h 263"/>
              <a:gd name="T42" fmla="*/ 2147483646 w 286"/>
              <a:gd name="T43" fmla="*/ 2147483646 h 263"/>
              <a:gd name="T44" fmla="*/ 2147483646 w 286"/>
              <a:gd name="T45" fmla="*/ 2147483646 h 263"/>
              <a:gd name="T46" fmla="*/ 2147483646 w 286"/>
              <a:gd name="T47" fmla="*/ 2147483646 h 263"/>
              <a:gd name="T48" fmla="*/ 2147483646 w 286"/>
              <a:gd name="T49" fmla="*/ 2147483646 h 263"/>
              <a:gd name="T50" fmla="*/ 2147483646 w 286"/>
              <a:gd name="T51" fmla="*/ 2147483646 h 263"/>
              <a:gd name="T52" fmla="*/ 2147483646 w 286"/>
              <a:gd name="T53" fmla="*/ 2147483646 h 263"/>
              <a:gd name="T54" fmla="*/ 2147483646 w 286"/>
              <a:gd name="T55" fmla="*/ 2147483646 h 263"/>
              <a:gd name="T56" fmla="*/ 2147483646 w 286"/>
              <a:gd name="T57" fmla="*/ 2147483646 h 263"/>
              <a:gd name="T58" fmla="*/ 2147483646 w 286"/>
              <a:gd name="T59" fmla="*/ 2147483646 h 263"/>
              <a:gd name="T60" fmla="*/ 2147483646 w 286"/>
              <a:gd name="T61" fmla="*/ 2147483646 h 263"/>
              <a:gd name="T62" fmla="*/ 2147483646 w 286"/>
              <a:gd name="T63" fmla="*/ 2147483646 h 263"/>
              <a:gd name="T64" fmla="*/ 2147483646 w 286"/>
              <a:gd name="T65" fmla="*/ 2147483646 h 263"/>
              <a:gd name="T66" fmla="*/ 2147483646 w 286"/>
              <a:gd name="T67" fmla="*/ 2147483646 h 263"/>
              <a:gd name="T68" fmla="*/ 2147483646 w 286"/>
              <a:gd name="T69" fmla="*/ 2147483646 h 263"/>
              <a:gd name="T70" fmla="*/ 2147483646 w 286"/>
              <a:gd name="T71" fmla="*/ 2147483646 h 263"/>
              <a:gd name="T72" fmla="*/ 2147483646 w 286"/>
              <a:gd name="T73" fmla="*/ 2147483646 h 263"/>
              <a:gd name="T74" fmla="*/ 2147483646 w 286"/>
              <a:gd name="T75" fmla="*/ 2147483646 h 263"/>
              <a:gd name="T76" fmla="*/ 2147483646 w 286"/>
              <a:gd name="T77" fmla="*/ 2147483646 h 263"/>
              <a:gd name="T78" fmla="*/ 2147483646 w 286"/>
              <a:gd name="T79" fmla="*/ 2147483646 h 263"/>
              <a:gd name="T80" fmla="*/ 2147483646 w 286"/>
              <a:gd name="T81" fmla="*/ 2147483646 h 263"/>
              <a:gd name="T82" fmla="*/ 2147483646 w 286"/>
              <a:gd name="T83" fmla="*/ 2147483646 h 263"/>
              <a:gd name="T84" fmla="*/ 2147483646 w 286"/>
              <a:gd name="T85" fmla="*/ 2147483646 h 263"/>
              <a:gd name="T86" fmla="*/ 2147483646 w 286"/>
              <a:gd name="T87" fmla="*/ 2147483646 h 263"/>
              <a:gd name="T88" fmla="*/ 2147483646 w 286"/>
              <a:gd name="T89" fmla="*/ 2147483646 h 263"/>
              <a:gd name="T90" fmla="*/ 2147483646 w 286"/>
              <a:gd name="T91" fmla="*/ 2147483646 h 263"/>
              <a:gd name="T92" fmla="*/ 2147483646 w 286"/>
              <a:gd name="T93" fmla="*/ 2147483646 h 263"/>
              <a:gd name="T94" fmla="*/ 2147483646 w 286"/>
              <a:gd name="T95" fmla="*/ 2147483646 h 263"/>
              <a:gd name="T96" fmla="*/ 2147483646 w 286"/>
              <a:gd name="T97" fmla="*/ 2147483646 h 263"/>
              <a:gd name="T98" fmla="*/ 2147483646 w 286"/>
              <a:gd name="T99" fmla="*/ 2147483646 h 263"/>
              <a:gd name="T100" fmla="*/ 2147483646 w 286"/>
              <a:gd name="T101" fmla="*/ 2147483646 h 263"/>
              <a:gd name="T102" fmla="*/ 2147483646 w 286"/>
              <a:gd name="T103" fmla="*/ 2147483646 h 263"/>
              <a:gd name="T104" fmla="*/ 2147483646 w 286"/>
              <a:gd name="T105" fmla="*/ 2147483646 h 263"/>
              <a:gd name="T106" fmla="*/ 2147483646 w 286"/>
              <a:gd name="T107" fmla="*/ 2147483646 h 263"/>
              <a:gd name="T108" fmla="*/ 2147483646 w 286"/>
              <a:gd name="T109" fmla="*/ 2147483646 h 263"/>
              <a:gd name="T110" fmla="*/ 2147483646 w 286"/>
              <a:gd name="T111" fmla="*/ 2147483646 h 263"/>
              <a:gd name="T112" fmla="*/ 2147483646 w 286"/>
              <a:gd name="T113" fmla="*/ 2147483646 h 263"/>
              <a:gd name="T114" fmla="*/ 2147483646 w 286"/>
              <a:gd name="T115" fmla="*/ 2147483646 h 2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6" h="263">
                <a:moveTo>
                  <a:pt x="277" y="204"/>
                </a:moveTo>
                <a:lnTo>
                  <a:pt x="276" y="204"/>
                </a:lnTo>
                <a:lnTo>
                  <a:pt x="276" y="198"/>
                </a:lnTo>
                <a:lnTo>
                  <a:pt x="279" y="190"/>
                </a:lnTo>
                <a:lnTo>
                  <a:pt x="280" y="187"/>
                </a:lnTo>
                <a:lnTo>
                  <a:pt x="280" y="186"/>
                </a:lnTo>
                <a:lnTo>
                  <a:pt x="281" y="184"/>
                </a:lnTo>
                <a:lnTo>
                  <a:pt x="282" y="180"/>
                </a:lnTo>
                <a:lnTo>
                  <a:pt x="286" y="175"/>
                </a:lnTo>
                <a:lnTo>
                  <a:pt x="286" y="173"/>
                </a:lnTo>
                <a:lnTo>
                  <a:pt x="285" y="167"/>
                </a:lnTo>
                <a:lnTo>
                  <a:pt x="284" y="163"/>
                </a:lnTo>
                <a:lnTo>
                  <a:pt x="282" y="159"/>
                </a:lnTo>
                <a:lnTo>
                  <a:pt x="282" y="158"/>
                </a:lnTo>
                <a:lnTo>
                  <a:pt x="277" y="157"/>
                </a:lnTo>
                <a:lnTo>
                  <a:pt x="276" y="155"/>
                </a:lnTo>
                <a:lnTo>
                  <a:pt x="274" y="150"/>
                </a:lnTo>
                <a:lnTo>
                  <a:pt x="271" y="147"/>
                </a:lnTo>
                <a:lnTo>
                  <a:pt x="270" y="141"/>
                </a:lnTo>
                <a:lnTo>
                  <a:pt x="268" y="137"/>
                </a:lnTo>
                <a:lnTo>
                  <a:pt x="267" y="134"/>
                </a:lnTo>
                <a:lnTo>
                  <a:pt x="266" y="133"/>
                </a:lnTo>
                <a:lnTo>
                  <a:pt x="264" y="135"/>
                </a:lnTo>
                <a:lnTo>
                  <a:pt x="263" y="136"/>
                </a:lnTo>
                <a:lnTo>
                  <a:pt x="260" y="142"/>
                </a:lnTo>
                <a:lnTo>
                  <a:pt x="257" y="145"/>
                </a:lnTo>
                <a:lnTo>
                  <a:pt x="256" y="146"/>
                </a:lnTo>
                <a:lnTo>
                  <a:pt x="238" y="140"/>
                </a:lnTo>
                <a:lnTo>
                  <a:pt x="236" y="140"/>
                </a:lnTo>
                <a:lnTo>
                  <a:pt x="236" y="137"/>
                </a:lnTo>
                <a:lnTo>
                  <a:pt x="219" y="137"/>
                </a:lnTo>
                <a:lnTo>
                  <a:pt x="213" y="135"/>
                </a:lnTo>
                <a:lnTo>
                  <a:pt x="209" y="133"/>
                </a:lnTo>
                <a:lnTo>
                  <a:pt x="206" y="131"/>
                </a:lnTo>
                <a:lnTo>
                  <a:pt x="202" y="128"/>
                </a:lnTo>
                <a:lnTo>
                  <a:pt x="202" y="121"/>
                </a:lnTo>
                <a:lnTo>
                  <a:pt x="203" y="115"/>
                </a:lnTo>
                <a:lnTo>
                  <a:pt x="198" y="104"/>
                </a:lnTo>
                <a:lnTo>
                  <a:pt x="199" y="104"/>
                </a:lnTo>
                <a:lnTo>
                  <a:pt x="204" y="105"/>
                </a:lnTo>
                <a:lnTo>
                  <a:pt x="206" y="104"/>
                </a:lnTo>
                <a:lnTo>
                  <a:pt x="207" y="100"/>
                </a:lnTo>
                <a:lnTo>
                  <a:pt x="209" y="101"/>
                </a:lnTo>
                <a:lnTo>
                  <a:pt x="210" y="100"/>
                </a:lnTo>
                <a:lnTo>
                  <a:pt x="213" y="101"/>
                </a:lnTo>
                <a:lnTo>
                  <a:pt x="214" y="101"/>
                </a:lnTo>
                <a:lnTo>
                  <a:pt x="213" y="99"/>
                </a:lnTo>
                <a:lnTo>
                  <a:pt x="208" y="94"/>
                </a:lnTo>
                <a:lnTo>
                  <a:pt x="207" y="93"/>
                </a:lnTo>
                <a:lnTo>
                  <a:pt x="205" y="91"/>
                </a:lnTo>
                <a:lnTo>
                  <a:pt x="207" y="81"/>
                </a:lnTo>
                <a:lnTo>
                  <a:pt x="204" y="77"/>
                </a:lnTo>
                <a:lnTo>
                  <a:pt x="200" y="77"/>
                </a:lnTo>
                <a:lnTo>
                  <a:pt x="200" y="69"/>
                </a:lnTo>
                <a:lnTo>
                  <a:pt x="180" y="60"/>
                </a:lnTo>
                <a:lnTo>
                  <a:pt x="165" y="64"/>
                </a:lnTo>
                <a:lnTo>
                  <a:pt x="158" y="71"/>
                </a:lnTo>
                <a:lnTo>
                  <a:pt x="158" y="76"/>
                </a:lnTo>
                <a:lnTo>
                  <a:pt x="158" y="82"/>
                </a:lnTo>
                <a:lnTo>
                  <a:pt x="155" y="80"/>
                </a:lnTo>
                <a:lnTo>
                  <a:pt x="151" y="80"/>
                </a:lnTo>
                <a:lnTo>
                  <a:pt x="149" y="79"/>
                </a:lnTo>
                <a:lnTo>
                  <a:pt x="147" y="79"/>
                </a:lnTo>
                <a:lnTo>
                  <a:pt x="146" y="82"/>
                </a:lnTo>
                <a:lnTo>
                  <a:pt x="142" y="81"/>
                </a:lnTo>
                <a:lnTo>
                  <a:pt x="140" y="79"/>
                </a:lnTo>
                <a:lnTo>
                  <a:pt x="135" y="80"/>
                </a:lnTo>
                <a:lnTo>
                  <a:pt x="132" y="81"/>
                </a:lnTo>
                <a:lnTo>
                  <a:pt x="129" y="82"/>
                </a:lnTo>
                <a:lnTo>
                  <a:pt x="127" y="78"/>
                </a:lnTo>
                <a:lnTo>
                  <a:pt x="127" y="76"/>
                </a:lnTo>
                <a:lnTo>
                  <a:pt x="124" y="72"/>
                </a:lnTo>
                <a:lnTo>
                  <a:pt x="121" y="69"/>
                </a:lnTo>
                <a:lnTo>
                  <a:pt x="116" y="67"/>
                </a:lnTo>
                <a:lnTo>
                  <a:pt x="116" y="64"/>
                </a:lnTo>
                <a:lnTo>
                  <a:pt x="115" y="63"/>
                </a:lnTo>
                <a:lnTo>
                  <a:pt x="112" y="64"/>
                </a:lnTo>
                <a:lnTo>
                  <a:pt x="109" y="65"/>
                </a:lnTo>
                <a:lnTo>
                  <a:pt x="107" y="64"/>
                </a:lnTo>
                <a:lnTo>
                  <a:pt x="105" y="64"/>
                </a:lnTo>
                <a:lnTo>
                  <a:pt x="103" y="64"/>
                </a:lnTo>
                <a:lnTo>
                  <a:pt x="100" y="62"/>
                </a:lnTo>
                <a:lnTo>
                  <a:pt x="98" y="60"/>
                </a:lnTo>
                <a:lnTo>
                  <a:pt x="91" y="59"/>
                </a:lnTo>
                <a:lnTo>
                  <a:pt x="90" y="62"/>
                </a:lnTo>
                <a:lnTo>
                  <a:pt x="87" y="60"/>
                </a:lnTo>
                <a:lnTo>
                  <a:pt x="83" y="59"/>
                </a:lnTo>
                <a:lnTo>
                  <a:pt x="80" y="56"/>
                </a:lnTo>
                <a:lnTo>
                  <a:pt x="79" y="50"/>
                </a:lnTo>
                <a:lnTo>
                  <a:pt x="76" y="44"/>
                </a:lnTo>
                <a:lnTo>
                  <a:pt x="73" y="39"/>
                </a:lnTo>
                <a:lnTo>
                  <a:pt x="73" y="36"/>
                </a:lnTo>
                <a:lnTo>
                  <a:pt x="74" y="34"/>
                </a:lnTo>
                <a:lnTo>
                  <a:pt x="79" y="32"/>
                </a:lnTo>
                <a:lnTo>
                  <a:pt x="83" y="28"/>
                </a:lnTo>
                <a:lnTo>
                  <a:pt x="87" y="24"/>
                </a:lnTo>
                <a:lnTo>
                  <a:pt x="90" y="20"/>
                </a:lnTo>
                <a:lnTo>
                  <a:pt x="86" y="16"/>
                </a:lnTo>
                <a:lnTo>
                  <a:pt x="83" y="12"/>
                </a:lnTo>
                <a:lnTo>
                  <a:pt x="79" y="8"/>
                </a:lnTo>
                <a:lnTo>
                  <a:pt x="76" y="5"/>
                </a:lnTo>
                <a:lnTo>
                  <a:pt x="74" y="2"/>
                </a:lnTo>
                <a:lnTo>
                  <a:pt x="72" y="0"/>
                </a:lnTo>
                <a:lnTo>
                  <a:pt x="62" y="4"/>
                </a:lnTo>
                <a:lnTo>
                  <a:pt x="55" y="4"/>
                </a:lnTo>
                <a:lnTo>
                  <a:pt x="56" y="8"/>
                </a:lnTo>
                <a:lnTo>
                  <a:pt x="53" y="11"/>
                </a:lnTo>
                <a:lnTo>
                  <a:pt x="50" y="13"/>
                </a:lnTo>
                <a:lnTo>
                  <a:pt x="49" y="11"/>
                </a:lnTo>
                <a:lnTo>
                  <a:pt x="45" y="12"/>
                </a:lnTo>
                <a:lnTo>
                  <a:pt x="43" y="12"/>
                </a:lnTo>
                <a:lnTo>
                  <a:pt x="40" y="8"/>
                </a:lnTo>
                <a:lnTo>
                  <a:pt x="38" y="4"/>
                </a:lnTo>
                <a:lnTo>
                  <a:pt x="36" y="5"/>
                </a:lnTo>
                <a:lnTo>
                  <a:pt x="35" y="8"/>
                </a:lnTo>
                <a:lnTo>
                  <a:pt x="29" y="7"/>
                </a:lnTo>
                <a:lnTo>
                  <a:pt x="27" y="9"/>
                </a:lnTo>
                <a:lnTo>
                  <a:pt x="27" y="11"/>
                </a:lnTo>
                <a:lnTo>
                  <a:pt x="24" y="14"/>
                </a:lnTo>
                <a:lnTo>
                  <a:pt x="22" y="15"/>
                </a:lnTo>
                <a:lnTo>
                  <a:pt x="21" y="18"/>
                </a:lnTo>
                <a:lnTo>
                  <a:pt x="17" y="20"/>
                </a:lnTo>
                <a:lnTo>
                  <a:pt x="12" y="18"/>
                </a:lnTo>
                <a:lnTo>
                  <a:pt x="9" y="18"/>
                </a:lnTo>
                <a:lnTo>
                  <a:pt x="3" y="14"/>
                </a:lnTo>
                <a:lnTo>
                  <a:pt x="0" y="16"/>
                </a:lnTo>
                <a:lnTo>
                  <a:pt x="4" y="18"/>
                </a:lnTo>
                <a:lnTo>
                  <a:pt x="6" y="22"/>
                </a:lnTo>
                <a:lnTo>
                  <a:pt x="8" y="24"/>
                </a:lnTo>
                <a:lnTo>
                  <a:pt x="16" y="24"/>
                </a:lnTo>
                <a:lnTo>
                  <a:pt x="19" y="25"/>
                </a:lnTo>
                <a:lnTo>
                  <a:pt x="24" y="28"/>
                </a:lnTo>
                <a:lnTo>
                  <a:pt x="27" y="31"/>
                </a:lnTo>
                <a:lnTo>
                  <a:pt x="30" y="33"/>
                </a:lnTo>
                <a:lnTo>
                  <a:pt x="33" y="36"/>
                </a:lnTo>
                <a:lnTo>
                  <a:pt x="35" y="40"/>
                </a:lnTo>
                <a:lnTo>
                  <a:pt x="37" y="43"/>
                </a:lnTo>
                <a:lnTo>
                  <a:pt x="39" y="46"/>
                </a:lnTo>
                <a:lnTo>
                  <a:pt x="39" y="48"/>
                </a:lnTo>
                <a:lnTo>
                  <a:pt x="39" y="52"/>
                </a:lnTo>
                <a:lnTo>
                  <a:pt x="39" y="55"/>
                </a:lnTo>
                <a:lnTo>
                  <a:pt x="38" y="56"/>
                </a:lnTo>
                <a:lnTo>
                  <a:pt x="37" y="58"/>
                </a:lnTo>
                <a:lnTo>
                  <a:pt x="36" y="59"/>
                </a:lnTo>
                <a:lnTo>
                  <a:pt x="35" y="63"/>
                </a:lnTo>
                <a:lnTo>
                  <a:pt x="37" y="64"/>
                </a:lnTo>
                <a:lnTo>
                  <a:pt x="40" y="64"/>
                </a:lnTo>
                <a:lnTo>
                  <a:pt x="41" y="65"/>
                </a:lnTo>
                <a:lnTo>
                  <a:pt x="45" y="66"/>
                </a:lnTo>
                <a:lnTo>
                  <a:pt x="48" y="67"/>
                </a:lnTo>
                <a:cubicBezTo>
                  <a:pt x="48" y="68"/>
                  <a:pt x="48" y="69"/>
                  <a:pt x="47" y="70"/>
                </a:cubicBezTo>
                <a:lnTo>
                  <a:pt x="50" y="73"/>
                </a:lnTo>
                <a:lnTo>
                  <a:pt x="51" y="73"/>
                </a:lnTo>
                <a:lnTo>
                  <a:pt x="51" y="75"/>
                </a:lnTo>
                <a:lnTo>
                  <a:pt x="50" y="75"/>
                </a:lnTo>
                <a:lnTo>
                  <a:pt x="49" y="75"/>
                </a:lnTo>
                <a:lnTo>
                  <a:pt x="43" y="79"/>
                </a:lnTo>
                <a:lnTo>
                  <a:pt x="40" y="80"/>
                </a:lnTo>
                <a:lnTo>
                  <a:pt x="36" y="80"/>
                </a:lnTo>
                <a:lnTo>
                  <a:pt x="36" y="81"/>
                </a:lnTo>
                <a:lnTo>
                  <a:pt x="31" y="83"/>
                </a:lnTo>
                <a:lnTo>
                  <a:pt x="27" y="83"/>
                </a:lnTo>
                <a:lnTo>
                  <a:pt x="27" y="82"/>
                </a:lnTo>
                <a:lnTo>
                  <a:pt x="25" y="82"/>
                </a:lnTo>
                <a:lnTo>
                  <a:pt x="11" y="85"/>
                </a:lnTo>
                <a:lnTo>
                  <a:pt x="9" y="87"/>
                </a:lnTo>
                <a:lnTo>
                  <a:pt x="9" y="88"/>
                </a:lnTo>
                <a:lnTo>
                  <a:pt x="10" y="94"/>
                </a:lnTo>
                <a:lnTo>
                  <a:pt x="9" y="94"/>
                </a:lnTo>
                <a:lnTo>
                  <a:pt x="6" y="94"/>
                </a:lnTo>
                <a:lnTo>
                  <a:pt x="5" y="95"/>
                </a:lnTo>
                <a:lnTo>
                  <a:pt x="8" y="97"/>
                </a:lnTo>
                <a:lnTo>
                  <a:pt x="10" y="97"/>
                </a:lnTo>
                <a:lnTo>
                  <a:pt x="12" y="103"/>
                </a:lnTo>
                <a:lnTo>
                  <a:pt x="14" y="105"/>
                </a:lnTo>
                <a:lnTo>
                  <a:pt x="15" y="107"/>
                </a:lnTo>
                <a:lnTo>
                  <a:pt x="17" y="117"/>
                </a:lnTo>
                <a:lnTo>
                  <a:pt x="19" y="118"/>
                </a:lnTo>
                <a:lnTo>
                  <a:pt x="23" y="122"/>
                </a:lnTo>
                <a:lnTo>
                  <a:pt x="27" y="128"/>
                </a:lnTo>
                <a:lnTo>
                  <a:pt x="29" y="134"/>
                </a:lnTo>
                <a:lnTo>
                  <a:pt x="33" y="132"/>
                </a:lnTo>
                <a:lnTo>
                  <a:pt x="35" y="130"/>
                </a:lnTo>
                <a:lnTo>
                  <a:pt x="38" y="133"/>
                </a:lnTo>
                <a:lnTo>
                  <a:pt x="48" y="123"/>
                </a:lnTo>
                <a:lnTo>
                  <a:pt x="52" y="122"/>
                </a:lnTo>
                <a:lnTo>
                  <a:pt x="56" y="123"/>
                </a:lnTo>
                <a:lnTo>
                  <a:pt x="59" y="128"/>
                </a:lnTo>
                <a:lnTo>
                  <a:pt x="60" y="131"/>
                </a:lnTo>
                <a:lnTo>
                  <a:pt x="68" y="135"/>
                </a:lnTo>
                <a:lnTo>
                  <a:pt x="68" y="137"/>
                </a:lnTo>
                <a:lnTo>
                  <a:pt x="69" y="144"/>
                </a:lnTo>
                <a:lnTo>
                  <a:pt x="71" y="148"/>
                </a:lnTo>
                <a:lnTo>
                  <a:pt x="72" y="149"/>
                </a:lnTo>
                <a:lnTo>
                  <a:pt x="71" y="152"/>
                </a:lnTo>
                <a:lnTo>
                  <a:pt x="71" y="155"/>
                </a:lnTo>
                <a:lnTo>
                  <a:pt x="71" y="158"/>
                </a:lnTo>
                <a:lnTo>
                  <a:pt x="75" y="158"/>
                </a:lnTo>
                <a:lnTo>
                  <a:pt x="74" y="162"/>
                </a:lnTo>
                <a:lnTo>
                  <a:pt x="74" y="167"/>
                </a:lnTo>
                <a:lnTo>
                  <a:pt x="71" y="169"/>
                </a:lnTo>
                <a:lnTo>
                  <a:pt x="67" y="171"/>
                </a:lnTo>
                <a:lnTo>
                  <a:pt x="63" y="173"/>
                </a:lnTo>
                <a:lnTo>
                  <a:pt x="66" y="174"/>
                </a:lnTo>
                <a:lnTo>
                  <a:pt x="67" y="176"/>
                </a:lnTo>
                <a:lnTo>
                  <a:pt x="62" y="178"/>
                </a:lnTo>
                <a:lnTo>
                  <a:pt x="63" y="183"/>
                </a:lnTo>
                <a:lnTo>
                  <a:pt x="62" y="188"/>
                </a:lnTo>
                <a:lnTo>
                  <a:pt x="61" y="191"/>
                </a:lnTo>
                <a:lnTo>
                  <a:pt x="64" y="191"/>
                </a:lnTo>
                <a:lnTo>
                  <a:pt x="65" y="194"/>
                </a:lnTo>
                <a:lnTo>
                  <a:pt x="65" y="196"/>
                </a:lnTo>
                <a:lnTo>
                  <a:pt x="69" y="197"/>
                </a:lnTo>
                <a:lnTo>
                  <a:pt x="69" y="200"/>
                </a:lnTo>
                <a:lnTo>
                  <a:pt x="72" y="206"/>
                </a:lnTo>
                <a:lnTo>
                  <a:pt x="74" y="207"/>
                </a:lnTo>
                <a:lnTo>
                  <a:pt x="74" y="210"/>
                </a:lnTo>
                <a:lnTo>
                  <a:pt x="76" y="211"/>
                </a:lnTo>
                <a:lnTo>
                  <a:pt x="76" y="214"/>
                </a:lnTo>
                <a:lnTo>
                  <a:pt x="79" y="214"/>
                </a:lnTo>
                <a:lnTo>
                  <a:pt x="81" y="214"/>
                </a:lnTo>
                <a:lnTo>
                  <a:pt x="80" y="218"/>
                </a:lnTo>
                <a:lnTo>
                  <a:pt x="79" y="220"/>
                </a:lnTo>
                <a:lnTo>
                  <a:pt x="81" y="223"/>
                </a:lnTo>
                <a:lnTo>
                  <a:pt x="83" y="223"/>
                </a:lnTo>
                <a:lnTo>
                  <a:pt x="84" y="225"/>
                </a:lnTo>
                <a:lnTo>
                  <a:pt x="86" y="224"/>
                </a:lnTo>
                <a:lnTo>
                  <a:pt x="85" y="221"/>
                </a:lnTo>
                <a:lnTo>
                  <a:pt x="87" y="220"/>
                </a:lnTo>
                <a:lnTo>
                  <a:pt x="93" y="220"/>
                </a:lnTo>
                <a:lnTo>
                  <a:pt x="96" y="223"/>
                </a:lnTo>
                <a:lnTo>
                  <a:pt x="102" y="223"/>
                </a:lnTo>
                <a:lnTo>
                  <a:pt x="107" y="223"/>
                </a:lnTo>
                <a:lnTo>
                  <a:pt x="112" y="221"/>
                </a:lnTo>
                <a:lnTo>
                  <a:pt x="114" y="223"/>
                </a:lnTo>
                <a:lnTo>
                  <a:pt x="121" y="224"/>
                </a:lnTo>
                <a:lnTo>
                  <a:pt x="126" y="223"/>
                </a:lnTo>
                <a:lnTo>
                  <a:pt x="126" y="220"/>
                </a:lnTo>
                <a:lnTo>
                  <a:pt x="125" y="216"/>
                </a:lnTo>
                <a:lnTo>
                  <a:pt x="139" y="217"/>
                </a:lnTo>
                <a:lnTo>
                  <a:pt x="142" y="225"/>
                </a:lnTo>
                <a:lnTo>
                  <a:pt x="146" y="228"/>
                </a:lnTo>
                <a:lnTo>
                  <a:pt x="149" y="232"/>
                </a:lnTo>
                <a:lnTo>
                  <a:pt x="151" y="232"/>
                </a:lnTo>
                <a:lnTo>
                  <a:pt x="153" y="238"/>
                </a:lnTo>
                <a:lnTo>
                  <a:pt x="157" y="240"/>
                </a:lnTo>
                <a:lnTo>
                  <a:pt x="160" y="239"/>
                </a:lnTo>
                <a:lnTo>
                  <a:pt x="165" y="239"/>
                </a:lnTo>
                <a:lnTo>
                  <a:pt x="172" y="239"/>
                </a:lnTo>
                <a:lnTo>
                  <a:pt x="176" y="238"/>
                </a:lnTo>
                <a:lnTo>
                  <a:pt x="179" y="238"/>
                </a:lnTo>
                <a:lnTo>
                  <a:pt x="181" y="240"/>
                </a:lnTo>
                <a:lnTo>
                  <a:pt x="182" y="243"/>
                </a:lnTo>
                <a:lnTo>
                  <a:pt x="183" y="244"/>
                </a:lnTo>
                <a:lnTo>
                  <a:pt x="187" y="241"/>
                </a:lnTo>
                <a:lnTo>
                  <a:pt x="189" y="242"/>
                </a:lnTo>
                <a:lnTo>
                  <a:pt x="191" y="240"/>
                </a:lnTo>
                <a:lnTo>
                  <a:pt x="196" y="244"/>
                </a:lnTo>
                <a:lnTo>
                  <a:pt x="197" y="253"/>
                </a:lnTo>
                <a:lnTo>
                  <a:pt x="195" y="254"/>
                </a:lnTo>
                <a:lnTo>
                  <a:pt x="195" y="257"/>
                </a:lnTo>
                <a:lnTo>
                  <a:pt x="199" y="258"/>
                </a:lnTo>
                <a:lnTo>
                  <a:pt x="202" y="258"/>
                </a:lnTo>
                <a:lnTo>
                  <a:pt x="205" y="260"/>
                </a:lnTo>
                <a:lnTo>
                  <a:pt x="218" y="263"/>
                </a:lnTo>
                <a:lnTo>
                  <a:pt x="218" y="261"/>
                </a:lnTo>
                <a:lnTo>
                  <a:pt x="235" y="261"/>
                </a:lnTo>
                <a:lnTo>
                  <a:pt x="239" y="260"/>
                </a:lnTo>
                <a:lnTo>
                  <a:pt x="241" y="258"/>
                </a:lnTo>
                <a:lnTo>
                  <a:pt x="242" y="256"/>
                </a:lnTo>
                <a:lnTo>
                  <a:pt x="245" y="247"/>
                </a:lnTo>
                <a:lnTo>
                  <a:pt x="246" y="246"/>
                </a:lnTo>
                <a:lnTo>
                  <a:pt x="250" y="242"/>
                </a:lnTo>
                <a:lnTo>
                  <a:pt x="250" y="240"/>
                </a:lnTo>
                <a:lnTo>
                  <a:pt x="257" y="238"/>
                </a:lnTo>
                <a:lnTo>
                  <a:pt x="260" y="238"/>
                </a:lnTo>
                <a:lnTo>
                  <a:pt x="263" y="232"/>
                </a:lnTo>
                <a:lnTo>
                  <a:pt x="265" y="229"/>
                </a:lnTo>
                <a:lnTo>
                  <a:pt x="266" y="223"/>
                </a:lnTo>
                <a:lnTo>
                  <a:pt x="267" y="221"/>
                </a:lnTo>
                <a:lnTo>
                  <a:pt x="268" y="221"/>
                </a:lnTo>
                <a:lnTo>
                  <a:pt x="272" y="220"/>
                </a:lnTo>
                <a:lnTo>
                  <a:pt x="274" y="221"/>
                </a:lnTo>
                <a:lnTo>
                  <a:pt x="275" y="221"/>
                </a:lnTo>
                <a:lnTo>
                  <a:pt x="276" y="221"/>
                </a:lnTo>
                <a:lnTo>
                  <a:pt x="279" y="220"/>
                </a:lnTo>
                <a:lnTo>
                  <a:pt x="283" y="218"/>
                </a:lnTo>
                <a:lnTo>
                  <a:pt x="284" y="218"/>
                </a:lnTo>
                <a:lnTo>
                  <a:pt x="285" y="215"/>
                </a:lnTo>
                <a:lnTo>
                  <a:pt x="279" y="210"/>
                </a:lnTo>
                <a:lnTo>
                  <a:pt x="277" y="204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4" name="Freeform 182"/>
          <p:cNvSpPr>
            <a:spLocks noEditPoints="1"/>
          </p:cNvSpPr>
          <p:nvPr/>
        </p:nvSpPr>
        <p:spPr bwMode="auto">
          <a:xfrm>
            <a:off x="7758113" y="2852738"/>
            <a:ext cx="288925" cy="241300"/>
          </a:xfrm>
          <a:custGeom>
            <a:avLst/>
            <a:gdLst>
              <a:gd name="T0" fmla="*/ 2147483646 w 92"/>
              <a:gd name="T1" fmla="*/ 2147483646 h 82"/>
              <a:gd name="T2" fmla="*/ 2147483646 w 92"/>
              <a:gd name="T3" fmla="*/ 2147483646 h 82"/>
              <a:gd name="T4" fmla="*/ 2147483646 w 92"/>
              <a:gd name="T5" fmla="*/ 2147483646 h 82"/>
              <a:gd name="T6" fmla="*/ 2147483646 w 92"/>
              <a:gd name="T7" fmla="*/ 2147483646 h 82"/>
              <a:gd name="T8" fmla="*/ 2147483646 w 92"/>
              <a:gd name="T9" fmla="*/ 2147483646 h 82"/>
              <a:gd name="T10" fmla="*/ 2147483646 w 92"/>
              <a:gd name="T11" fmla="*/ 2147483646 h 82"/>
              <a:gd name="T12" fmla="*/ 2147483646 w 92"/>
              <a:gd name="T13" fmla="*/ 2147483646 h 82"/>
              <a:gd name="T14" fmla="*/ 2147483646 w 92"/>
              <a:gd name="T15" fmla="*/ 2147483646 h 82"/>
              <a:gd name="T16" fmla="*/ 2147483646 w 92"/>
              <a:gd name="T17" fmla="*/ 2147483646 h 82"/>
              <a:gd name="T18" fmla="*/ 2147483646 w 92"/>
              <a:gd name="T19" fmla="*/ 2147483646 h 82"/>
              <a:gd name="T20" fmla="*/ 2147483646 w 92"/>
              <a:gd name="T21" fmla="*/ 2147483646 h 82"/>
              <a:gd name="T22" fmla="*/ 2147483646 w 92"/>
              <a:gd name="T23" fmla="*/ 2147483646 h 82"/>
              <a:gd name="T24" fmla="*/ 2147483646 w 92"/>
              <a:gd name="T25" fmla="*/ 2147483646 h 82"/>
              <a:gd name="T26" fmla="*/ 2147483646 w 92"/>
              <a:gd name="T27" fmla="*/ 2147483646 h 82"/>
              <a:gd name="T28" fmla="*/ 2147483646 w 92"/>
              <a:gd name="T29" fmla="*/ 2147483646 h 82"/>
              <a:gd name="T30" fmla="*/ 2147483646 w 92"/>
              <a:gd name="T31" fmla="*/ 2147483646 h 82"/>
              <a:gd name="T32" fmla="*/ 2147483646 w 92"/>
              <a:gd name="T33" fmla="*/ 2147483646 h 82"/>
              <a:gd name="T34" fmla="*/ 2147483646 w 92"/>
              <a:gd name="T35" fmla="*/ 2147483646 h 82"/>
              <a:gd name="T36" fmla="*/ 2147483646 w 92"/>
              <a:gd name="T37" fmla="*/ 2147483646 h 82"/>
              <a:gd name="T38" fmla="*/ 2147483646 w 92"/>
              <a:gd name="T39" fmla="*/ 2147483646 h 82"/>
              <a:gd name="T40" fmla="*/ 2147483646 w 92"/>
              <a:gd name="T41" fmla="*/ 2147483646 h 82"/>
              <a:gd name="T42" fmla="*/ 2147483646 w 92"/>
              <a:gd name="T43" fmla="*/ 2147483646 h 82"/>
              <a:gd name="T44" fmla="*/ 2147483646 w 92"/>
              <a:gd name="T45" fmla="*/ 2147483646 h 82"/>
              <a:gd name="T46" fmla="*/ 2147483646 w 92"/>
              <a:gd name="T47" fmla="*/ 2147483646 h 82"/>
              <a:gd name="T48" fmla="*/ 2147483646 w 92"/>
              <a:gd name="T49" fmla="*/ 2147483646 h 82"/>
              <a:gd name="T50" fmla="*/ 2147483646 w 92"/>
              <a:gd name="T51" fmla="*/ 2147483646 h 82"/>
              <a:gd name="T52" fmla="*/ 2147483646 w 92"/>
              <a:gd name="T53" fmla="*/ 2147483646 h 82"/>
              <a:gd name="T54" fmla="*/ 2147483646 w 92"/>
              <a:gd name="T55" fmla="*/ 2147483646 h 82"/>
              <a:gd name="T56" fmla="*/ 2147483646 w 92"/>
              <a:gd name="T57" fmla="*/ 2147483646 h 82"/>
              <a:gd name="T58" fmla="*/ 2147483646 w 92"/>
              <a:gd name="T59" fmla="*/ 2147483646 h 82"/>
              <a:gd name="T60" fmla="*/ 2147483646 w 92"/>
              <a:gd name="T61" fmla="*/ 2147483646 h 82"/>
              <a:gd name="T62" fmla="*/ 2147483646 w 92"/>
              <a:gd name="T63" fmla="*/ 2147483646 h 82"/>
              <a:gd name="T64" fmla="*/ 2147483646 w 92"/>
              <a:gd name="T65" fmla="*/ 2147483646 h 82"/>
              <a:gd name="T66" fmla="*/ 2147483646 w 92"/>
              <a:gd name="T67" fmla="*/ 2147483646 h 82"/>
              <a:gd name="T68" fmla="*/ 2147483646 w 92"/>
              <a:gd name="T69" fmla="*/ 2147483646 h 82"/>
              <a:gd name="T70" fmla="*/ 2147483646 w 92"/>
              <a:gd name="T71" fmla="*/ 2147483646 h 82"/>
              <a:gd name="T72" fmla="*/ 2147483646 w 92"/>
              <a:gd name="T73" fmla="*/ 2147483646 h 82"/>
              <a:gd name="T74" fmla="*/ 2147483646 w 92"/>
              <a:gd name="T75" fmla="*/ 2147483646 h 82"/>
              <a:gd name="T76" fmla="*/ 2147483646 w 92"/>
              <a:gd name="T77" fmla="*/ 2147483646 h 82"/>
              <a:gd name="T78" fmla="*/ 2147483646 w 92"/>
              <a:gd name="T79" fmla="*/ 2147483646 h 82"/>
              <a:gd name="T80" fmla="*/ 2147483646 w 92"/>
              <a:gd name="T81" fmla="*/ 2147483646 h 82"/>
              <a:gd name="T82" fmla="*/ 2147483646 w 92"/>
              <a:gd name="T83" fmla="*/ 2147483646 h 82"/>
              <a:gd name="T84" fmla="*/ 0 w 92"/>
              <a:gd name="T85" fmla="*/ 2147483646 h 82"/>
              <a:gd name="T86" fmla="*/ 2147483646 w 92"/>
              <a:gd name="T87" fmla="*/ 2147483646 h 82"/>
              <a:gd name="T88" fmla="*/ 2147483646 w 92"/>
              <a:gd name="T89" fmla="*/ 2147483646 h 82"/>
              <a:gd name="T90" fmla="*/ 2147483646 w 92"/>
              <a:gd name="T91" fmla="*/ 2147483646 h 82"/>
              <a:gd name="T92" fmla="*/ 2147483646 w 92"/>
              <a:gd name="T93" fmla="*/ 2147483646 h 82"/>
              <a:gd name="T94" fmla="*/ 2147483646 w 92"/>
              <a:gd name="T95" fmla="*/ 2147483646 h 82"/>
              <a:gd name="T96" fmla="*/ 2147483646 w 92"/>
              <a:gd name="T97" fmla="*/ 0 h 82"/>
              <a:gd name="T98" fmla="*/ 2147483646 w 92"/>
              <a:gd name="T99" fmla="*/ 2147483646 h 82"/>
              <a:gd name="T100" fmla="*/ 2147483646 w 92"/>
              <a:gd name="T101" fmla="*/ 2147483646 h 82"/>
              <a:gd name="T102" fmla="*/ 2147483646 w 92"/>
              <a:gd name="T103" fmla="*/ 2147483646 h 82"/>
              <a:gd name="T104" fmla="*/ 2147483646 w 92"/>
              <a:gd name="T105" fmla="*/ 2147483646 h 82"/>
              <a:gd name="T106" fmla="*/ 2147483646 w 92"/>
              <a:gd name="T107" fmla="*/ 2147483646 h 82"/>
              <a:gd name="T108" fmla="*/ 2147483646 w 92"/>
              <a:gd name="T109" fmla="*/ 2147483646 h 82"/>
              <a:gd name="T110" fmla="*/ 2147483646 w 92"/>
              <a:gd name="T111" fmla="*/ 2147483646 h 8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92" h="82">
                <a:moveTo>
                  <a:pt x="44" y="13"/>
                </a:moveTo>
                <a:lnTo>
                  <a:pt x="48" y="15"/>
                </a:lnTo>
                <a:lnTo>
                  <a:pt x="50" y="19"/>
                </a:lnTo>
                <a:lnTo>
                  <a:pt x="52" y="21"/>
                </a:lnTo>
                <a:lnTo>
                  <a:pt x="60" y="21"/>
                </a:lnTo>
                <a:lnTo>
                  <a:pt x="63" y="22"/>
                </a:lnTo>
                <a:lnTo>
                  <a:pt x="68" y="25"/>
                </a:lnTo>
                <a:lnTo>
                  <a:pt x="71" y="28"/>
                </a:lnTo>
                <a:lnTo>
                  <a:pt x="74" y="30"/>
                </a:lnTo>
                <a:lnTo>
                  <a:pt x="77" y="33"/>
                </a:lnTo>
                <a:lnTo>
                  <a:pt x="79" y="37"/>
                </a:lnTo>
                <a:lnTo>
                  <a:pt x="81" y="40"/>
                </a:lnTo>
                <a:lnTo>
                  <a:pt x="83" y="43"/>
                </a:lnTo>
                <a:lnTo>
                  <a:pt x="83" y="45"/>
                </a:lnTo>
                <a:lnTo>
                  <a:pt x="83" y="49"/>
                </a:lnTo>
                <a:lnTo>
                  <a:pt x="83" y="52"/>
                </a:lnTo>
                <a:lnTo>
                  <a:pt x="82" y="53"/>
                </a:lnTo>
                <a:lnTo>
                  <a:pt x="81" y="55"/>
                </a:lnTo>
                <a:lnTo>
                  <a:pt x="80" y="56"/>
                </a:lnTo>
                <a:lnTo>
                  <a:pt x="79" y="60"/>
                </a:lnTo>
                <a:lnTo>
                  <a:pt x="81" y="61"/>
                </a:lnTo>
                <a:lnTo>
                  <a:pt x="84" y="61"/>
                </a:lnTo>
                <a:lnTo>
                  <a:pt x="85" y="62"/>
                </a:lnTo>
                <a:lnTo>
                  <a:pt x="89" y="63"/>
                </a:lnTo>
                <a:lnTo>
                  <a:pt x="92" y="64"/>
                </a:lnTo>
                <a:cubicBezTo>
                  <a:pt x="92" y="65"/>
                  <a:pt x="92" y="66"/>
                  <a:pt x="91" y="67"/>
                </a:cubicBezTo>
                <a:lnTo>
                  <a:pt x="90" y="65"/>
                </a:lnTo>
                <a:lnTo>
                  <a:pt x="87" y="65"/>
                </a:lnTo>
                <a:lnTo>
                  <a:pt x="86" y="64"/>
                </a:lnTo>
                <a:lnTo>
                  <a:pt x="87" y="65"/>
                </a:lnTo>
                <a:lnTo>
                  <a:pt x="86" y="67"/>
                </a:lnTo>
                <a:lnTo>
                  <a:pt x="83" y="71"/>
                </a:lnTo>
                <a:lnTo>
                  <a:pt x="57" y="79"/>
                </a:lnTo>
                <a:lnTo>
                  <a:pt x="56" y="80"/>
                </a:lnTo>
                <a:lnTo>
                  <a:pt x="53" y="81"/>
                </a:lnTo>
                <a:lnTo>
                  <a:pt x="16" y="82"/>
                </a:lnTo>
                <a:lnTo>
                  <a:pt x="15" y="82"/>
                </a:lnTo>
                <a:lnTo>
                  <a:pt x="13" y="82"/>
                </a:lnTo>
                <a:lnTo>
                  <a:pt x="13" y="81"/>
                </a:lnTo>
                <a:lnTo>
                  <a:pt x="5" y="68"/>
                </a:lnTo>
                <a:lnTo>
                  <a:pt x="2" y="66"/>
                </a:lnTo>
                <a:lnTo>
                  <a:pt x="2" y="64"/>
                </a:lnTo>
                <a:lnTo>
                  <a:pt x="0" y="64"/>
                </a:lnTo>
                <a:lnTo>
                  <a:pt x="1" y="58"/>
                </a:lnTo>
                <a:lnTo>
                  <a:pt x="1" y="27"/>
                </a:lnTo>
                <a:lnTo>
                  <a:pt x="1" y="24"/>
                </a:lnTo>
                <a:lnTo>
                  <a:pt x="16" y="3"/>
                </a:lnTo>
                <a:lnTo>
                  <a:pt x="27" y="1"/>
                </a:lnTo>
                <a:lnTo>
                  <a:pt x="27" y="0"/>
                </a:lnTo>
                <a:lnTo>
                  <a:pt x="32" y="1"/>
                </a:lnTo>
                <a:lnTo>
                  <a:pt x="41" y="9"/>
                </a:lnTo>
                <a:lnTo>
                  <a:pt x="42" y="14"/>
                </a:lnTo>
                <a:lnTo>
                  <a:pt x="44" y="13"/>
                </a:lnTo>
                <a:moveTo>
                  <a:pt x="91" y="68"/>
                </a:moveTo>
                <a:cubicBezTo>
                  <a:pt x="91" y="68"/>
                  <a:pt x="91" y="68"/>
                  <a:pt x="91" y="68"/>
                </a:cubicBezTo>
                <a:cubicBezTo>
                  <a:pt x="91" y="68"/>
                  <a:pt x="91" y="68"/>
                  <a:pt x="91" y="68"/>
                </a:cubicBez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5" name="Freeform 183"/>
          <p:cNvSpPr>
            <a:spLocks/>
          </p:cNvSpPr>
          <p:nvPr/>
        </p:nvSpPr>
        <p:spPr bwMode="auto">
          <a:xfrm>
            <a:off x="7429500" y="3063875"/>
            <a:ext cx="514350" cy="412750"/>
          </a:xfrm>
          <a:custGeom>
            <a:avLst/>
            <a:gdLst>
              <a:gd name="T0" fmla="*/ 2147483646 w 164"/>
              <a:gd name="T1" fmla="*/ 2147483646 h 140"/>
              <a:gd name="T2" fmla="*/ 2147483646 w 164"/>
              <a:gd name="T3" fmla="*/ 2147483646 h 140"/>
              <a:gd name="T4" fmla="*/ 2147483646 w 164"/>
              <a:gd name="T5" fmla="*/ 2147483646 h 140"/>
              <a:gd name="T6" fmla="*/ 2147483646 w 164"/>
              <a:gd name="T7" fmla="*/ 2147483646 h 140"/>
              <a:gd name="T8" fmla="*/ 2147483646 w 164"/>
              <a:gd name="T9" fmla="*/ 2147483646 h 140"/>
              <a:gd name="T10" fmla="*/ 2147483646 w 164"/>
              <a:gd name="T11" fmla="*/ 2147483646 h 140"/>
              <a:gd name="T12" fmla="*/ 2147483646 w 164"/>
              <a:gd name="T13" fmla="*/ 2147483646 h 140"/>
              <a:gd name="T14" fmla="*/ 2147483646 w 164"/>
              <a:gd name="T15" fmla="*/ 2147483646 h 140"/>
              <a:gd name="T16" fmla="*/ 2147483646 w 164"/>
              <a:gd name="T17" fmla="*/ 2147483646 h 140"/>
              <a:gd name="T18" fmla="*/ 2147483646 w 164"/>
              <a:gd name="T19" fmla="*/ 2147483646 h 140"/>
              <a:gd name="T20" fmla="*/ 2147483646 w 164"/>
              <a:gd name="T21" fmla="*/ 2147483646 h 140"/>
              <a:gd name="T22" fmla="*/ 2147483646 w 164"/>
              <a:gd name="T23" fmla="*/ 2147483646 h 140"/>
              <a:gd name="T24" fmla="*/ 2147483646 w 164"/>
              <a:gd name="T25" fmla="*/ 2147483646 h 140"/>
              <a:gd name="T26" fmla="*/ 2147483646 w 164"/>
              <a:gd name="T27" fmla="*/ 2147483646 h 140"/>
              <a:gd name="T28" fmla="*/ 2147483646 w 164"/>
              <a:gd name="T29" fmla="*/ 2147483646 h 140"/>
              <a:gd name="T30" fmla="*/ 2147483646 w 164"/>
              <a:gd name="T31" fmla="*/ 2147483646 h 140"/>
              <a:gd name="T32" fmla="*/ 2147483646 w 164"/>
              <a:gd name="T33" fmla="*/ 2147483646 h 140"/>
              <a:gd name="T34" fmla="*/ 2147483646 w 164"/>
              <a:gd name="T35" fmla="*/ 2147483646 h 140"/>
              <a:gd name="T36" fmla="*/ 2147483646 w 164"/>
              <a:gd name="T37" fmla="*/ 2147483646 h 140"/>
              <a:gd name="T38" fmla="*/ 2147483646 w 164"/>
              <a:gd name="T39" fmla="*/ 2147483646 h 140"/>
              <a:gd name="T40" fmla="*/ 2147483646 w 164"/>
              <a:gd name="T41" fmla="*/ 2147483646 h 140"/>
              <a:gd name="T42" fmla="*/ 2147483646 w 164"/>
              <a:gd name="T43" fmla="*/ 2147483646 h 140"/>
              <a:gd name="T44" fmla="*/ 2147483646 w 164"/>
              <a:gd name="T45" fmla="*/ 2147483646 h 140"/>
              <a:gd name="T46" fmla="*/ 2147483646 w 164"/>
              <a:gd name="T47" fmla="*/ 2147483646 h 140"/>
              <a:gd name="T48" fmla="*/ 2147483646 w 164"/>
              <a:gd name="T49" fmla="*/ 2147483646 h 140"/>
              <a:gd name="T50" fmla="*/ 2147483646 w 164"/>
              <a:gd name="T51" fmla="*/ 2147483646 h 140"/>
              <a:gd name="T52" fmla="*/ 2147483646 w 164"/>
              <a:gd name="T53" fmla="*/ 2147483646 h 140"/>
              <a:gd name="T54" fmla="*/ 2147483646 w 164"/>
              <a:gd name="T55" fmla="*/ 2147483646 h 140"/>
              <a:gd name="T56" fmla="*/ 2147483646 w 164"/>
              <a:gd name="T57" fmla="*/ 2147483646 h 140"/>
              <a:gd name="T58" fmla="*/ 2147483646 w 164"/>
              <a:gd name="T59" fmla="*/ 2147483646 h 140"/>
              <a:gd name="T60" fmla="*/ 2147483646 w 164"/>
              <a:gd name="T61" fmla="*/ 2147483646 h 140"/>
              <a:gd name="T62" fmla="*/ 2147483646 w 164"/>
              <a:gd name="T63" fmla="*/ 2147483646 h 140"/>
              <a:gd name="T64" fmla="*/ 2147483646 w 164"/>
              <a:gd name="T65" fmla="*/ 2147483646 h 140"/>
              <a:gd name="T66" fmla="*/ 2147483646 w 164"/>
              <a:gd name="T67" fmla="*/ 2147483646 h 140"/>
              <a:gd name="T68" fmla="*/ 2147483646 w 164"/>
              <a:gd name="T69" fmla="*/ 2147483646 h 140"/>
              <a:gd name="T70" fmla="*/ 2147483646 w 164"/>
              <a:gd name="T71" fmla="*/ 2147483646 h 140"/>
              <a:gd name="T72" fmla="*/ 0 w 164"/>
              <a:gd name="T73" fmla="*/ 2147483646 h 140"/>
              <a:gd name="T74" fmla="*/ 2147483646 w 164"/>
              <a:gd name="T75" fmla="*/ 2147483646 h 140"/>
              <a:gd name="T76" fmla="*/ 2147483646 w 164"/>
              <a:gd name="T77" fmla="*/ 2147483646 h 140"/>
              <a:gd name="T78" fmla="*/ 2147483646 w 164"/>
              <a:gd name="T79" fmla="*/ 2147483646 h 140"/>
              <a:gd name="T80" fmla="*/ 2147483646 w 164"/>
              <a:gd name="T81" fmla="*/ 2147483646 h 140"/>
              <a:gd name="T82" fmla="*/ 2147483646 w 164"/>
              <a:gd name="T83" fmla="*/ 2147483646 h 140"/>
              <a:gd name="T84" fmla="*/ 2147483646 w 164"/>
              <a:gd name="T85" fmla="*/ 2147483646 h 140"/>
              <a:gd name="T86" fmla="*/ 2147483646 w 164"/>
              <a:gd name="T87" fmla="*/ 2147483646 h 140"/>
              <a:gd name="T88" fmla="*/ 2147483646 w 164"/>
              <a:gd name="T89" fmla="*/ 2147483646 h 140"/>
              <a:gd name="T90" fmla="*/ 2147483646 w 164"/>
              <a:gd name="T91" fmla="*/ 2147483646 h 140"/>
              <a:gd name="T92" fmla="*/ 2147483646 w 164"/>
              <a:gd name="T93" fmla="*/ 2147483646 h 140"/>
              <a:gd name="T94" fmla="*/ 2147483646 w 164"/>
              <a:gd name="T95" fmla="*/ 2147483646 h 140"/>
              <a:gd name="T96" fmla="*/ 2147483646 w 164"/>
              <a:gd name="T97" fmla="*/ 2147483646 h 140"/>
              <a:gd name="T98" fmla="*/ 2147483646 w 164"/>
              <a:gd name="T99" fmla="*/ 2147483646 h 140"/>
              <a:gd name="T100" fmla="*/ 2147483646 w 164"/>
              <a:gd name="T101" fmla="*/ 2147483646 h 140"/>
              <a:gd name="T102" fmla="*/ 2147483646 w 164"/>
              <a:gd name="T103" fmla="*/ 2147483646 h 140"/>
              <a:gd name="T104" fmla="*/ 2147483646 w 164"/>
              <a:gd name="T105" fmla="*/ 2147483646 h 140"/>
              <a:gd name="T106" fmla="*/ 2147483646 w 164"/>
              <a:gd name="T107" fmla="*/ 2147483646 h 140"/>
              <a:gd name="T108" fmla="*/ 2147483646 w 164"/>
              <a:gd name="T109" fmla="*/ 2147483646 h 1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40">
                <a:moveTo>
                  <a:pt x="163" y="33"/>
                </a:moveTo>
                <a:lnTo>
                  <a:pt x="161" y="29"/>
                </a:lnTo>
                <a:lnTo>
                  <a:pt x="154" y="22"/>
                </a:lnTo>
                <a:lnTo>
                  <a:pt x="150" y="21"/>
                </a:lnTo>
                <a:lnTo>
                  <a:pt x="143" y="21"/>
                </a:lnTo>
                <a:lnTo>
                  <a:pt x="142" y="20"/>
                </a:lnTo>
                <a:lnTo>
                  <a:pt x="119" y="14"/>
                </a:lnTo>
                <a:lnTo>
                  <a:pt x="118" y="13"/>
                </a:lnTo>
                <a:lnTo>
                  <a:pt x="118" y="12"/>
                </a:lnTo>
                <a:lnTo>
                  <a:pt x="116" y="11"/>
                </a:lnTo>
                <a:lnTo>
                  <a:pt x="101" y="15"/>
                </a:lnTo>
                <a:lnTo>
                  <a:pt x="98" y="16"/>
                </a:lnTo>
                <a:lnTo>
                  <a:pt x="83" y="30"/>
                </a:lnTo>
                <a:lnTo>
                  <a:pt x="76" y="32"/>
                </a:lnTo>
                <a:lnTo>
                  <a:pt x="73" y="37"/>
                </a:lnTo>
                <a:lnTo>
                  <a:pt x="70" y="41"/>
                </a:lnTo>
                <a:lnTo>
                  <a:pt x="70" y="38"/>
                </a:lnTo>
                <a:lnTo>
                  <a:pt x="71" y="35"/>
                </a:lnTo>
                <a:lnTo>
                  <a:pt x="73" y="31"/>
                </a:lnTo>
                <a:lnTo>
                  <a:pt x="74" y="30"/>
                </a:lnTo>
                <a:lnTo>
                  <a:pt x="76" y="28"/>
                </a:lnTo>
                <a:lnTo>
                  <a:pt x="77" y="26"/>
                </a:lnTo>
                <a:lnTo>
                  <a:pt x="78" y="25"/>
                </a:lnTo>
                <a:lnTo>
                  <a:pt x="78" y="24"/>
                </a:lnTo>
                <a:lnTo>
                  <a:pt x="75" y="15"/>
                </a:lnTo>
                <a:lnTo>
                  <a:pt x="65" y="0"/>
                </a:lnTo>
                <a:lnTo>
                  <a:pt x="63" y="1"/>
                </a:lnTo>
                <a:lnTo>
                  <a:pt x="73" y="17"/>
                </a:lnTo>
                <a:lnTo>
                  <a:pt x="75" y="25"/>
                </a:lnTo>
                <a:lnTo>
                  <a:pt x="75" y="26"/>
                </a:lnTo>
                <a:lnTo>
                  <a:pt x="73" y="27"/>
                </a:lnTo>
                <a:lnTo>
                  <a:pt x="72" y="29"/>
                </a:lnTo>
                <a:lnTo>
                  <a:pt x="71" y="30"/>
                </a:lnTo>
                <a:lnTo>
                  <a:pt x="69" y="34"/>
                </a:lnTo>
                <a:lnTo>
                  <a:pt x="68" y="37"/>
                </a:lnTo>
                <a:lnTo>
                  <a:pt x="69" y="41"/>
                </a:lnTo>
                <a:lnTo>
                  <a:pt x="69" y="42"/>
                </a:lnTo>
                <a:lnTo>
                  <a:pt x="70" y="41"/>
                </a:lnTo>
                <a:lnTo>
                  <a:pt x="71" y="44"/>
                </a:lnTo>
                <a:lnTo>
                  <a:pt x="71" y="45"/>
                </a:lnTo>
                <a:lnTo>
                  <a:pt x="67" y="49"/>
                </a:lnTo>
                <a:lnTo>
                  <a:pt x="61" y="54"/>
                </a:lnTo>
                <a:lnTo>
                  <a:pt x="60" y="53"/>
                </a:lnTo>
                <a:lnTo>
                  <a:pt x="61" y="53"/>
                </a:lnTo>
                <a:lnTo>
                  <a:pt x="60" y="52"/>
                </a:lnTo>
                <a:lnTo>
                  <a:pt x="55" y="57"/>
                </a:lnTo>
                <a:lnTo>
                  <a:pt x="31" y="74"/>
                </a:lnTo>
                <a:lnTo>
                  <a:pt x="25" y="77"/>
                </a:lnTo>
                <a:lnTo>
                  <a:pt x="24" y="78"/>
                </a:lnTo>
                <a:lnTo>
                  <a:pt x="25" y="78"/>
                </a:lnTo>
                <a:lnTo>
                  <a:pt x="24" y="80"/>
                </a:lnTo>
                <a:lnTo>
                  <a:pt x="22" y="80"/>
                </a:lnTo>
                <a:lnTo>
                  <a:pt x="24" y="78"/>
                </a:lnTo>
                <a:lnTo>
                  <a:pt x="21" y="80"/>
                </a:lnTo>
                <a:lnTo>
                  <a:pt x="9" y="87"/>
                </a:lnTo>
                <a:lnTo>
                  <a:pt x="8" y="89"/>
                </a:lnTo>
                <a:lnTo>
                  <a:pt x="1" y="93"/>
                </a:lnTo>
                <a:lnTo>
                  <a:pt x="0" y="95"/>
                </a:lnTo>
                <a:lnTo>
                  <a:pt x="3" y="99"/>
                </a:lnTo>
                <a:lnTo>
                  <a:pt x="3" y="109"/>
                </a:lnTo>
                <a:lnTo>
                  <a:pt x="6" y="111"/>
                </a:lnTo>
                <a:lnTo>
                  <a:pt x="5" y="112"/>
                </a:lnTo>
                <a:lnTo>
                  <a:pt x="6" y="113"/>
                </a:lnTo>
                <a:lnTo>
                  <a:pt x="16" y="110"/>
                </a:lnTo>
                <a:lnTo>
                  <a:pt x="21" y="111"/>
                </a:lnTo>
                <a:lnTo>
                  <a:pt x="29" y="113"/>
                </a:lnTo>
                <a:lnTo>
                  <a:pt x="35" y="116"/>
                </a:lnTo>
                <a:lnTo>
                  <a:pt x="43" y="122"/>
                </a:lnTo>
                <a:lnTo>
                  <a:pt x="58" y="135"/>
                </a:lnTo>
                <a:lnTo>
                  <a:pt x="63" y="139"/>
                </a:lnTo>
                <a:lnTo>
                  <a:pt x="66" y="140"/>
                </a:lnTo>
                <a:lnTo>
                  <a:pt x="77" y="137"/>
                </a:lnTo>
                <a:lnTo>
                  <a:pt x="91" y="132"/>
                </a:lnTo>
                <a:lnTo>
                  <a:pt x="97" y="117"/>
                </a:lnTo>
                <a:lnTo>
                  <a:pt x="95" y="107"/>
                </a:lnTo>
                <a:lnTo>
                  <a:pt x="95" y="104"/>
                </a:lnTo>
                <a:lnTo>
                  <a:pt x="99" y="99"/>
                </a:lnTo>
                <a:lnTo>
                  <a:pt x="104" y="100"/>
                </a:lnTo>
                <a:lnTo>
                  <a:pt x="109" y="99"/>
                </a:lnTo>
                <a:lnTo>
                  <a:pt x="111" y="100"/>
                </a:lnTo>
                <a:lnTo>
                  <a:pt x="110" y="98"/>
                </a:lnTo>
                <a:lnTo>
                  <a:pt x="111" y="97"/>
                </a:lnTo>
                <a:lnTo>
                  <a:pt x="114" y="93"/>
                </a:lnTo>
                <a:lnTo>
                  <a:pt x="122" y="87"/>
                </a:lnTo>
                <a:lnTo>
                  <a:pt x="135" y="81"/>
                </a:lnTo>
                <a:lnTo>
                  <a:pt x="140" y="81"/>
                </a:lnTo>
                <a:lnTo>
                  <a:pt x="147" y="76"/>
                </a:lnTo>
                <a:lnTo>
                  <a:pt x="151" y="72"/>
                </a:lnTo>
                <a:lnTo>
                  <a:pt x="161" y="56"/>
                </a:lnTo>
                <a:lnTo>
                  <a:pt x="163" y="52"/>
                </a:lnTo>
                <a:lnTo>
                  <a:pt x="164" y="48"/>
                </a:lnTo>
                <a:lnTo>
                  <a:pt x="164" y="45"/>
                </a:lnTo>
                <a:lnTo>
                  <a:pt x="164" y="37"/>
                </a:lnTo>
                <a:lnTo>
                  <a:pt x="163" y="3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4706" name="Freeform 184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6629400" y="4191000"/>
            <a:ext cx="200025" cy="120650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rgbClr val="E6E8F2"/>
          </a:solidFill>
          <a:ln w="3175" cap="flat" cmpd="sng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pic>
        <p:nvPicPr>
          <p:cNvPr id="24707" name="Picture 185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382000" y="2819400"/>
            <a:ext cx="204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08" name="Text Box 186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772400" y="2819400"/>
            <a:ext cx="593725" cy="1730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Wijster</a:t>
            </a:r>
          </a:p>
        </p:txBody>
      </p:sp>
      <p:pic>
        <p:nvPicPr>
          <p:cNvPr id="24709" name="Picture 189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83525" y="4114800"/>
            <a:ext cx="173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0" name="Picture 190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62913" y="4457700"/>
            <a:ext cx="17303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1" name="Picture 191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42263" y="4638675"/>
            <a:ext cx="17303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2" name="Picture 192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980363" y="4876800"/>
            <a:ext cx="173037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3" name="Picture 193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07325" y="4784725"/>
            <a:ext cx="17303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4" name="Picture 194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42225" y="4273550"/>
            <a:ext cx="173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5" name="Picture 195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75563" y="4038600"/>
            <a:ext cx="17303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6" name="Picture 196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350125" y="4240213"/>
            <a:ext cx="173038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7" name="Picture 197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923088" y="4092575"/>
            <a:ext cx="173037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8" name="Picture 198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772400" y="4495800"/>
            <a:ext cx="173038" cy="16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19" name="Picture 199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02438" y="4214813"/>
            <a:ext cx="173037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20" name="Text Box 20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315200" y="4017963"/>
            <a:ext cx="330200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Uden</a:t>
            </a:r>
          </a:p>
        </p:txBody>
      </p:sp>
      <p:sp>
        <p:nvSpPr>
          <p:cNvPr id="24721" name="Text Box 20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085138" y="4030663"/>
            <a:ext cx="325437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Haps</a:t>
            </a:r>
          </a:p>
        </p:txBody>
      </p:sp>
      <p:sp>
        <p:nvSpPr>
          <p:cNvPr id="24722" name="Text Box 20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285163" y="4464050"/>
            <a:ext cx="525462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Tegelen</a:t>
            </a:r>
          </a:p>
        </p:txBody>
      </p:sp>
      <p:sp>
        <p:nvSpPr>
          <p:cNvPr id="24723" name="Text Box 203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194675" y="4649788"/>
            <a:ext cx="58896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Montfort</a:t>
            </a:r>
          </a:p>
        </p:txBody>
      </p:sp>
      <p:sp>
        <p:nvSpPr>
          <p:cNvPr id="24724" name="Text Box 20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21525" y="4841875"/>
            <a:ext cx="72548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Schinnen</a:t>
            </a:r>
          </a:p>
        </p:txBody>
      </p:sp>
      <p:sp>
        <p:nvSpPr>
          <p:cNvPr id="24725" name="Text Box 205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8170863" y="4919663"/>
            <a:ext cx="779462" cy="173037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Landgraaf</a:t>
            </a:r>
          </a:p>
        </p:txBody>
      </p:sp>
      <p:sp>
        <p:nvSpPr>
          <p:cNvPr id="24726" name="Text Box 206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686675" y="4318000"/>
            <a:ext cx="882650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Nuenen</a:t>
            </a:r>
          </a:p>
        </p:txBody>
      </p:sp>
      <p:sp>
        <p:nvSpPr>
          <p:cNvPr id="24727" name="Text Box 20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7045325" y="4395788"/>
            <a:ext cx="581025" cy="173037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Tilburg</a:t>
            </a:r>
          </a:p>
        </p:txBody>
      </p:sp>
      <p:sp>
        <p:nvSpPr>
          <p:cNvPr id="24728" name="Text Box 208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6016625" y="4017963"/>
            <a:ext cx="849313" cy="160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Zevenbergen</a:t>
            </a:r>
          </a:p>
        </p:txBody>
      </p:sp>
      <p:sp>
        <p:nvSpPr>
          <p:cNvPr id="24729" name="Text Box 20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299200" y="4329113"/>
            <a:ext cx="566738" cy="32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Bergen </a:t>
            </a:r>
          </a:p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op Zoom</a:t>
            </a:r>
          </a:p>
        </p:txBody>
      </p:sp>
      <p:sp>
        <p:nvSpPr>
          <p:cNvPr id="24730" name="Text Box 21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7391400" y="4572000"/>
            <a:ext cx="409575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100" b="1" i="1"/>
              <a:t>Weert</a:t>
            </a:r>
          </a:p>
        </p:txBody>
      </p:sp>
      <p:sp>
        <p:nvSpPr>
          <p:cNvPr id="24731" name="Text Box 110"/>
          <p:cNvSpPr txBox="1">
            <a:spLocks noChangeArrowheads="1"/>
          </p:cNvSpPr>
          <p:nvPr/>
        </p:nvSpPr>
        <p:spPr bwMode="auto">
          <a:xfrm>
            <a:off x="1371600" y="3429000"/>
            <a:ext cx="498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37931725" indent="-3747452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cs typeface="Arial" panose="020B0604020202020204" pitchFamily="34" charset="0"/>
              </a:rPr>
              <a:t>Wilp</a:t>
            </a:r>
          </a:p>
        </p:txBody>
      </p:sp>
      <p:pic>
        <p:nvPicPr>
          <p:cNvPr id="24732" name="Picture 213"/>
          <p:cNvPicPr>
            <a:picLocks noChangeAspect="1" noChangeArrowheads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2288" y="3448050"/>
            <a:ext cx="265112" cy="209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33" name="Picture 216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3000" y="3441700"/>
            <a:ext cx="152400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34" name="Text Box 110"/>
          <p:cNvSpPr txBox="1">
            <a:spLocks noChangeArrowheads="1"/>
          </p:cNvSpPr>
          <p:nvPr/>
        </p:nvSpPr>
        <p:spPr bwMode="auto">
          <a:xfrm>
            <a:off x="4483100" y="3429000"/>
            <a:ext cx="49847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37931725" indent="-37474525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nl-NL" altLang="nl-NL" sz="1200" b="1">
                <a:cs typeface="Arial" panose="020B0604020202020204" pitchFamily="34" charset="0"/>
              </a:rPr>
              <a:t>Wilp</a:t>
            </a:r>
          </a:p>
        </p:txBody>
      </p:sp>
      <p:pic>
        <p:nvPicPr>
          <p:cNvPr id="24735" name="Picture 220"/>
          <p:cNvPicPr>
            <a:picLocks noChangeAspect="1" noChangeArrowheads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848600" y="3505200"/>
            <a:ext cx="173038" cy="1603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36" name="Text Box 22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7407275" y="3505200"/>
            <a:ext cx="441325" cy="1730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Wilp</a:t>
            </a:r>
          </a:p>
        </p:txBody>
      </p:sp>
      <p:sp>
        <p:nvSpPr>
          <p:cNvPr id="24737" name="Text Box 22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6645275" y="6019800"/>
            <a:ext cx="441325" cy="173038"/>
          </a:xfrm>
          <a:prstGeom prst="rect">
            <a:avLst/>
          </a:prstGeom>
          <a:solidFill>
            <a:srgbClr val="6E143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Wilp</a:t>
            </a:r>
          </a:p>
        </p:txBody>
      </p:sp>
      <p:pic>
        <p:nvPicPr>
          <p:cNvPr id="24738" name="Picture 225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3850" y="2819400"/>
            <a:ext cx="158750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39" name="Picture 227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6800" y="3505200"/>
            <a:ext cx="158750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0" name="Picture 228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8213" y="4800600"/>
            <a:ext cx="204787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1" name="Picture 229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38" y="4786313"/>
            <a:ext cx="149225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2" name="Picture 230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613" y="4137025"/>
            <a:ext cx="204787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43" name="Text Box 23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3962400" y="4322763"/>
            <a:ext cx="504825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Tilburg</a:t>
            </a:r>
          </a:p>
        </p:txBody>
      </p:sp>
      <p:pic>
        <p:nvPicPr>
          <p:cNvPr id="24744" name="Picture 19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1963" y="4152900"/>
            <a:ext cx="158750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5" name="Picture 18"/>
          <p:cNvPicPr>
            <a:picLocks noChangeArrowheads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000" y="4000500"/>
            <a:ext cx="149225" cy="190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6" name="Picture 19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1475" y="2954338"/>
            <a:ext cx="158750" cy="1635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7" name="Picture 19"/>
          <p:cNvPicPr>
            <a:picLocks noChangeAspect="1" noChangeArrowheads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7050" y="4032250"/>
            <a:ext cx="158750" cy="163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748" name="Afbeelding 1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113" y="5867400"/>
            <a:ext cx="166687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749" name="Afbeelding 227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8150" y="3984625"/>
            <a:ext cx="168275" cy="166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750" name="Rechthoek 2"/>
          <p:cNvSpPr>
            <a:spLocks noChangeArrowheads="1"/>
          </p:cNvSpPr>
          <p:nvPr/>
        </p:nvSpPr>
        <p:spPr bwMode="auto">
          <a:xfrm>
            <a:off x="1798638" y="4013200"/>
            <a:ext cx="91440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nl-NL" altLang="nl-NL" sz="1200" b="1">
                <a:solidFill>
                  <a:srgbClr val="000000"/>
                </a:solidFill>
              </a:rPr>
              <a:t>Odiliapeel</a:t>
            </a:r>
          </a:p>
        </p:txBody>
      </p:sp>
      <p:pic>
        <p:nvPicPr>
          <p:cNvPr id="24751" name="Picture 17"/>
          <p:cNvPicPr>
            <a:picLocks noChangeArrowheads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9038" y="4746625"/>
            <a:ext cx="204787" cy="206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752" name="Text Box 135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238750" y="4724400"/>
            <a:ext cx="704850" cy="176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Landgraaf</a:t>
            </a:r>
          </a:p>
        </p:txBody>
      </p:sp>
    </p:spTree>
    <p:extLst>
      <p:ext uri="{BB962C8B-B14F-4D97-AF65-F5344CB8AC3E}">
        <p14:creationId xmlns:p14="http://schemas.microsoft.com/office/powerpoint/2010/main" val="3125617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Tijdelijke aanduiding voor dianummer 5"/>
          <p:cNvSpPr>
            <a:spLocks noGrp="1"/>
          </p:cNvSpPr>
          <p:nvPr>
            <p:ph type="sldNum" sz="quarter" idx="4294967295"/>
          </p:nvPr>
        </p:nvSpPr>
        <p:spPr>
          <a:xfrm>
            <a:off x="1385888" y="6553200"/>
            <a:ext cx="290512" cy="228600"/>
          </a:xfrm>
          <a:prstGeom prst="rect">
            <a:avLst/>
          </a:prstGeom>
          <a:noFill/>
        </p:spPr>
        <p:txBody>
          <a:bodyPr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fld id="{DDBC7C76-1F1D-4694-AA6B-1E6E5035546E}" type="slidenum">
              <a:rPr lang="nl-NL" altLang="nl-NL" sz="1000" smtClean="0">
                <a:solidFill>
                  <a:schemeClr val="bg1"/>
                </a:solidFill>
              </a:rPr>
              <a:pPr>
                <a:spcBef>
                  <a:spcPct val="0"/>
                </a:spcBef>
                <a:buFontTx/>
                <a:buNone/>
              </a:pPr>
              <a:t>8</a:t>
            </a:fld>
            <a:endParaRPr lang="nl-NL" altLang="nl-NL" sz="1000" smtClean="0">
              <a:solidFill>
                <a:schemeClr val="bg1"/>
              </a:solidFill>
            </a:endParaRPr>
          </a:p>
        </p:txBody>
      </p:sp>
      <p:sp>
        <p:nvSpPr>
          <p:cNvPr id="27651" name="Rectangle 2"/>
          <p:cNvSpPr>
            <a:spLocks noGrp="1" noChangeArrowheads="1"/>
          </p:cNvSpPr>
          <p:nvPr>
            <p:ph type="title"/>
          </p:nvPr>
        </p:nvSpPr>
        <p:spPr>
          <a:xfrm>
            <a:off x="550069" y="152400"/>
            <a:ext cx="8043862" cy="655638"/>
          </a:xfrm>
          <a:noFill/>
        </p:spPr>
        <p:txBody>
          <a:bodyPr/>
          <a:lstStyle/>
          <a:p>
            <a:pPr algn="ctr" eaLnBrk="1" hangingPunct="1"/>
            <a:r>
              <a:rPr lang="nl-NL" altLang="nl-NL" dirty="0" smtClean="0"/>
              <a:t>Afvalenergiecentrales in Nederland</a:t>
            </a:r>
          </a:p>
        </p:txBody>
      </p:sp>
      <p:pic>
        <p:nvPicPr>
          <p:cNvPr id="27652" name="Picture 3" descr="20110525 000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33" t="8330" r="5888" b="8475"/>
          <a:stretch>
            <a:fillRect/>
          </a:stretch>
        </p:blipFill>
        <p:spPr bwMode="auto">
          <a:xfrm>
            <a:off x="6629400" y="1885950"/>
            <a:ext cx="1828800" cy="1262063"/>
          </a:xfrm>
          <a:prstGeom prst="rect">
            <a:avLst/>
          </a:prstGeom>
          <a:noFill/>
          <a:ln w="25400">
            <a:solidFill>
              <a:srgbClr val="6E143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653" name="Freeform 4"/>
          <p:cNvSpPr>
            <a:spLocks/>
          </p:cNvSpPr>
          <p:nvPr/>
        </p:nvSpPr>
        <p:spPr bwMode="auto">
          <a:xfrm>
            <a:off x="4216400" y="3260725"/>
            <a:ext cx="3175" cy="4763"/>
          </a:xfrm>
          <a:custGeom>
            <a:avLst/>
            <a:gdLst>
              <a:gd name="T0" fmla="*/ 0 w 3175"/>
              <a:gd name="T1" fmla="*/ 2147483646 h 3"/>
              <a:gd name="T2" fmla="*/ 0 w 3175"/>
              <a:gd name="T3" fmla="*/ 0 h 3"/>
              <a:gd name="T4" fmla="*/ 0 w 3175"/>
              <a:gd name="T5" fmla="*/ 0 h 3"/>
              <a:gd name="T6" fmla="*/ 0 w 3175"/>
              <a:gd name="T7" fmla="*/ 0 h 3"/>
              <a:gd name="T8" fmla="*/ 0 w 3175"/>
              <a:gd name="T9" fmla="*/ 0 h 3"/>
              <a:gd name="T10" fmla="*/ 0 w 3175"/>
              <a:gd name="T11" fmla="*/ 2147483646 h 3"/>
              <a:gd name="T12" fmla="*/ 0 w 3175"/>
              <a:gd name="T13" fmla="*/ 2147483646 h 3"/>
              <a:gd name="T14" fmla="*/ 0 w 3175"/>
              <a:gd name="T15" fmla="*/ 2147483646 h 3"/>
              <a:gd name="T16" fmla="*/ 0 w 3175"/>
              <a:gd name="T17" fmla="*/ 2147483646 h 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3175" h="3">
                <a:moveTo>
                  <a:pt x="0" y="3"/>
                </a:move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4" name="Freeform 5"/>
          <p:cNvSpPr>
            <a:spLocks/>
          </p:cNvSpPr>
          <p:nvPr/>
        </p:nvSpPr>
        <p:spPr bwMode="auto">
          <a:xfrm>
            <a:off x="4222750" y="3238500"/>
            <a:ext cx="4763" cy="0"/>
          </a:xfrm>
          <a:custGeom>
            <a:avLst/>
            <a:gdLst>
              <a:gd name="T0" fmla="*/ 2147483646 w 3"/>
              <a:gd name="T1" fmla="*/ 0 w 3"/>
              <a:gd name="T2" fmla="*/ 0 w 3"/>
              <a:gd name="T3" fmla="*/ 0 w 3"/>
              <a:gd name="T4" fmla="*/ 0 w 3"/>
              <a:gd name="T5" fmla="*/ 2147483646 w 3"/>
              <a:gd name="T6" fmla="*/ 2147483646 w 3"/>
              <a:gd name="T7" fmla="*/ 2147483646 w 3"/>
              <a:gd name="T8" fmla="*/ 2147483646 w 3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3">
                <a:moveTo>
                  <a:pt x="3" y="0"/>
                </a:moveTo>
                <a:lnTo>
                  <a:pt x="0" y="0"/>
                </a:lnTo>
                <a:lnTo>
                  <a:pt x="3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5" name="Freeform 6"/>
          <p:cNvSpPr>
            <a:spLocks/>
          </p:cNvSpPr>
          <p:nvPr/>
        </p:nvSpPr>
        <p:spPr bwMode="auto">
          <a:xfrm>
            <a:off x="4197350" y="3244850"/>
            <a:ext cx="12700" cy="0"/>
          </a:xfrm>
          <a:custGeom>
            <a:avLst/>
            <a:gdLst>
              <a:gd name="T0" fmla="*/ 2147483646 w 6"/>
              <a:gd name="T1" fmla="*/ 2147483646 w 6"/>
              <a:gd name="T2" fmla="*/ 2147483646 w 6"/>
              <a:gd name="T3" fmla="*/ 0 w 6"/>
              <a:gd name="T4" fmla="*/ 0 w 6"/>
              <a:gd name="T5" fmla="*/ 2147483646 w 6"/>
              <a:gd name="T6" fmla="*/ 2147483646 w 6"/>
              <a:gd name="T7" fmla="*/ 2147483646 w 6"/>
              <a:gd name="T8" fmla="*/ 2147483646 w 6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T0" y="0"/>
              </a:cxn>
              <a:cxn ang="T10">
                <a:pos x="T1" y="0"/>
              </a:cxn>
              <a:cxn ang="T11">
                <a:pos x="T2" y="0"/>
              </a:cxn>
              <a:cxn ang="T12">
                <a:pos x="T3" y="0"/>
              </a:cxn>
              <a:cxn ang="T13">
                <a:pos x="T4" y="0"/>
              </a:cxn>
              <a:cxn ang="T14">
                <a:pos x="T5" y="0"/>
              </a:cxn>
              <a:cxn ang="T15">
                <a:pos x="T6" y="0"/>
              </a:cxn>
              <a:cxn ang="T16">
                <a:pos x="T7" y="0"/>
              </a:cxn>
              <a:cxn ang="T17">
                <a:pos x="T8" y="0"/>
              </a:cxn>
            </a:cxnLst>
            <a:rect l="0" t="0" r="r" b="b"/>
            <a:pathLst>
              <a:path w="6">
                <a:moveTo>
                  <a:pt x="6" y="0"/>
                </a:move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6" name="Freeform 7"/>
          <p:cNvSpPr>
            <a:spLocks/>
          </p:cNvSpPr>
          <p:nvPr/>
        </p:nvSpPr>
        <p:spPr bwMode="auto">
          <a:xfrm>
            <a:off x="4197350" y="3244850"/>
            <a:ext cx="12700" cy="0"/>
          </a:xfrm>
          <a:custGeom>
            <a:avLst/>
            <a:gdLst>
              <a:gd name="T0" fmla="*/ 0 w 6"/>
              <a:gd name="T1" fmla="*/ 2147483646 w 6"/>
              <a:gd name="T2" fmla="*/ 2147483646 w 6"/>
              <a:gd name="T3" fmla="*/ 2147483646 w 6"/>
              <a:gd name="T4" fmla="*/ 2147483646 w 6"/>
              <a:gd name="T5" fmla="*/ 0 w 6"/>
              <a:gd name="T6" fmla="*/ 2147483646 w 6"/>
              <a:gd name="T7" fmla="*/ 2147483646 w 6"/>
              <a:gd name="T8" fmla="*/ 2147483646 w 6"/>
              <a:gd name="T9" fmla="*/ 0 w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</a:gdLst>
            <a:ahLst/>
            <a:cxnLst>
              <a:cxn ang="T10">
                <a:pos x="T0" y="0"/>
              </a:cxn>
              <a:cxn ang="T11">
                <a:pos x="T1" y="0"/>
              </a:cxn>
              <a:cxn ang="T12">
                <a:pos x="T2" y="0"/>
              </a:cxn>
              <a:cxn ang="T13">
                <a:pos x="T3" y="0"/>
              </a:cxn>
              <a:cxn ang="T14">
                <a:pos x="T4" y="0"/>
              </a:cxn>
              <a:cxn ang="T15">
                <a:pos x="T5" y="0"/>
              </a:cxn>
              <a:cxn ang="T16">
                <a:pos x="T6" y="0"/>
              </a:cxn>
              <a:cxn ang="T17">
                <a:pos x="T7" y="0"/>
              </a:cxn>
              <a:cxn ang="T18">
                <a:pos x="T8" y="0"/>
              </a:cxn>
              <a:cxn ang="T19">
                <a:pos x="T9" y="0"/>
              </a:cxn>
            </a:cxnLst>
            <a:rect l="0" t="0" r="r" b="b"/>
            <a:pathLst>
              <a:path w="6">
                <a:moveTo>
                  <a:pt x="0" y="0"/>
                </a:moveTo>
                <a:lnTo>
                  <a:pt x="3" y="0"/>
                </a:lnTo>
                <a:lnTo>
                  <a:pt x="0" y="0"/>
                </a:lnTo>
                <a:lnTo>
                  <a:pt x="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7" name="Freeform 8"/>
          <p:cNvSpPr>
            <a:spLocks/>
          </p:cNvSpPr>
          <p:nvPr/>
        </p:nvSpPr>
        <p:spPr bwMode="auto">
          <a:xfrm>
            <a:off x="4191000" y="3249613"/>
            <a:ext cx="0" cy="6350"/>
          </a:xfrm>
          <a:custGeom>
            <a:avLst/>
            <a:gdLst>
              <a:gd name="T0" fmla="*/ 2147483646 h 3"/>
              <a:gd name="T1" fmla="*/ 2147483646 h 3"/>
              <a:gd name="T2" fmla="*/ 2147483646 h 3"/>
              <a:gd name="T3" fmla="*/ 2147483646 h 3"/>
              <a:gd name="T4" fmla="*/ 2147483646 h 3"/>
              <a:gd name="T5" fmla="*/ 2147483646 h 3"/>
              <a:gd name="T6" fmla="*/ 0 h 3"/>
              <a:gd name="T7" fmla="*/ 2147483646 h 3"/>
              <a:gd name="T8" fmla="*/ 2147483646 h 3"/>
              <a:gd name="T9" fmla="*/ 0 60000 655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9">
                <a:pos x="0" y="T0"/>
              </a:cxn>
              <a:cxn ang="T10">
                <a:pos x="0" y="T1"/>
              </a:cxn>
              <a:cxn ang="T11">
                <a:pos x="0" y="T2"/>
              </a:cxn>
              <a:cxn ang="T12">
                <a:pos x="0" y="T3"/>
              </a:cxn>
              <a:cxn ang="T13">
                <a:pos x="0" y="T4"/>
              </a:cxn>
              <a:cxn ang="T14">
                <a:pos x="0" y="T5"/>
              </a:cxn>
              <a:cxn ang="T15">
                <a:pos x="0" y="T6"/>
              </a:cxn>
              <a:cxn ang="T16">
                <a:pos x="0" y="T7"/>
              </a:cxn>
              <a:cxn ang="T17">
                <a:pos x="0" y="T8"/>
              </a:cxn>
            </a:cxnLst>
            <a:rect l="0" t="0" r="r" b="b"/>
            <a:pathLst>
              <a:path h="3">
                <a:moveTo>
                  <a:pt x="0" y="3"/>
                </a:moveTo>
                <a:lnTo>
                  <a:pt x="0" y="3"/>
                </a:lnTo>
                <a:lnTo>
                  <a:pt x="0" y="0"/>
                </a:lnTo>
                <a:lnTo>
                  <a:pt x="0" y="3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8" name="Freeform 9"/>
          <p:cNvSpPr>
            <a:spLocks/>
          </p:cNvSpPr>
          <p:nvPr/>
        </p:nvSpPr>
        <p:spPr bwMode="auto">
          <a:xfrm>
            <a:off x="4157663" y="3303588"/>
            <a:ext cx="3175" cy="3175"/>
          </a:xfrm>
          <a:custGeom>
            <a:avLst/>
            <a:gdLst>
              <a:gd name="T0" fmla="*/ 0 w 2"/>
              <a:gd name="T1" fmla="*/ 0 h 3175"/>
              <a:gd name="T2" fmla="*/ 2147483646 w 2"/>
              <a:gd name="T3" fmla="*/ 0 h 3175"/>
              <a:gd name="T4" fmla="*/ 2147483646 w 2"/>
              <a:gd name="T5" fmla="*/ 0 h 3175"/>
              <a:gd name="T6" fmla="*/ 2147483646 w 2"/>
              <a:gd name="T7" fmla="*/ 0 h 3175"/>
              <a:gd name="T8" fmla="*/ 2147483646 w 2"/>
              <a:gd name="T9" fmla="*/ 0 h 3175"/>
              <a:gd name="T10" fmla="*/ 0 w 2"/>
              <a:gd name="T11" fmla="*/ 0 h 3175"/>
              <a:gd name="T12" fmla="*/ 0 w 2"/>
              <a:gd name="T13" fmla="*/ 0 h 3175"/>
              <a:gd name="T14" fmla="*/ 0 w 2"/>
              <a:gd name="T15" fmla="*/ 0 h 3175"/>
              <a:gd name="T16" fmla="*/ 0 w 2"/>
              <a:gd name="T17" fmla="*/ 0 h 317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2" h="3175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59" name="Freeform 10"/>
          <p:cNvSpPr>
            <a:spLocks/>
          </p:cNvSpPr>
          <p:nvPr/>
        </p:nvSpPr>
        <p:spPr bwMode="auto">
          <a:xfrm>
            <a:off x="3665538" y="2955925"/>
            <a:ext cx="9525" cy="4763"/>
          </a:xfrm>
          <a:custGeom>
            <a:avLst/>
            <a:gdLst>
              <a:gd name="T0" fmla="*/ 2147483646 w 4"/>
              <a:gd name="T1" fmla="*/ 0 h 3"/>
              <a:gd name="T2" fmla="*/ 0 w 4"/>
              <a:gd name="T3" fmla="*/ 0 h 3"/>
              <a:gd name="T4" fmla="*/ 0 w 4"/>
              <a:gd name="T5" fmla="*/ 2147483646 h 3"/>
              <a:gd name="T6" fmla="*/ 2147483646 w 4"/>
              <a:gd name="T7" fmla="*/ 2147483646 h 3"/>
              <a:gd name="T8" fmla="*/ 2147483646 w 4"/>
              <a:gd name="T9" fmla="*/ 0 h 3"/>
              <a:gd name="T10" fmla="*/ 2147483646 w 4"/>
              <a:gd name="T11" fmla="*/ 0 h 3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4" h="3">
                <a:moveTo>
                  <a:pt x="4" y="0"/>
                </a:moveTo>
                <a:lnTo>
                  <a:pt x="0" y="0"/>
                </a:lnTo>
                <a:lnTo>
                  <a:pt x="0" y="3"/>
                </a:lnTo>
                <a:lnTo>
                  <a:pt x="4" y="3"/>
                </a:lnTo>
                <a:lnTo>
                  <a:pt x="4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0" name="Freeform 11"/>
          <p:cNvSpPr>
            <a:spLocks/>
          </p:cNvSpPr>
          <p:nvPr/>
        </p:nvSpPr>
        <p:spPr bwMode="auto">
          <a:xfrm>
            <a:off x="3690938" y="2894013"/>
            <a:ext cx="7937" cy="1587"/>
          </a:xfrm>
          <a:custGeom>
            <a:avLst/>
            <a:gdLst>
              <a:gd name="T0" fmla="*/ 2147483646 w 5"/>
              <a:gd name="T1" fmla="*/ 0 h 1588"/>
              <a:gd name="T2" fmla="*/ 2147483646 w 5"/>
              <a:gd name="T3" fmla="*/ 0 h 1588"/>
              <a:gd name="T4" fmla="*/ 2147483646 w 5"/>
              <a:gd name="T5" fmla="*/ 0 h 1588"/>
              <a:gd name="T6" fmla="*/ 0 w 5"/>
              <a:gd name="T7" fmla="*/ 0 h 1588"/>
              <a:gd name="T8" fmla="*/ 0 w 5"/>
              <a:gd name="T9" fmla="*/ 0 h 1588"/>
              <a:gd name="T10" fmla="*/ 2147483646 w 5"/>
              <a:gd name="T11" fmla="*/ 0 h 1588"/>
              <a:gd name="T12" fmla="*/ 2147483646 w 5"/>
              <a:gd name="T13" fmla="*/ 0 h 1588"/>
              <a:gd name="T14" fmla="*/ 2147483646 w 5"/>
              <a:gd name="T15" fmla="*/ 0 h 1588"/>
              <a:gd name="T16" fmla="*/ 2147483646 w 5"/>
              <a:gd name="T17" fmla="*/ 0 h 158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5" h="1588">
                <a:moveTo>
                  <a:pt x="5" y="0"/>
                </a:moveTo>
                <a:lnTo>
                  <a:pt x="5" y="0"/>
                </a:lnTo>
                <a:lnTo>
                  <a:pt x="0" y="0"/>
                </a:lnTo>
                <a:lnTo>
                  <a:pt x="5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1" name="Freeform 12"/>
          <p:cNvSpPr>
            <a:spLocks/>
          </p:cNvSpPr>
          <p:nvPr/>
        </p:nvSpPr>
        <p:spPr bwMode="auto">
          <a:xfrm>
            <a:off x="3690938" y="2894013"/>
            <a:ext cx="7937" cy="1587"/>
          </a:xfrm>
          <a:custGeom>
            <a:avLst/>
            <a:gdLst>
              <a:gd name="T0" fmla="*/ 0 w 5"/>
              <a:gd name="T1" fmla="*/ 0 h 1588"/>
              <a:gd name="T2" fmla="*/ 2147483646 w 5"/>
              <a:gd name="T3" fmla="*/ 0 h 1588"/>
              <a:gd name="T4" fmla="*/ 2147483646 w 5"/>
              <a:gd name="T5" fmla="*/ 0 h 1588"/>
              <a:gd name="T6" fmla="*/ 2147483646 w 5"/>
              <a:gd name="T7" fmla="*/ 0 h 1588"/>
              <a:gd name="T8" fmla="*/ 2147483646 w 5"/>
              <a:gd name="T9" fmla="*/ 0 h 1588"/>
              <a:gd name="T10" fmla="*/ 0 w 5"/>
              <a:gd name="T11" fmla="*/ 0 h 1588"/>
              <a:gd name="T12" fmla="*/ 2147483646 w 5"/>
              <a:gd name="T13" fmla="*/ 0 h 1588"/>
              <a:gd name="T14" fmla="*/ 2147483646 w 5"/>
              <a:gd name="T15" fmla="*/ 0 h 1588"/>
              <a:gd name="T16" fmla="*/ 2147483646 w 5"/>
              <a:gd name="T17" fmla="*/ 0 h 1588"/>
              <a:gd name="T18" fmla="*/ 0 w 5"/>
              <a:gd name="T19" fmla="*/ 0 h 158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5" h="1588">
                <a:moveTo>
                  <a:pt x="0" y="0"/>
                </a:moveTo>
                <a:lnTo>
                  <a:pt x="2" y="0"/>
                </a:lnTo>
                <a:lnTo>
                  <a:pt x="0" y="0"/>
                </a:lnTo>
                <a:lnTo>
                  <a:pt x="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2" name="Freeform 13"/>
          <p:cNvSpPr>
            <a:spLocks/>
          </p:cNvSpPr>
          <p:nvPr/>
        </p:nvSpPr>
        <p:spPr bwMode="auto">
          <a:xfrm>
            <a:off x="5081588" y="2278063"/>
            <a:ext cx="28575" cy="31750"/>
          </a:xfrm>
          <a:custGeom>
            <a:avLst/>
            <a:gdLst>
              <a:gd name="T0" fmla="*/ 2147483646 w 12"/>
              <a:gd name="T1" fmla="*/ 0 h 18"/>
              <a:gd name="T2" fmla="*/ 0 w 12"/>
              <a:gd name="T3" fmla="*/ 0 h 18"/>
              <a:gd name="T4" fmla="*/ 0 w 12"/>
              <a:gd name="T5" fmla="*/ 2147483646 h 18"/>
              <a:gd name="T6" fmla="*/ 2147483646 w 12"/>
              <a:gd name="T7" fmla="*/ 2147483646 h 18"/>
              <a:gd name="T8" fmla="*/ 2147483646 w 12"/>
              <a:gd name="T9" fmla="*/ 0 h 18"/>
              <a:gd name="T10" fmla="*/ 2147483646 w 12"/>
              <a:gd name="T11" fmla="*/ 0 h 18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2" h="18">
                <a:moveTo>
                  <a:pt x="12" y="0"/>
                </a:moveTo>
                <a:lnTo>
                  <a:pt x="0" y="0"/>
                </a:lnTo>
                <a:lnTo>
                  <a:pt x="0" y="18"/>
                </a:lnTo>
                <a:lnTo>
                  <a:pt x="12" y="18"/>
                </a:lnTo>
                <a:lnTo>
                  <a:pt x="12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3" name="Freeform 14"/>
          <p:cNvSpPr>
            <a:spLocks/>
          </p:cNvSpPr>
          <p:nvPr/>
        </p:nvSpPr>
        <p:spPr bwMode="auto">
          <a:xfrm>
            <a:off x="6321425" y="1692275"/>
            <a:ext cx="12700" cy="39688"/>
          </a:xfrm>
          <a:custGeom>
            <a:avLst/>
            <a:gdLst>
              <a:gd name="T0" fmla="*/ 2147483646 w 6"/>
              <a:gd name="T1" fmla="*/ 0 h 24"/>
              <a:gd name="T2" fmla="*/ 0 w 6"/>
              <a:gd name="T3" fmla="*/ 0 h 24"/>
              <a:gd name="T4" fmla="*/ 0 w 6"/>
              <a:gd name="T5" fmla="*/ 2147483646 h 24"/>
              <a:gd name="T6" fmla="*/ 2147483646 w 6"/>
              <a:gd name="T7" fmla="*/ 2147483646 h 24"/>
              <a:gd name="T8" fmla="*/ 2147483646 w 6"/>
              <a:gd name="T9" fmla="*/ 0 h 24"/>
              <a:gd name="T10" fmla="*/ 2147483646 w 6"/>
              <a:gd name="T11" fmla="*/ 0 h 24"/>
              <a:gd name="T12" fmla="*/ 2147483646 w 6"/>
              <a:gd name="T13" fmla="*/ 0 h 24"/>
              <a:gd name="T14" fmla="*/ 2147483646 w 6"/>
              <a:gd name="T15" fmla="*/ 0 h 24"/>
              <a:gd name="T16" fmla="*/ 0 w 6"/>
              <a:gd name="T17" fmla="*/ 0 h 24"/>
              <a:gd name="T18" fmla="*/ 2147483646 w 6"/>
              <a:gd name="T19" fmla="*/ 0 h 24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6" h="24">
                <a:moveTo>
                  <a:pt x="6" y="0"/>
                </a:moveTo>
                <a:lnTo>
                  <a:pt x="0" y="0"/>
                </a:lnTo>
                <a:lnTo>
                  <a:pt x="0" y="24"/>
                </a:lnTo>
                <a:lnTo>
                  <a:pt x="6" y="24"/>
                </a:lnTo>
                <a:lnTo>
                  <a:pt x="6" y="0"/>
                </a:lnTo>
                <a:lnTo>
                  <a:pt x="0" y="0"/>
                </a:lnTo>
                <a:lnTo>
                  <a:pt x="6" y="0"/>
                </a:lnTo>
                <a:close/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4" name="Freeform 15"/>
          <p:cNvSpPr>
            <a:spLocks/>
          </p:cNvSpPr>
          <p:nvPr/>
        </p:nvSpPr>
        <p:spPr bwMode="auto">
          <a:xfrm>
            <a:off x="2551113" y="5461000"/>
            <a:ext cx="11112" cy="11113"/>
          </a:xfrm>
          <a:custGeom>
            <a:avLst/>
            <a:gdLst>
              <a:gd name="T0" fmla="*/ 0 w 2"/>
              <a:gd name="T1" fmla="*/ 2147483646 h 2"/>
              <a:gd name="T2" fmla="*/ 2147483646 w 2"/>
              <a:gd name="T3" fmla="*/ 0 h 2"/>
              <a:gd name="T4" fmla="*/ 0 w 2"/>
              <a:gd name="T5" fmla="*/ 2147483646 h 2"/>
              <a:gd name="T6" fmla="*/ 0 w 2"/>
              <a:gd name="T7" fmla="*/ 2147483646 h 2"/>
              <a:gd name="T8" fmla="*/ 0 60000 65536"/>
              <a:gd name="T9" fmla="*/ 0 60000 65536"/>
              <a:gd name="T10" fmla="*/ 0 60000 65536"/>
              <a:gd name="T11" fmla="*/ 0 60000 6553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0" t="0" r="r" b="b"/>
            <a:pathLst>
              <a:path w="2" h="2">
                <a:moveTo>
                  <a:pt x="0" y="2"/>
                </a:moveTo>
                <a:lnTo>
                  <a:pt x="2" y="0"/>
                </a:lnTo>
                <a:lnTo>
                  <a:pt x="0" y="2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5" name="Freeform 16"/>
          <p:cNvSpPr>
            <a:spLocks/>
          </p:cNvSpPr>
          <p:nvPr/>
        </p:nvSpPr>
        <p:spPr bwMode="auto">
          <a:xfrm>
            <a:off x="2225675" y="4983163"/>
            <a:ext cx="369888" cy="207962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6" name="Freeform 17"/>
          <p:cNvSpPr>
            <a:spLocks/>
          </p:cNvSpPr>
          <p:nvPr/>
        </p:nvSpPr>
        <p:spPr bwMode="auto">
          <a:xfrm>
            <a:off x="2381250" y="4908550"/>
            <a:ext cx="150813" cy="80963"/>
          </a:xfrm>
          <a:custGeom>
            <a:avLst/>
            <a:gdLst>
              <a:gd name="T0" fmla="*/ 2147483646 w 26"/>
              <a:gd name="T1" fmla="*/ 2147483646 h 16"/>
              <a:gd name="T2" fmla="*/ 2147483646 w 26"/>
              <a:gd name="T3" fmla="*/ 2147483646 h 16"/>
              <a:gd name="T4" fmla="*/ 2147483646 w 26"/>
              <a:gd name="T5" fmla="*/ 2147483646 h 16"/>
              <a:gd name="T6" fmla="*/ 2147483646 w 26"/>
              <a:gd name="T7" fmla="*/ 2147483646 h 16"/>
              <a:gd name="T8" fmla="*/ 2147483646 w 26"/>
              <a:gd name="T9" fmla="*/ 2147483646 h 16"/>
              <a:gd name="T10" fmla="*/ 2147483646 w 26"/>
              <a:gd name="T11" fmla="*/ 0 h 16"/>
              <a:gd name="T12" fmla="*/ 2147483646 w 26"/>
              <a:gd name="T13" fmla="*/ 2147483646 h 16"/>
              <a:gd name="T14" fmla="*/ 2147483646 w 26"/>
              <a:gd name="T15" fmla="*/ 2147483646 h 16"/>
              <a:gd name="T16" fmla="*/ 2147483646 w 26"/>
              <a:gd name="T17" fmla="*/ 2147483646 h 16"/>
              <a:gd name="T18" fmla="*/ 0 w 26"/>
              <a:gd name="T19" fmla="*/ 2147483646 h 16"/>
              <a:gd name="T20" fmla="*/ 0 w 26"/>
              <a:gd name="T21" fmla="*/ 2147483646 h 16"/>
              <a:gd name="T22" fmla="*/ 2147483646 w 26"/>
              <a:gd name="T23" fmla="*/ 2147483646 h 16"/>
              <a:gd name="T24" fmla="*/ 2147483646 w 26"/>
              <a:gd name="T25" fmla="*/ 2147483646 h 16"/>
              <a:gd name="T26" fmla="*/ 2147483646 w 26"/>
              <a:gd name="T27" fmla="*/ 2147483646 h 16"/>
              <a:gd name="T28" fmla="*/ 2147483646 w 26"/>
              <a:gd name="T29" fmla="*/ 2147483646 h 16"/>
              <a:gd name="T30" fmla="*/ 2147483646 w 26"/>
              <a:gd name="T31" fmla="*/ 2147483646 h 16"/>
              <a:gd name="T32" fmla="*/ 2147483646 w 26"/>
              <a:gd name="T33" fmla="*/ 2147483646 h 16"/>
              <a:gd name="T34" fmla="*/ 2147483646 w 26"/>
              <a:gd name="T35" fmla="*/ 2147483646 h 16"/>
              <a:gd name="T36" fmla="*/ 2147483646 w 26"/>
              <a:gd name="T37" fmla="*/ 2147483646 h 16"/>
              <a:gd name="T38" fmla="*/ 2147483646 w 26"/>
              <a:gd name="T39" fmla="*/ 2147483646 h 16"/>
              <a:gd name="T40" fmla="*/ 2147483646 w 26"/>
              <a:gd name="T41" fmla="*/ 2147483646 h 1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0" t="0" r="r" b="b"/>
            <a:pathLst>
              <a:path w="26" h="16">
                <a:moveTo>
                  <a:pt x="26" y="8"/>
                </a:moveTo>
                <a:lnTo>
                  <a:pt x="26" y="8"/>
                </a:lnTo>
                <a:lnTo>
                  <a:pt x="24" y="9"/>
                </a:lnTo>
                <a:lnTo>
                  <a:pt x="22" y="8"/>
                </a:lnTo>
                <a:lnTo>
                  <a:pt x="19" y="7"/>
                </a:lnTo>
                <a:lnTo>
                  <a:pt x="7" y="0"/>
                </a:lnTo>
                <a:lnTo>
                  <a:pt x="5" y="1"/>
                </a:lnTo>
                <a:lnTo>
                  <a:pt x="3" y="2"/>
                </a:lnTo>
                <a:lnTo>
                  <a:pt x="1" y="4"/>
                </a:lnTo>
                <a:lnTo>
                  <a:pt x="0" y="6"/>
                </a:lnTo>
                <a:lnTo>
                  <a:pt x="0" y="8"/>
                </a:lnTo>
                <a:lnTo>
                  <a:pt x="4" y="11"/>
                </a:lnTo>
                <a:lnTo>
                  <a:pt x="6" y="15"/>
                </a:lnTo>
                <a:lnTo>
                  <a:pt x="7" y="16"/>
                </a:lnTo>
                <a:lnTo>
                  <a:pt x="8" y="15"/>
                </a:lnTo>
                <a:lnTo>
                  <a:pt x="12" y="16"/>
                </a:lnTo>
                <a:lnTo>
                  <a:pt x="16" y="14"/>
                </a:lnTo>
                <a:lnTo>
                  <a:pt x="20" y="15"/>
                </a:lnTo>
                <a:lnTo>
                  <a:pt x="20" y="16"/>
                </a:lnTo>
                <a:lnTo>
                  <a:pt x="26" y="14"/>
                </a:lnTo>
                <a:lnTo>
                  <a:pt x="26" y="8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7" name="Freeform 18"/>
          <p:cNvSpPr>
            <a:spLocks/>
          </p:cNvSpPr>
          <p:nvPr/>
        </p:nvSpPr>
        <p:spPr bwMode="auto">
          <a:xfrm>
            <a:off x="1477963" y="4994275"/>
            <a:ext cx="1336675" cy="466725"/>
          </a:xfrm>
          <a:custGeom>
            <a:avLst/>
            <a:gdLst>
              <a:gd name="T0" fmla="*/ 2147483646 w 226"/>
              <a:gd name="T1" fmla="*/ 2147483646 h 93"/>
              <a:gd name="T2" fmla="*/ 2147483646 w 226"/>
              <a:gd name="T3" fmla="*/ 2147483646 h 93"/>
              <a:gd name="T4" fmla="*/ 2147483646 w 226"/>
              <a:gd name="T5" fmla="*/ 2147483646 h 93"/>
              <a:gd name="T6" fmla="*/ 2147483646 w 226"/>
              <a:gd name="T7" fmla="*/ 2147483646 h 93"/>
              <a:gd name="T8" fmla="*/ 2147483646 w 226"/>
              <a:gd name="T9" fmla="*/ 2147483646 h 93"/>
              <a:gd name="T10" fmla="*/ 2147483646 w 226"/>
              <a:gd name="T11" fmla="*/ 2147483646 h 93"/>
              <a:gd name="T12" fmla="*/ 2147483646 w 226"/>
              <a:gd name="T13" fmla="*/ 2147483646 h 93"/>
              <a:gd name="T14" fmla="*/ 2147483646 w 226"/>
              <a:gd name="T15" fmla="*/ 2147483646 h 93"/>
              <a:gd name="T16" fmla="*/ 2147483646 w 226"/>
              <a:gd name="T17" fmla="*/ 2147483646 h 93"/>
              <a:gd name="T18" fmla="*/ 2147483646 w 226"/>
              <a:gd name="T19" fmla="*/ 2147483646 h 93"/>
              <a:gd name="T20" fmla="*/ 2147483646 w 226"/>
              <a:gd name="T21" fmla="*/ 2147483646 h 93"/>
              <a:gd name="T22" fmla="*/ 2147483646 w 226"/>
              <a:gd name="T23" fmla="*/ 2147483646 h 93"/>
              <a:gd name="T24" fmla="*/ 2147483646 w 226"/>
              <a:gd name="T25" fmla="*/ 2147483646 h 93"/>
              <a:gd name="T26" fmla="*/ 2147483646 w 226"/>
              <a:gd name="T27" fmla="*/ 2147483646 h 93"/>
              <a:gd name="T28" fmla="*/ 2147483646 w 226"/>
              <a:gd name="T29" fmla="*/ 2147483646 h 93"/>
              <a:gd name="T30" fmla="*/ 2147483646 w 226"/>
              <a:gd name="T31" fmla="*/ 0 h 93"/>
              <a:gd name="T32" fmla="*/ 2147483646 w 226"/>
              <a:gd name="T33" fmla="*/ 2147483646 h 93"/>
              <a:gd name="T34" fmla="*/ 2147483646 w 226"/>
              <a:gd name="T35" fmla="*/ 2147483646 h 93"/>
              <a:gd name="T36" fmla="*/ 2147483646 w 226"/>
              <a:gd name="T37" fmla="*/ 2147483646 h 93"/>
              <a:gd name="T38" fmla="*/ 2147483646 w 226"/>
              <a:gd name="T39" fmla="*/ 2147483646 h 93"/>
              <a:gd name="T40" fmla="*/ 2147483646 w 226"/>
              <a:gd name="T41" fmla="*/ 2147483646 h 93"/>
              <a:gd name="T42" fmla="*/ 2147483646 w 226"/>
              <a:gd name="T43" fmla="*/ 2147483646 h 93"/>
              <a:gd name="T44" fmla="*/ 0 w 226"/>
              <a:gd name="T45" fmla="*/ 2147483646 h 93"/>
              <a:gd name="T46" fmla="*/ 2147483646 w 226"/>
              <a:gd name="T47" fmla="*/ 2147483646 h 93"/>
              <a:gd name="T48" fmla="*/ 2147483646 w 226"/>
              <a:gd name="T49" fmla="*/ 2147483646 h 93"/>
              <a:gd name="T50" fmla="*/ 2147483646 w 226"/>
              <a:gd name="T51" fmla="*/ 2147483646 h 93"/>
              <a:gd name="T52" fmla="*/ 2147483646 w 226"/>
              <a:gd name="T53" fmla="*/ 2147483646 h 93"/>
              <a:gd name="T54" fmla="*/ 2147483646 w 226"/>
              <a:gd name="T55" fmla="*/ 2147483646 h 93"/>
              <a:gd name="T56" fmla="*/ 2147483646 w 226"/>
              <a:gd name="T57" fmla="*/ 2147483646 h 93"/>
              <a:gd name="T58" fmla="*/ 2147483646 w 226"/>
              <a:gd name="T59" fmla="*/ 2147483646 h 93"/>
              <a:gd name="T60" fmla="*/ 2147483646 w 226"/>
              <a:gd name="T61" fmla="*/ 2147483646 h 93"/>
              <a:gd name="T62" fmla="*/ 2147483646 w 226"/>
              <a:gd name="T63" fmla="*/ 2147483646 h 93"/>
              <a:gd name="T64" fmla="*/ 2147483646 w 226"/>
              <a:gd name="T65" fmla="*/ 2147483646 h 93"/>
              <a:gd name="T66" fmla="*/ 2147483646 w 226"/>
              <a:gd name="T67" fmla="*/ 2147483646 h 93"/>
              <a:gd name="T68" fmla="*/ 2147483646 w 226"/>
              <a:gd name="T69" fmla="*/ 2147483646 h 93"/>
              <a:gd name="T70" fmla="*/ 2147483646 w 226"/>
              <a:gd name="T71" fmla="*/ 2147483646 h 93"/>
              <a:gd name="T72" fmla="*/ 2147483646 w 226"/>
              <a:gd name="T73" fmla="*/ 2147483646 h 93"/>
              <a:gd name="T74" fmla="*/ 2147483646 w 226"/>
              <a:gd name="T75" fmla="*/ 2147483646 h 93"/>
              <a:gd name="T76" fmla="*/ 2147483646 w 226"/>
              <a:gd name="T77" fmla="*/ 2147483646 h 93"/>
              <a:gd name="T78" fmla="*/ 2147483646 w 226"/>
              <a:gd name="T79" fmla="*/ 2147483646 h 93"/>
              <a:gd name="T80" fmla="*/ 2147483646 w 226"/>
              <a:gd name="T81" fmla="*/ 2147483646 h 93"/>
              <a:gd name="T82" fmla="*/ 2147483646 w 226"/>
              <a:gd name="T83" fmla="*/ 2147483646 h 93"/>
              <a:gd name="T84" fmla="*/ 2147483646 w 226"/>
              <a:gd name="T85" fmla="*/ 2147483646 h 93"/>
              <a:gd name="T86" fmla="*/ 2147483646 w 226"/>
              <a:gd name="T87" fmla="*/ 2147483646 h 93"/>
              <a:gd name="T88" fmla="*/ 2147483646 w 226"/>
              <a:gd name="T89" fmla="*/ 2147483646 h 93"/>
              <a:gd name="T90" fmla="*/ 2147483646 w 226"/>
              <a:gd name="T91" fmla="*/ 2147483646 h 93"/>
              <a:gd name="T92" fmla="*/ 2147483646 w 226"/>
              <a:gd name="T93" fmla="*/ 2147483646 h 93"/>
              <a:gd name="T94" fmla="*/ 2147483646 w 226"/>
              <a:gd name="T95" fmla="*/ 2147483646 h 93"/>
              <a:gd name="T96" fmla="*/ 2147483646 w 226"/>
              <a:gd name="T97" fmla="*/ 2147483646 h 93"/>
              <a:gd name="T98" fmla="*/ 2147483646 w 226"/>
              <a:gd name="T99" fmla="*/ 2147483646 h 93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226" h="93">
                <a:moveTo>
                  <a:pt x="204" y="66"/>
                </a:moveTo>
                <a:lnTo>
                  <a:pt x="198" y="56"/>
                </a:lnTo>
                <a:lnTo>
                  <a:pt x="196" y="45"/>
                </a:lnTo>
                <a:lnTo>
                  <a:pt x="211" y="27"/>
                </a:lnTo>
                <a:lnTo>
                  <a:pt x="205" y="22"/>
                </a:lnTo>
                <a:lnTo>
                  <a:pt x="189" y="39"/>
                </a:lnTo>
                <a:lnTo>
                  <a:pt x="189" y="40"/>
                </a:lnTo>
                <a:lnTo>
                  <a:pt x="188" y="42"/>
                </a:lnTo>
                <a:lnTo>
                  <a:pt x="193" y="45"/>
                </a:lnTo>
                <a:lnTo>
                  <a:pt x="193" y="48"/>
                </a:lnTo>
                <a:lnTo>
                  <a:pt x="194" y="50"/>
                </a:lnTo>
                <a:lnTo>
                  <a:pt x="195" y="52"/>
                </a:lnTo>
                <a:lnTo>
                  <a:pt x="195" y="59"/>
                </a:lnTo>
                <a:lnTo>
                  <a:pt x="193" y="60"/>
                </a:lnTo>
                <a:lnTo>
                  <a:pt x="192" y="61"/>
                </a:lnTo>
                <a:lnTo>
                  <a:pt x="189" y="61"/>
                </a:lnTo>
                <a:lnTo>
                  <a:pt x="187" y="60"/>
                </a:lnTo>
                <a:lnTo>
                  <a:pt x="186" y="62"/>
                </a:lnTo>
                <a:lnTo>
                  <a:pt x="180" y="65"/>
                </a:lnTo>
                <a:lnTo>
                  <a:pt x="178" y="64"/>
                </a:lnTo>
                <a:lnTo>
                  <a:pt x="174" y="61"/>
                </a:lnTo>
                <a:lnTo>
                  <a:pt x="172" y="63"/>
                </a:lnTo>
                <a:lnTo>
                  <a:pt x="168" y="61"/>
                </a:lnTo>
                <a:lnTo>
                  <a:pt x="162" y="64"/>
                </a:lnTo>
                <a:lnTo>
                  <a:pt x="159" y="64"/>
                </a:lnTo>
                <a:lnTo>
                  <a:pt x="157" y="62"/>
                </a:lnTo>
                <a:lnTo>
                  <a:pt x="155" y="62"/>
                </a:lnTo>
                <a:lnTo>
                  <a:pt x="153" y="60"/>
                </a:lnTo>
                <a:lnTo>
                  <a:pt x="150" y="58"/>
                </a:lnTo>
                <a:lnTo>
                  <a:pt x="148" y="54"/>
                </a:lnTo>
                <a:lnTo>
                  <a:pt x="147" y="53"/>
                </a:lnTo>
                <a:lnTo>
                  <a:pt x="142" y="47"/>
                </a:lnTo>
                <a:lnTo>
                  <a:pt x="141" y="45"/>
                </a:lnTo>
                <a:lnTo>
                  <a:pt x="142" y="44"/>
                </a:lnTo>
                <a:lnTo>
                  <a:pt x="140" y="38"/>
                </a:lnTo>
                <a:lnTo>
                  <a:pt x="137" y="37"/>
                </a:lnTo>
                <a:lnTo>
                  <a:pt x="136" y="35"/>
                </a:lnTo>
                <a:lnTo>
                  <a:pt x="134" y="35"/>
                </a:lnTo>
                <a:lnTo>
                  <a:pt x="132" y="33"/>
                </a:lnTo>
                <a:lnTo>
                  <a:pt x="129" y="32"/>
                </a:lnTo>
                <a:lnTo>
                  <a:pt x="122" y="29"/>
                </a:lnTo>
                <a:lnTo>
                  <a:pt x="118" y="28"/>
                </a:lnTo>
                <a:lnTo>
                  <a:pt x="115" y="29"/>
                </a:lnTo>
                <a:lnTo>
                  <a:pt x="112" y="23"/>
                </a:lnTo>
                <a:lnTo>
                  <a:pt x="111" y="23"/>
                </a:lnTo>
                <a:lnTo>
                  <a:pt x="108" y="22"/>
                </a:lnTo>
                <a:lnTo>
                  <a:pt x="107" y="23"/>
                </a:lnTo>
                <a:lnTo>
                  <a:pt x="103" y="23"/>
                </a:lnTo>
                <a:lnTo>
                  <a:pt x="100" y="24"/>
                </a:lnTo>
                <a:lnTo>
                  <a:pt x="100" y="23"/>
                </a:lnTo>
                <a:lnTo>
                  <a:pt x="99" y="21"/>
                </a:lnTo>
                <a:lnTo>
                  <a:pt x="100" y="20"/>
                </a:lnTo>
                <a:lnTo>
                  <a:pt x="100" y="19"/>
                </a:lnTo>
                <a:lnTo>
                  <a:pt x="106" y="17"/>
                </a:lnTo>
                <a:lnTo>
                  <a:pt x="107" y="16"/>
                </a:lnTo>
                <a:lnTo>
                  <a:pt x="104" y="11"/>
                </a:lnTo>
                <a:lnTo>
                  <a:pt x="103" y="9"/>
                </a:lnTo>
                <a:lnTo>
                  <a:pt x="100" y="3"/>
                </a:lnTo>
                <a:lnTo>
                  <a:pt x="99" y="2"/>
                </a:lnTo>
                <a:lnTo>
                  <a:pt x="96" y="1"/>
                </a:lnTo>
                <a:lnTo>
                  <a:pt x="94" y="1"/>
                </a:lnTo>
                <a:lnTo>
                  <a:pt x="93" y="0"/>
                </a:lnTo>
                <a:lnTo>
                  <a:pt x="90" y="0"/>
                </a:lnTo>
                <a:lnTo>
                  <a:pt x="85" y="0"/>
                </a:lnTo>
                <a:lnTo>
                  <a:pt x="83" y="1"/>
                </a:lnTo>
                <a:lnTo>
                  <a:pt x="79" y="2"/>
                </a:lnTo>
                <a:lnTo>
                  <a:pt x="75" y="2"/>
                </a:lnTo>
                <a:lnTo>
                  <a:pt x="72" y="3"/>
                </a:lnTo>
                <a:lnTo>
                  <a:pt x="69" y="3"/>
                </a:lnTo>
                <a:lnTo>
                  <a:pt x="65" y="4"/>
                </a:lnTo>
                <a:lnTo>
                  <a:pt x="64" y="3"/>
                </a:lnTo>
                <a:lnTo>
                  <a:pt x="61" y="2"/>
                </a:lnTo>
                <a:lnTo>
                  <a:pt x="53" y="3"/>
                </a:lnTo>
                <a:lnTo>
                  <a:pt x="46" y="5"/>
                </a:lnTo>
                <a:lnTo>
                  <a:pt x="44" y="5"/>
                </a:lnTo>
                <a:lnTo>
                  <a:pt x="40" y="3"/>
                </a:lnTo>
                <a:lnTo>
                  <a:pt x="37" y="3"/>
                </a:lnTo>
                <a:lnTo>
                  <a:pt x="35" y="2"/>
                </a:lnTo>
                <a:lnTo>
                  <a:pt x="33" y="2"/>
                </a:lnTo>
                <a:lnTo>
                  <a:pt x="31" y="3"/>
                </a:lnTo>
                <a:lnTo>
                  <a:pt x="24" y="8"/>
                </a:lnTo>
                <a:lnTo>
                  <a:pt x="22" y="8"/>
                </a:lnTo>
                <a:lnTo>
                  <a:pt x="9" y="17"/>
                </a:lnTo>
                <a:lnTo>
                  <a:pt x="7" y="18"/>
                </a:lnTo>
                <a:lnTo>
                  <a:pt x="1" y="22"/>
                </a:lnTo>
                <a:lnTo>
                  <a:pt x="0" y="26"/>
                </a:lnTo>
                <a:lnTo>
                  <a:pt x="1" y="27"/>
                </a:lnTo>
                <a:lnTo>
                  <a:pt x="2" y="28"/>
                </a:lnTo>
                <a:lnTo>
                  <a:pt x="4" y="31"/>
                </a:lnTo>
                <a:lnTo>
                  <a:pt x="7" y="33"/>
                </a:lnTo>
                <a:lnTo>
                  <a:pt x="14" y="38"/>
                </a:lnTo>
                <a:lnTo>
                  <a:pt x="18" y="44"/>
                </a:lnTo>
                <a:lnTo>
                  <a:pt x="18" y="45"/>
                </a:lnTo>
                <a:lnTo>
                  <a:pt x="22" y="51"/>
                </a:lnTo>
                <a:lnTo>
                  <a:pt x="29" y="55"/>
                </a:lnTo>
                <a:lnTo>
                  <a:pt x="32" y="59"/>
                </a:lnTo>
                <a:lnTo>
                  <a:pt x="34" y="59"/>
                </a:lnTo>
                <a:lnTo>
                  <a:pt x="36" y="59"/>
                </a:lnTo>
                <a:lnTo>
                  <a:pt x="36" y="58"/>
                </a:lnTo>
                <a:lnTo>
                  <a:pt x="40" y="59"/>
                </a:lnTo>
                <a:lnTo>
                  <a:pt x="47" y="58"/>
                </a:lnTo>
                <a:lnTo>
                  <a:pt x="49" y="56"/>
                </a:lnTo>
                <a:lnTo>
                  <a:pt x="51" y="56"/>
                </a:lnTo>
                <a:lnTo>
                  <a:pt x="52" y="55"/>
                </a:lnTo>
                <a:lnTo>
                  <a:pt x="51" y="54"/>
                </a:lnTo>
                <a:lnTo>
                  <a:pt x="52" y="53"/>
                </a:lnTo>
                <a:lnTo>
                  <a:pt x="57" y="51"/>
                </a:lnTo>
                <a:lnTo>
                  <a:pt x="58" y="52"/>
                </a:lnTo>
                <a:lnTo>
                  <a:pt x="60" y="50"/>
                </a:lnTo>
                <a:lnTo>
                  <a:pt x="61" y="51"/>
                </a:lnTo>
                <a:lnTo>
                  <a:pt x="60" y="53"/>
                </a:lnTo>
                <a:lnTo>
                  <a:pt x="63" y="55"/>
                </a:lnTo>
                <a:lnTo>
                  <a:pt x="61" y="56"/>
                </a:lnTo>
                <a:lnTo>
                  <a:pt x="59" y="53"/>
                </a:lnTo>
                <a:lnTo>
                  <a:pt x="58" y="53"/>
                </a:lnTo>
                <a:lnTo>
                  <a:pt x="56" y="56"/>
                </a:lnTo>
                <a:lnTo>
                  <a:pt x="62" y="60"/>
                </a:lnTo>
                <a:lnTo>
                  <a:pt x="65" y="64"/>
                </a:lnTo>
                <a:lnTo>
                  <a:pt x="66" y="69"/>
                </a:lnTo>
                <a:lnTo>
                  <a:pt x="69" y="70"/>
                </a:lnTo>
                <a:lnTo>
                  <a:pt x="71" y="70"/>
                </a:lnTo>
                <a:lnTo>
                  <a:pt x="73" y="69"/>
                </a:lnTo>
                <a:lnTo>
                  <a:pt x="73" y="70"/>
                </a:lnTo>
                <a:lnTo>
                  <a:pt x="78" y="71"/>
                </a:lnTo>
                <a:lnTo>
                  <a:pt x="78" y="72"/>
                </a:lnTo>
                <a:lnTo>
                  <a:pt x="87" y="80"/>
                </a:lnTo>
                <a:lnTo>
                  <a:pt x="95" y="78"/>
                </a:lnTo>
                <a:lnTo>
                  <a:pt x="96" y="78"/>
                </a:lnTo>
                <a:lnTo>
                  <a:pt x="99" y="76"/>
                </a:lnTo>
                <a:lnTo>
                  <a:pt x="100" y="76"/>
                </a:lnTo>
                <a:lnTo>
                  <a:pt x="105" y="78"/>
                </a:lnTo>
                <a:lnTo>
                  <a:pt x="106" y="77"/>
                </a:lnTo>
                <a:lnTo>
                  <a:pt x="112" y="62"/>
                </a:lnTo>
                <a:lnTo>
                  <a:pt x="111" y="59"/>
                </a:lnTo>
                <a:lnTo>
                  <a:pt x="112" y="57"/>
                </a:lnTo>
                <a:lnTo>
                  <a:pt x="114" y="58"/>
                </a:lnTo>
                <a:lnTo>
                  <a:pt x="118" y="55"/>
                </a:lnTo>
                <a:lnTo>
                  <a:pt x="122" y="54"/>
                </a:lnTo>
                <a:lnTo>
                  <a:pt x="123" y="53"/>
                </a:lnTo>
                <a:lnTo>
                  <a:pt x="125" y="54"/>
                </a:lnTo>
                <a:lnTo>
                  <a:pt x="127" y="57"/>
                </a:lnTo>
                <a:lnTo>
                  <a:pt x="130" y="60"/>
                </a:lnTo>
                <a:lnTo>
                  <a:pt x="133" y="62"/>
                </a:lnTo>
                <a:lnTo>
                  <a:pt x="135" y="62"/>
                </a:lnTo>
                <a:lnTo>
                  <a:pt x="137" y="63"/>
                </a:lnTo>
                <a:lnTo>
                  <a:pt x="137" y="64"/>
                </a:lnTo>
                <a:lnTo>
                  <a:pt x="139" y="65"/>
                </a:lnTo>
                <a:lnTo>
                  <a:pt x="141" y="68"/>
                </a:lnTo>
                <a:lnTo>
                  <a:pt x="141" y="69"/>
                </a:lnTo>
                <a:lnTo>
                  <a:pt x="142" y="70"/>
                </a:lnTo>
                <a:lnTo>
                  <a:pt x="145" y="71"/>
                </a:lnTo>
                <a:lnTo>
                  <a:pt x="145" y="72"/>
                </a:lnTo>
                <a:lnTo>
                  <a:pt x="152" y="74"/>
                </a:lnTo>
                <a:lnTo>
                  <a:pt x="158" y="76"/>
                </a:lnTo>
                <a:lnTo>
                  <a:pt x="162" y="78"/>
                </a:lnTo>
                <a:lnTo>
                  <a:pt x="163" y="77"/>
                </a:lnTo>
                <a:lnTo>
                  <a:pt x="170" y="75"/>
                </a:lnTo>
                <a:lnTo>
                  <a:pt x="171" y="73"/>
                </a:lnTo>
                <a:lnTo>
                  <a:pt x="174" y="73"/>
                </a:lnTo>
                <a:lnTo>
                  <a:pt x="175" y="76"/>
                </a:lnTo>
                <a:lnTo>
                  <a:pt x="179" y="75"/>
                </a:lnTo>
                <a:lnTo>
                  <a:pt x="181" y="73"/>
                </a:lnTo>
                <a:lnTo>
                  <a:pt x="181" y="76"/>
                </a:lnTo>
                <a:lnTo>
                  <a:pt x="183" y="78"/>
                </a:lnTo>
                <a:lnTo>
                  <a:pt x="184" y="81"/>
                </a:lnTo>
                <a:lnTo>
                  <a:pt x="186" y="83"/>
                </a:lnTo>
                <a:lnTo>
                  <a:pt x="186" y="84"/>
                </a:lnTo>
                <a:lnTo>
                  <a:pt x="183" y="83"/>
                </a:lnTo>
                <a:lnTo>
                  <a:pt x="184" y="85"/>
                </a:lnTo>
                <a:lnTo>
                  <a:pt x="191" y="85"/>
                </a:lnTo>
                <a:lnTo>
                  <a:pt x="196" y="85"/>
                </a:lnTo>
                <a:lnTo>
                  <a:pt x="204" y="85"/>
                </a:lnTo>
                <a:lnTo>
                  <a:pt x="205" y="87"/>
                </a:lnTo>
                <a:lnTo>
                  <a:pt x="206" y="92"/>
                </a:lnTo>
                <a:lnTo>
                  <a:pt x="207" y="92"/>
                </a:lnTo>
                <a:lnTo>
                  <a:pt x="212" y="93"/>
                </a:lnTo>
                <a:lnTo>
                  <a:pt x="215" y="93"/>
                </a:lnTo>
                <a:lnTo>
                  <a:pt x="218" y="93"/>
                </a:lnTo>
                <a:lnTo>
                  <a:pt x="223" y="90"/>
                </a:lnTo>
                <a:lnTo>
                  <a:pt x="224" y="89"/>
                </a:lnTo>
                <a:lnTo>
                  <a:pt x="226" y="90"/>
                </a:lnTo>
                <a:lnTo>
                  <a:pt x="225" y="87"/>
                </a:lnTo>
                <a:lnTo>
                  <a:pt x="226" y="86"/>
                </a:lnTo>
                <a:lnTo>
                  <a:pt x="218" y="74"/>
                </a:lnTo>
                <a:lnTo>
                  <a:pt x="215" y="69"/>
                </a:lnTo>
                <a:lnTo>
                  <a:pt x="218" y="67"/>
                </a:lnTo>
                <a:lnTo>
                  <a:pt x="218" y="65"/>
                </a:lnTo>
                <a:lnTo>
                  <a:pt x="218" y="62"/>
                </a:lnTo>
                <a:lnTo>
                  <a:pt x="218" y="60"/>
                </a:lnTo>
                <a:lnTo>
                  <a:pt x="216" y="61"/>
                </a:lnTo>
                <a:lnTo>
                  <a:pt x="215" y="60"/>
                </a:lnTo>
                <a:lnTo>
                  <a:pt x="215" y="59"/>
                </a:lnTo>
                <a:lnTo>
                  <a:pt x="211" y="58"/>
                </a:lnTo>
                <a:lnTo>
                  <a:pt x="204" y="66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8" name="Freeform 19"/>
          <p:cNvSpPr>
            <a:spLocks/>
          </p:cNvSpPr>
          <p:nvPr/>
        </p:nvSpPr>
        <p:spPr bwMode="auto">
          <a:xfrm>
            <a:off x="1814513" y="4559300"/>
            <a:ext cx="966787" cy="423863"/>
          </a:xfrm>
          <a:custGeom>
            <a:avLst/>
            <a:gdLst>
              <a:gd name="T0" fmla="*/ 2147483646 w 163"/>
              <a:gd name="T1" fmla="*/ 2147483646 h 84"/>
              <a:gd name="T2" fmla="*/ 2147483646 w 163"/>
              <a:gd name="T3" fmla="*/ 2147483646 h 84"/>
              <a:gd name="T4" fmla="*/ 2147483646 w 163"/>
              <a:gd name="T5" fmla="*/ 2147483646 h 84"/>
              <a:gd name="T6" fmla="*/ 2147483646 w 163"/>
              <a:gd name="T7" fmla="*/ 2147483646 h 84"/>
              <a:gd name="T8" fmla="*/ 2147483646 w 163"/>
              <a:gd name="T9" fmla="*/ 2147483646 h 84"/>
              <a:gd name="T10" fmla="*/ 2147483646 w 163"/>
              <a:gd name="T11" fmla="*/ 2147483646 h 84"/>
              <a:gd name="T12" fmla="*/ 2147483646 w 163"/>
              <a:gd name="T13" fmla="*/ 2147483646 h 84"/>
              <a:gd name="T14" fmla="*/ 2147483646 w 163"/>
              <a:gd name="T15" fmla="*/ 2147483646 h 84"/>
              <a:gd name="T16" fmla="*/ 2147483646 w 163"/>
              <a:gd name="T17" fmla="*/ 2147483646 h 84"/>
              <a:gd name="T18" fmla="*/ 2147483646 w 163"/>
              <a:gd name="T19" fmla="*/ 2147483646 h 84"/>
              <a:gd name="T20" fmla="*/ 2147483646 w 163"/>
              <a:gd name="T21" fmla="*/ 2147483646 h 84"/>
              <a:gd name="T22" fmla="*/ 2147483646 w 163"/>
              <a:gd name="T23" fmla="*/ 2147483646 h 84"/>
              <a:gd name="T24" fmla="*/ 2147483646 w 163"/>
              <a:gd name="T25" fmla="*/ 2147483646 h 84"/>
              <a:gd name="T26" fmla="*/ 2147483646 w 163"/>
              <a:gd name="T27" fmla="*/ 2147483646 h 84"/>
              <a:gd name="T28" fmla="*/ 2147483646 w 163"/>
              <a:gd name="T29" fmla="*/ 2147483646 h 84"/>
              <a:gd name="T30" fmla="*/ 2147483646 w 163"/>
              <a:gd name="T31" fmla="*/ 2147483646 h 84"/>
              <a:gd name="T32" fmla="*/ 2147483646 w 163"/>
              <a:gd name="T33" fmla="*/ 2147483646 h 84"/>
              <a:gd name="T34" fmla="*/ 2147483646 w 163"/>
              <a:gd name="T35" fmla="*/ 2147483646 h 84"/>
              <a:gd name="T36" fmla="*/ 2147483646 w 163"/>
              <a:gd name="T37" fmla="*/ 2147483646 h 84"/>
              <a:gd name="T38" fmla="*/ 2147483646 w 163"/>
              <a:gd name="T39" fmla="*/ 2147483646 h 84"/>
              <a:gd name="T40" fmla="*/ 2147483646 w 163"/>
              <a:gd name="T41" fmla="*/ 2147483646 h 84"/>
              <a:gd name="T42" fmla="*/ 2147483646 w 163"/>
              <a:gd name="T43" fmla="*/ 2147483646 h 84"/>
              <a:gd name="T44" fmla="*/ 2147483646 w 163"/>
              <a:gd name="T45" fmla="*/ 2147483646 h 84"/>
              <a:gd name="T46" fmla="*/ 2147483646 w 163"/>
              <a:gd name="T47" fmla="*/ 2147483646 h 84"/>
              <a:gd name="T48" fmla="*/ 2147483646 w 163"/>
              <a:gd name="T49" fmla="*/ 2147483646 h 84"/>
              <a:gd name="T50" fmla="*/ 2147483646 w 163"/>
              <a:gd name="T51" fmla="*/ 2147483646 h 84"/>
              <a:gd name="T52" fmla="*/ 2147483646 w 163"/>
              <a:gd name="T53" fmla="*/ 2147483646 h 84"/>
              <a:gd name="T54" fmla="*/ 2147483646 w 163"/>
              <a:gd name="T55" fmla="*/ 2147483646 h 84"/>
              <a:gd name="T56" fmla="*/ 2147483646 w 163"/>
              <a:gd name="T57" fmla="*/ 2147483646 h 84"/>
              <a:gd name="T58" fmla="*/ 2147483646 w 163"/>
              <a:gd name="T59" fmla="*/ 2147483646 h 84"/>
              <a:gd name="T60" fmla="*/ 2147483646 w 163"/>
              <a:gd name="T61" fmla="*/ 2147483646 h 84"/>
              <a:gd name="T62" fmla="*/ 2147483646 w 163"/>
              <a:gd name="T63" fmla="*/ 2147483646 h 84"/>
              <a:gd name="T64" fmla="*/ 2147483646 w 163"/>
              <a:gd name="T65" fmla="*/ 2147483646 h 84"/>
              <a:gd name="T66" fmla="*/ 2147483646 w 163"/>
              <a:gd name="T67" fmla="*/ 2147483646 h 84"/>
              <a:gd name="T68" fmla="*/ 2147483646 w 163"/>
              <a:gd name="T69" fmla="*/ 2147483646 h 84"/>
              <a:gd name="T70" fmla="*/ 2147483646 w 163"/>
              <a:gd name="T71" fmla="*/ 2147483646 h 84"/>
              <a:gd name="T72" fmla="*/ 2147483646 w 163"/>
              <a:gd name="T73" fmla="*/ 2147483646 h 84"/>
              <a:gd name="T74" fmla="*/ 2147483646 w 163"/>
              <a:gd name="T75" fmla="*/ 2147483646 h 84"/>
              <a:gd name="T76" fmla="*/ 2147483646 w 163"/>
              <a:gd name="T77" fmla="*/ 2147483646 h 84"/>
              <a:gd name="T78" fmla="*/ 2147483646 w 163"/>
              <a:gd name="T79" fmla="*/ 2147483646 h 84"/>
              <a:gd name="T80" fmla="*/ 2147483646 w 163"/>
              <a:gd name="T81" fmla="*/ 2147483646 h 84"/>
              <a:gd name="T82" fmla="*/ 2147483646 w 163"/>
              <a:gd name="T83" fmla="*/ 2147483646 h 84"/>
              <a:gd name="T84" fmla="*/ 2147483646 w 163"/>
              <a:gd name="T85" fmla="*/ 2147483646 h 84"/>
              <a:gd name="T86" fmla="*/ 2147483646 w 163"/>
              <a:gd name="T87" fmla="*/ 2147483646 h 84"/>
              <a:gd name="T88" fmla="*/ 2147483646 w 163"/>
              <a:gd name="T89" fmla="*/ 2147483646 h 84"/>
              <a:gd name="T90" fmla="*/ 2147483646 w 163"/>
              <a:gd name="T91" fmla="*/ 2147483646 h 84"/>
              <a:gd name="T92" fmla="*/ 2147483646 w 163"/>
              <a:gd name="T93" fmla="*/ 2147483646 h 84"/>
              <a:gd name="T94" fmla="*/ 2147483646 w 163"/>
              <a:gd name="T95" fmla="*/ 2147483646 h 84"/>
              <a:gd name="T96" fmla="*/ 2147483646 w 163"/>
              <a:gd name="T97" fmla="*/ 2147483646 h 84"/>
              <a:gd name="T98" fmla="*/ 2147483646 w 163"/>
              <a:gd name="T99" fmla="*/ 2147483646 h 84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163" h="84">
                <a:moveTo>
                  <a:pt x="84" y="5"/>
                </a:moveTo>
                <a:lnTo>
                  <a:pt x="83" y="6"/>
                </a:lnTo>
                <a:lnTo>
                  <a:pt x="81" y="7"/>
                </a:lnTo>
                <a:lnTo>
                  <a:pt x="82" y="7"/>
                </a:lnTo>
                <a:lnTo>
                  <a:pt x="81" y="8"/>
                </a:lnTo>
                <a:lnTo>
                  <a:pt x="76" y="3"/>
                </a:lnTo>
                <a:lnTo>
                  <a:pt x="75" y="2"/>
                </a:lnTo>
                <a:lnTo>
                  <a:pt x="76" y="1"/>
                </a:lnTo>
                <a:lnTo>
                  <a:pt x="77" y="1"/>
                </a:lnTo>
                <a:lnTo>
                  <a:pt x="76" y="0"/>
                </a:lnTo>
                <a:lnTo>
                  <a:pt x="73" y="0"/>
                </a:lnTo>
                <a:lnTo>
                  <a:pt x="68" y="1"/>
                </a:lnTo>
                <a:lnTo>
                  <a:pt x="61" y="2"/>
                </a:lnTo>
                <a:lnTo>
                  <a:pt x="54" y="6"/>
                </a:lnTo>
                <a:lnTo>
                  <a:pt x="50" y="6"/>
                </a:lnTo>
                <a:lnTo>
                  <a:pt x="45" y="8"/>
                </a:lnTo>
                <a:lnTo>
                  <a:pt x="42" y="10"/>
                </a:lnTo>
                <a:lnTo>
                  <a:pt x="41" y="12"/>
                </a:lnTo>
                <a:lnTo>
                  <a:pt x="41" y="16"/>
                </a:lnTo>
                <a:lnTo>
                  <a:pt x="43" y="20"/>
                </a:lnTo>
                <a:lnTo>
                  <a:pt x="43" y="22"/>
                </a:lnTo>
                <a:lnTo>
                  <a:pt x="41" y="29"/>
                </a:lnTo>
                <a:lnTo>
                  <a:pt x="38" y="30"/>
                </a:lnTo>
                <a:lnTo>
                  <a:pt x="33" y="31"/>
                </a:lnTo>
                <a:lnTo>
                  <a:pt x="34" y="34"/>
                </a:lnTo>
                <a:lnTo>
                  <a:pt x="33" y="37"/>
                </a:lnTo>
                <a:lnTo>
                  <a:pt x="32" y="37"/>
                </a:lnTo>
                <a:lnTo>
                  <a:pt x="22" y="36"/>
                </a:lnTo>
                <a:lnTo>
                  <a:pt x="14" y="39"/>
                </a:lnTo>
                <a:lnTo>
                  <a:pt x="7" y="40"/>
                </a:lnTo>
                <a:lnTo>
                  <a:pt x="4" y="42"/>
                </a:lnTo>
                <a:lnTo>
                  <a:pt x="1" y="46"/>
                </a:lnTo>
                <a:lnTo>
                  <a:pt x="0" y="50"/>
                </a:lnTo>
                <a:lnTo>
                  <a:pt x="0" y="54"/>
                </a:lnTo>
                <a:lnTo>
                  <a:pt x="3" y="59"/>
                </a:lnTo>
                <a:lnTo>
                  <a:pt x="7" y="63"/>
                </a:lnTo>
                <a:lnTo>
                  <a:pt x="10" y="63"/>
                </a:lnTo>
                <a:lnTo>
                  <a:pt x="17" y="61"/>
                </a:lnTo>
                <a:lnTo>
                  <a:pt x="18" y="60"/>
                </a:lnTo>
                <a:lnTo>
                  <a:pt x="21" y="58"/>
                </a:lnTo>
                <a:lnTo>
                  <a:pt x="27" y="56"/>
                </a:lnTo>
                <a:lnTo>
                  <a:pt x="28" y="56"/>
                </a:lnTo>
                <a:lnTo>
                  <a:pt x="28" y="55"/>
                </a:lnTo>
                <a:lnTo>
                  <a:pt x="26" y="55"/>
                </a:lnTo>
                <a:lnTo>
                  <a:pt x="25" y="54"/>
                </a:lnTo>
                <a:lnTo>
                  <a:pt x="26" y="54"/>
                </a:lnTo>
                <a:lnTo>
                  <a:pt x="30" y="53"/>
                </a:lnTo>
                <a:lnTo>
                  <a:pt x="32" y="54"/>
                </a:lnTo>
                <a:lnTo>
                  <a:pt x="32" y="55"/>
                </a:lnTo>
                <a:lnTo>
                  <a:pt x="33" y="57"/>
                </a:lnTo>
                <a:lnTo>
                  <a:pt x="31" y="56"/>
                </a:lnTo>
                <a:lnTo>
                  <a:pt x="31" y="57"/>
                </a:lnTo>
                <a:lnTo>
                  <a:pt x="33" y="57"/>
                </a:lnTo>
                <a:lnTo>
                  <a:pt x="39" y="61"/>
                </a:lnTo>
                <a:lnTo>
                  <a:pt x="40" y="60"/>
                </a:lnTo>
                <a:lnTo>
                  <a:pt x="44" y="64"/>
                </a:lnTo>
                <a:lnTo>
                  <a:pt x="46" y="67"/>
                </a:lnTo>
                <a:lnTo>
                  <a:pt x="47" y="68"/>
                </a:lnTo>
                <a:lnTo>
                  <a:pt x="48" y="76"/>
                </a:lnTo>
                <a:lnTo>
                  <a:pt x="49" y="76"/>
                </a:lnTo>
                <a:lnTo>
                  <a:pt x="54" y="78"/>
                </a:lnTo>
                <a:lnTo>
                  <a:pt x="57" y="78"/>
                </a:lnTo>
                <a:lnTo>
                  <a:pt x="58" y="76"/>
                </a:lnTo>
                <a:lnTo>
                  <a:pt x="59" y="76"/>
                </a:lnTo>
                <a:lnTo>
                  <a:pt x="59" y="78"/>
                </a:lnTo>
                <a:lnTo>
                  <a:pt x="61" y="80"/>
                </a:lnTo>
                <a:lnTo>
                  <a:pt x="64" y="83"/>
                </a:lnTo>
                <a:lnTo>
                  <a:pt x="65" y="84"/>
                </a:lnTo>
                <a:lnTo>
                  <a:pt x="67" y="83"/>
                </a:lnTo>
                <a:lnTo>
                  <a:pt x="69" y="83"/>
                </a:lnTo>
                <a:lnTo>
                  <a:pt x="71" y="83"/>
                </a:lnTo>
                <a:lnTo>
                  <a:pt x="73" y="83"/>
                </a:lnTo>
                <a:lnTo>
                  <a:pt x="79" y="80"/>
                </a:lnTo>
                <a:lnTo>
                  <a:pt x="84" y="78"/>
                </a:lnTo>
                <a:lnTo>
                  <a:pt x="85" y="79"/>
                </a:lnTo>
                <a:lnTo>
                  <a:pt x="88" y="77"/>
                </a:lnTo>
                <a:lnTo>
                  <a:pt x="91" y="73"/>
                </a:lnTo>
                <a:lnTo>
                  <a:pt x="93" y="73"/>
                </a:lnTo>
                <a:lnTo>
                  <a:pt x="95" y="70"/>
                </a:lnTo>
                <a:lnTo>
                  <a:pt x="95" y="69"/>
                </a:lnTo>
                <a:lnTo>
                  <a:pt x="97" y="68"/>
                </a:lnTo>
                <a:lnTo>
                  <a:pt x="95" y="65"/>
                </a:lnTo>
                <a:lnTo>
                  <a:pt x="86" y="60"/>
                </a:lnTo>
                <a:lnTo>
                  <a:pt x="83" y="58"/>
                </a:lnTo>
                <a:lnTo>
                  <a:pt x="80" y="58"/>
                </a:lnTo>
                <a:lnTo>
                  <a:pt x="79" y="57"/>
                </a:lnTo>
                <a:lnTo>
                  <a:pt x="77" y="57"/>
                </a:lnTo>
                <a:lnTo>
                  <a:pt x="76" y="57"/>
                </a:lnTo>
                <a:lnTo>
                  <a:pt x="75" y="53"/>
                </a:lnTo>
                <a:lnTo>
                  <a:pt x="70" y="46"/>
                </a:lnTo>
                <a:lnTo>
                  <a:pt x="69" y="43"/>
                </a:lnTo>
                <a:lnTo>
                  <a:pt x="68" y="41"/>
                </a:lnTo>
                <a:lnTo>
                  <a:pt x="66" y="40"/>
                </a:lnTo>
                <a:lnTo>
                  <a:pt x="58" y="40"/>
                </a:lnTo>
                <a:lnTo>
                  <a:pt x="54" y="41"/>
                </a:lnTo>
                <a:lnTo>
                  <a:pt x="52" y="40"/>
                </a:lnTo>
                <a:lnTo>
                  <a:pt x="50" y="38"/>
                </a:lnTo>
                <a:lnTo>
                  <a:pt x="48" y="38"/>
                </a:lnTo>
                <a:lnTo>
                  <a:pt x="47" y="36"/>
                </a:lnTo>
                <a:lnTo>
                  <a:pt x="44" y="37"/>
                </a:lnTo>
                <a:lnTo>
                  <a:pt x="42" y="38"/>
                </a:lnTo>
                <a:lnTo>
                  <a:pt x="35" y="37"/>
                </a:lnTo>
                <a:lnTo>
                  <a:pt x="35" y="34"/>
                </a:lnTo>
                <a:lnTo>
                  <a:pt x="36" y="32"/>
                </a:lnTo>
                <a:lnTo>
                  <a:pt x="38" y="31"/>
                </a:lnTo>
                <a:lnTo>
                  <a:pt x="44" y="34"/>
                </a:lnTo>
                <a:lnTo>
                  <a:pt x="45" y="32"/>
                </a:lnTo>
                <a:lnTo>
                  <a:pt x="43" y="31"/>
                </a:lnTo>
                <a:lnTo>
                  <a:pt x="42" y="31"/>
                </a:lnTo>
                <a:lnTo>
                  <a:pt x="41" y="31"/>
                </a:lnTo>
                <a:lnTo>
                  <a:pt x="43" y="29"/>
                </a:lnTo>
                <a:lnTo>
                  <a:pt x="45" y="23"/>
                </a:lnTo>
                <a:lnTo>
                  <a:pt x="47" y="24"/>
                </a:lnTo>
                <a:lnTo>
                  <a:pt x="49" y="23"/>
                </a:lnTo>
                <a:lnTo>
                  <a:pt x="50" y="20"/>
                </a:lnTo>
                <a:lnTo>
                  <a:pt x="54" y="17"/>
                </a:lnTo>
                <a:lnTo>
                  <a:pt x="58" y="17"/>
                </a:lnTo>
                <a:lnTo>
                  <a:pt x="62" y="15"/>
                </a:lnTo>
                <a:lnTo>
                  <a:pt x="66" y="16"/>
                </a:lnTo>
                <a:lnTo>
                  <a:pt x="67" y="16"/>
                </a:lnTo>
                <a:lnTo>
                  <a:pt x="73" y="17"/>
                </a:lnTo>
                <a:lnTo>
                  <a:pt x="74" y="20"/>
                </a:lnTo>
                <a:lnTo>
                  <a:pt x="78" y="25"/>
                </a:lnTo>
                <a:lnTo>
                  <a:pt x="78" y="27"/>
                </a:lnTo>
                <a:lnTo>
                  <a:pt x="77" y="33"/>
                </a:lnTo>
                <a:lnTo>
                  <a:pt x="78" y="37"/>
                </a:lnTo>
                <a:lnTo>
                  <a:pt x="80" y="36"/>
                </a:lnTo>
                <a:lnTo>
                  <a:pt x="81" y="37"/>
                </a:lnTo>
                <a:lnTo>
                  <a:pt x="81" y="39"/>
                </a:lnTo>
                <a:lnTo>
                  <a:pt x="84" y="46"/>
                </a:lnTo>
                <a:lnTo>
                  <a:pt x="84" y="49"/>
                </a:lnTo>
                <a:lnTo>
                  <a:pt x="85" y="50"/>
                </a:lnTo>
                <a:lnTo>
                  <a:pt x="86" y="48"/>
                </a:lnTo>
                <a:lnTo>
                  <a:pt x="87" y="50"/>
                </a:lnTo>
                <a:lnTo>
                  <a:pt x="94" y="50"/>
                </a:lnTo>
                <a:lnTo>
                  <a:pt x="99" y="50"/>
                </a:lnTo>
                <a:lnTo>
                  <a:pt x="103" y="52"/>
                </a:lnTo>
                <a:lnTo>
                  <a:pt x="107" y="53"/>
                </a:lnTo>
                <a:lnTo>
                  <a:pt x="109" y="56"/>
                </a:lnTo>
                <a:lnTo>
                  <a:pt x="110" y="57"/>
                </a:lnTo>
                <a:lnTo>
                  <a:pt x="110" y="58"/>
                </a:lnTo>
                <a:lnTo>
                  <a:pt x="112" y="59"/>
                </a:lnTo>
                <a:lnTo>
                  <a:pt x="114" y="59"/>
                </a:lnTo>
                <a:lnTo>
                  <a:pt x="117" y="61"/>
                </a:lnTo>
                <a:lnTo>
                  <a:pt x="119" y="61"/>
                </a:lnTo>
                <a:lnTo>
                  <a:pt x="122" y="63"/>
                </a:lnTo>
                <a:lnTo>
                  <a:pt x="124" y="64"/>
                </a:lnTo>
                <a:lnTo>
                  <a:pt x="126" y="66"/>
                </a:lnTo>
                <a:lnTo>
                  <a:pt x="135" y="70"/>
                </a:lnTo>
                <a:lnTo>
                  <a:pt x="139" y="69"/>
                </a:lnTo>
                <a:lnTo>
                  <a:pt x="142" y="69"/>
                </a:lnTo>
                <a:lnTo>
                  <a:pt x="143" y="68"/>
                </a:lnTo>
                <a:lnTo>
                  <a:pt x="144" y="68"/>
                </a:lnTo>
                <a:lnTo>
                  <a:pt x="150" y="66"/>
                </a:lnTo>
                <a:lnTo>
                  <a:pt x="155" y="63"/>
                </a:lnTo>
                <a:lnTo>
                  <a:pt x="156" y="58"/>
                </a:lnTo>
                <a:lnTo>
                  <a:pt x="158" y="57"/>
                </a:lnTo>
                <a:lnTo>
                  <a:pt x="159" y="55"/>
                </a:lnTo>
                <a:lnTo>
                  <a:pt x="160" y="55"/>
                </a:lnTo>
                <a:lnTo>
                  <a:pt x="160" y="57"/>
                </a:lnTo>
                <a:lnTo>
                  <a:pt x="161" y="55"/>
                </a:lnTo>
                <a:lnTo>
                  <a:pt x="162" y="55"/>
                </a:lnTo>
                <a:lnTo>
                  <a:pt x="163" y="50"/>
                </a:lnTo>
                <a:lnTo>
                  <a:pt x="161" y="50"/>
                </a:lnTo>
                <a:lnTo>
                  <a:pt x="160" y="52"/>
                </a:lnTo>
                <a:lnTo>
                  <a:pt x="159" y="52"/>
                </a:lnTo>
                <a:lnTo>
                  <a:pt x="158" y="51"/>
                </a:lnTo>
                <a:lnTo>
                  <a:pt x="157" y="50"/>
                </a:lnTo>
                <a:lnTo>
                  <a:pt x="156" y="52"/>
                </a:lnTo>
                <a:lnTo>
                  <a:pt x="152" y="53"/>
                </a:lnTo>
                <a:lnTo>
                  <a:pt x="145" y="51"/>
                </a:lnTo>
                <a:lnTo>
                  <a:pt x="142" y="50"/>
                </a:lnTo>
                <a:lnTo>
                  <a:pt x="141" y="47"/>
                </a:lnTo>
                <a:lnTo>
                  <a:pt x="135" y="46"/>
                </a:lnTo>
                <a:lnTo>
                  <a:pt x="132" y="43"/>
                </a:lnTo>
                <a:lnTo>
                  <a:pt x="128" y="38"/>
                </a:lnTo>
                <a:lnTo>
                  <a:pt x="128" y="37"/>
                </a:lnTo>
                <a:lnTo>
                  <a:pt x="123" y="33"/>
                </a:lnTo>
                <a:lnTo>
                  <a:pt x="118" y="28"/>
                </a:lnTo>
                <a:lnTo>
                  <a:pt x="117" y="25"/>
                </a:lnTo>
                <a:lnTo>
                  <a:pt x="115" y="27"/>
                </a:lnTo>
                <a:lnTo>
                  <a:pt x="114" y="26"/>
                </a:lnTo>
                <a:lnTo>
                  <a:pt x="105" y="21"/>
                </a:lnTo>
                <a:lnTo>
                  <a:pt x="102" y="19"/>
                </a:lnTo>
                <a:lnTo>
                  <a:pt x="101" y="18"/>
                </a:lnTo>
                <a:lnTo>
                  <a:pt x="99" y="18"/>
                </a:lnTo>
                <a:lnTo>
                  <a:pt x="93" y="13"/>
                </a:lnTo>
                <a:lnTo>
                  <a:pt x="88" y="12"/>
                </a:lnTo>
                <a:lnTo>
                  <a:pt x="86" y="10"/>
                </a:lnTo>
                <a:lnTo>
                  <a:pt x="84" y="11"/>
                </a:lnTo>
                <a:lnTo>
                  <a:pt x="83" y="10"/>
                </a:lnTo>
                <a:lnTo>
                  <a:pt x="84" y="9"/>
                </a:lnTo>
                <a:lnTo>
                  <a:pt x="84" y="8"/>
                </a:lnTo>
                <a:lnTo>
                  <a:pt x="86" y="6"/>
                </a:lnTo>
                <a:lnTo>
                  <a:pt x="87" y="5"/>
                </a:lnTo>
                <a:lnTo>
                  <a:pt x="86" y="4"/>
                </a:lnTo>
                <a:lnTo>
                  <a:pt x="84" y="5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69" name="Freeform 20"/>
          <p:cNvSpPr>
            <a:spLocks/>
          </p:cNvSpPr>
          <p:nvPr/>
        </p:nvSpPr>
        <p:spPr bwMode="auto">
          <a:xfrm>
            <a:off x="1371600" y="5348288"/>
            <a:ext cx="1179513" cy="388937"/>
          </a:xfrm>
          <a:custGeom>
            <a:avLst/>
            <a:gdLst>
              <a:gd name="T0" fmla="*/ 2147483646 w 199"/>
              <a:gd name="T1" fmla="*/ 2147483646 h 77"/>
              <a:gd name="T2" fmla="*/ 2147483646 w 199"/>
              <a:gd name="T3" fmla="*/ 2147483646 h 77"/>
              <a:gd name="T4" fmla="*/ 2147483646 w 199"/>
              <a:gd name="T5" fmla="*/ 2147483646 h 77"/>
              <a:gd name="T6" fmla="*/ 2147483646 w 199"/>
              <a:gd name="T7" fmla="*/ 2147483646 h 77"/>
              <a:gd name="T8" fmla="*/ 2147483646 w 199"/>
              <a:gd name="T9" fmla="*/ 2147483646 h 77"/>
              <a:gd name="T10" fmla="*/ 2147483646 w 199"/>
              <a:gd name="T11" fmla="*/ 2147483646 h 77"/>
              <a:gd name="T12" fmla="*/ 2147483646 w 199"/>
              <a:gd name="T13" fmla="*/ 2147483646 h 77"/>
              <a:gd name="T14" fmla="*/ 2147483646 w 199"/>
              <a:gd name="T15" fmla="*/ 2147483646 h 77"/>
              <a:gd name="T16" fmla="*/ 2147483646 w 199"/>
              <a:gd name="T17" fmla="*/ 2147483646 h 77"/>
              <a:gd name="T18" fmla="*/ 2147483646 w 199"/>
              <a:gd name="T19" fmla="*/ 2147483646 h 77"/>
              <a:gd name="T20" fmla="*/ 2147483646 w 199"/>
              <a:gd name="T21" fmla="*/ 2147483646 h 77"/>
              <a:gd name="T22" fmla="*/ 2147483646 w 199"/>
              <a:gd name="T23" fmla="*/ 2147483646 h 77"/>
              <a:gd name="T24" fmla="*/ 2147483646 w 199"/>
              <a:gd name="T25" fmla="*/ 2147483646 h 77"/>
              <a:gd name="T26" fmla="*/ 2147483646 w 199"/>
              <a:gd name="T27" fmla="*/ 2147483646 h 77"/>
              <a:gd name="T28" fmla="*/ 2147483646 w 199"/>
              <a:gd name="T29" fmla="*/ 2147483646 h 77"/>
              <a:gd name="T30" fmla="*/ 2147483646 w 199"/>
              <a:gd name="T31" fmla="*/ 2147483646 h 77"/>
              <a:gd name="T32" fmla="*/ 2147483646 w 199"/>
              <a:gd name="T33" fmla="*/ 2147483646 h 77"/>
              <a:gd name="T34" fmla="*/ 2147483646 w 199"/>
              <a:gd name="T35" fmla="*/ 2147483646 h 77"/>
              <a:gd name="T36" fmla="*/ 2147483646 w 199"/>
              <a:gd name="T37" fmla="*/ 2147483646 h 77"/>
              <a:gd name="T38" fmla="*/ 2147483646 w 199"/>
              <a:gd name="T39" fmla="*/ 2147483646 h 77"/>
              <a:gd name="T40" fmla="*/ 2147483646 w 199"/>
              <a:gd name="T41" fmla="*/ 2147483646 h 77"/>
              <a:gd name="T42" fmla="*/ 2147483646 w 199"/>
              <a:gd name="T43" fmla="*/ 2147483646 h 77"/>
              <a:gd name="T44" fmla="*/ 2147483646 w 199"/>
              <a:gd name="T45" fmla="*/ 2147483646 h 77"/>
              <a:gd name="T46" fmla="*/ 2147483646 w 199"/>
              <a:gd name="T47" fmla="*/ 2147483646 h 77"/>
              <a:gd name="T48" fmla="*/ 2147483646 w 199"/>
              <a:gd name="T49" fmla="*/ 2147483646 h 77"/>
              <a:gd name="T50" fmla="*/ 2147483646 w 199"/>
              <a:gd name="T51" fmla="*/ 2147483646 h 77"/>
              <a:gd name="T52" fmla="*/ 2147483646 w 199"/>
              <a:gd name="T53" fmla="*/ 2147483646 h 77"/>
              <a:gd name="T54" fmla="*/ 2147483646 w 199"/>
              <a:gd name="T55" fmla="*/ 2147483646 h 77"/>
              <a:gd name="T56" fmla="*/ 2147483646 w 199"/>
              <a:gd name="T57" fmla="*/ 2147483646 h 77"/>
              <a:gd name="T58" fmla="*/ 2147483646 w 199"/>
              <a:gd name="T59" fmla="*/ 2147483646 h 77"/>
              <a:gd name="T60" fmla="*/ 2147483646 w 199"/>
              <a:gd name="T61" fmla="*/ 2147483646 h 77"/>
              <a:gd name="T62" fmla="*/ 2147483646 w 199"/>
              <a:gd name="T63" fmla="*/ 2147483646 h 77"/>
              <a:gd name="T64" fmla="*/ 2147483646 w 199"/>
              <a:gd name="T65" fmla="*/ 2147483646 h 77"/>
              <a:gd name="T66" fmla="*/ 2147483646 w 199"/>
              <a:gd name="T67" fmla="*/ 2147483646 h 77"/>
              <a:gd name="T68" fmla="*/ 2147483646 w 199"/>
              <a:gd name="T69" fmla="*/ 2147483646 h 77"/>
              <a:gd name="T70" fmla="*/ 2147483646 w 199"/>
              <a:gd name="T71" fmla="*/ 2147483646 h 77"/>
              <a:gd name="T72" fmla="*/ 2147483646 w 199"/>
              <a:gd name="T73" fmla="*/ 2147483646 h 77"/>
              <a:gd name="T74" fmla="*/ 2147483646 w 199"/>
              <a:gd name="T75" fmla="*/ 2147483646 h 77"/>
              <a:gd name="T76" fmla="*/ 2147483646 w 199"/>
              <a:gd name="T77" fmla="*/ 2147483646 h 77"/>
              <a:gd name="T78" fmla="*/ 2147483646 w 199"/>
              <a:gd name="T79" fmla="*/ 2147483646 h 77"/>
              <a:gd name="T80" fmla="*/ 2147483646 w 199"/>
              <a:gd name="T81" fmla="*/ 2147483646 h 77"/>
              <a:gd name="T82" fmla="*/ 2147483646 w 199"/>
              <a:gd name="T83" fmla="*/ 2147483646 h 77"/>
              <a:gd name="T84" fmla="*/ 2147483646 w 199"/>
              <a:gd name="T85" fmla="*/ 2147483646 h 77"/>
              <a:gd name="T86" fmla="*/ 2147483646 w 199"/>
              <a:gd name="T87" fmla="*/ 2147483646 h 77"/>
              <a:gd name="T88" fmla="*/ 2147483646 w 199"/>
              <a:gd name="T89" fmla="*/ 2147483646 h 77"/>
              <a:gd name="T90" fmla="*/ 2147483646 w 199"/>
              <a:gd name="T91" fmla="*/ 2147483646 h 77"/>
              <a:gd name="T92" fmla="*/ 2147483646 w 199"/>
              <a:gd name="T93" fmla="*/ 2147483646 h 77"/>
              <a:gd name="T94" fmla="*/ 2147483646 w 199"/>
              <a:gd name="T95" fmla="*/ 2147483646 h 77"/>
              <a:gd name="T96" fmla="*/ 2147483646 w 199"/>
              <a:gd name="T97" fmla="*/ 2147483646 h 7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199" h="77">
                <a:moveTo>
                  <a:pt x="196" y="21"/>
                </a:moveTo>
                <a:lnTo>
                  <a:pt x="195" y="18"/>
                </a:lnTo>
                <a:lnTo>
                  <a:pt x="193" y="15"/>
                </a:lnTo>
                <a:lnTo>
                  <a:pt x="188" y="15"/>
                </a:lnTo>
                <a:lnTo>
                  <a:pt x="188" y="17"/>
                </a:lnTo>
                <a:lnTo>
                  <a:pt x="186" y="17"/>
                </a:lnTo>
                <a:lnTo>
                  <a:pt x="185" y="20"/>
                </a:lnTo>
                <a:lnTo>
                  <a:pt x="185" y="17"/>
                </a:lnTo>
                <a:lnTo>
                  <a:pt x="182" y="17"/>
                </a:lnTo>
                <a:lnTo>
                  <a:pt x="181" y="17"/>
                </a:lnTo>
                <a:lnTo>
                  <a:pt x="180" y="19"/>
                </a:lnTo>
                <a:lnTo>
                  <a:pt x="182" y="21"/>
                </a:lnTo>
                <a:lnTo>
                  <a:pt x="185" y="23"/>
                </a:lnTo>
                <a:lnTo>
                  <a:pt x="187" y="24"/>
                </a:lnTo>
                <a:lnTo>
                  <a:pt x="188" y="26"/>
                </a:lnTo>
                <a:lnTo>
                  <a:pt x="187" y="27"/>
                </a:lnTo>
                <a:lnTo>
                  <a:pt x="185" y="25"/>
                </a:lnTo>
                <a:lnTo>
                  <a:pt x="184" y="25"/>
                </a:lnTo>
                <a:lnTo>
                  <a:pt x="182" y="24"/>
                </a:lnTo>
                <a:lnTo>
                  <a:pt x="181" y="24"/>
                </a:lnTo>
                <a:lnTo>
                  <a:pt x="181" y="25"/>
                </a:lnTo>
                <a:lnTo>
                  <a:pt x="180" y="26"/>
                </a:lnTo>
                <a:lnTo>
                  <a:pt x="179" y="23"/>
                </a:lnTo>
                <a:lnTo>
                  <a:pt x="178" y="22"/>
                </a:lnTo>
                <a:lnTo>
                  <a:pt x="175" y="23"/>
                </a:lnTo>
                <a:lnTo>
                  <a:pt x="178" y="27"/>
                </a:lnTo>
                <a:lnTo>
                  <a:pt x="180" y="30"/>
                </a:lnTo>
                <a:lnTo>
                  <a:pt x="178" y="30"/>
                </a:lnTo>
                <a:lnTo>
                  <a:pt x="171" y="22"/>
                </a:lnTo>
                <a:lnTo>
                  <a:pt x="170" y="21"/>
                </a:lnTo>
                <a:lnTo>
                  <a:pt x="167" y="21"/>
                </a:lnTo>
                <a:lnTo>
                  <a:pt x="166" y="18"/>
                </a:lnTo>
                <a:lnTo>
                  <a:pt x="158" y="17"/>
                </a:lnTo>
                <a:lnTo>
                  <a:pt x="152" y="8"/>
                </a:lnTo>
                <a:lnTo>
                  <a:pt x="149" y="5"/>
                </a:lnTo>
                <a:lnTo>
                  <a:pt x="140" y="3"/>
                </a:lnTo>
                <a:lnTo>
                  <a:pt x="138" y="6"/>
                </a:lnTo>
                <a:lnTo>
                  <a:pt x="138" y="11"/>
                </a:lnTo>
                <a:lnTo>
                  <a:pt x="136" y="18"/>
                </a:lnTo>
                <a:lnTo>
                  <a:pt x="133" y="17"/>
                </a:lnTo>
                <a:lnTo>
                  <a:pt x="125" y="20"/>
                </a:lnTo>
                <a:lnTo>
                  <a:pt x="120" y="24"/>
                </a:lnTo>
                <a:lnTo>
                  <a:pt x="118" y="24"/>
                </a:lnTo>
                <a:lnTo>
                  <a:pt x="115" y="28"/>
                </a:lnTo>
                <a:lnTo>
                  <a:pt x="113" y="28"/>
                </a:lnTo>
                <a:lnTo>
                  <a:pt x="109" y="27"/>
                </a:lnTo>
                <a:lnTo>
                  <a:pt x="104" y="25"/>
                </a:lnTo>
                <a:lnTo>
                  <a:pt x="104" y="30"/>
                </a:lnTo>
                <a:lnTo>
                  <a:pt x="103" y="30"/>
                </a:lnTo>
                <a:lnTo>
                  <a:pt x="103" y="27"/>
                </a:lnTo>
                <a:lnTo>
                  <a:pt x="103" y="25"/>
                </a:lnTo>
                <a:lnTo>
                  <a:pt x="101" y="24"/>
                </a:lnTo>
                <a:lnTo>
                  <a:pt x="98" y="23"/>
                </a:lnTo>
                <a:lnTo>
                  <a:pt x="94" y="22"/>
                </a:lnTo>
                <a:lnTo>
                  <a:pt x="93" y="26"/>
                </a:lnTo>
                <a:lnTo>
                  <a:pt x="90" y="24"/>
                </a:lnTo>
                <a:lnTo>
                  <a:pt x="88" y="24"/>
                </a:lnTo>
                <a:lnTo>
                  <a:pt x="88" y="25"/>
                </a:lnTo>
                <a:lnTo>
                  <a:pt x="86" y="24"/>
                </a:lnTo>
                <a:lnTo>
                  <a:pt x="85" y="23"/>
                </a:lnTo>
                <a:lnTo>
                  <a:pt x="83" y="22"/>
                </a:lnTo>
                <a:lnTo>
                  <a:pt x="80" y="20"/>
                </a:lnTo>
                <a:lnTo>
                  <a:pt x="77" y="18"/>
                </a:lnTo>
                <a:lnTo>
                  <a:pt x="77" y="17"/>
                </a:lnTo>
                <a:lnTo>
                  <a:pt x="75" y="15"/>
                </a:lnTo>
                <a:lnTo>
                  <a:pt x="61" y="11"/>
                </a:lnTo>
                <a:lnTo>
                  <a:pt x="53" y="8"/>
                </a:lnTo>
                <a:lnTo>
                  <a:pt x="49" y="5"/>
                </a:lnTo>
                <a:lnTo>
                  <a:pt x="44" y="3"/>
                </a:lnTo>
                <a:lnTo>
                  <a:pt x="43" y="2"/>
                </a:lnTo>
                <a:lnTo>
                  <a:pt x="40" y="2"/>
                </a:lnTo>
                <a:lnTo>
                  <a:pt x="37" y="0"/>
                </a:lnTo>
                <a:lnTo>
                  <a:pt x="35" y="0"/>
                </a:lnTo>
                <a:lnTo>
                  <a:pt x="29" y="4"/>
                </a:lnTo>
                <a:lnTo>
                  <a:pt x="24" y="5"/>
                </a:lnTo>
                <a:lnTo>
                  <a:pt x="20" y="6"/>
                </a:lnTo>
                <a:lnTo>
                  <a:pt x="18" y="6"/>
                </a:lnTo>
                <a:lnTo>
                  <a:pt x="16" y="6"/>
                </a:lnTo>
                <a:lnTo>
                  <a:pt x="10" y="9"/>
                </a:lnTo>
                <a:lnTo>
                  <a:pt x="8" y="9"/>
                </a:lnTo>
                <a:lnTo>
                  <a:pt x="4" y="11"/>
                </a:lnTo>
                <a:lnTo>
                  <a:pt x="3" y="13"/>
                </a:lnTo>
                <a:lnTo>
                  <a:pt x="5" y="17"/>
                </a:lnTo>
                <a:lnTo>
                  <a:pt x="4" y="21"/>
                </a:lnTo>
                <a:lnTo>
                  <a:pt x="7" y="23"/>
                </a:lnTo>
                <a:lnTo>
                  <a:pt x="7" y="26"/>
                </a:lnTo>
                <a:lnTo>
                  <a:pt x="0" y="33"/>
                </a:lnTo>
                <a:lnTo>
                  <a:pt x="3" y="36"/>
                </a:lnTo>
                <a:lnTo>
                  <a:pt x="5" y="37"/>
                </a:lnTo>
                <a:lnTo>
                  <a:pt x="2" y="39"/>
                </a:lnTo>
                <a:lnTo>
                  <a:pt x="3" y="41"/>
                </a:lnTo>
                <a:lnTo>
                  <a:pt x="5" y="43"/>
                </a:lnTo>
                <a:lnTo>
                  <a:pt x="6" y="45"/>
                </a:lnTo>
                <a:lnTo>
                  <a:pt x="4" y="46"/>
                </a:lnTo>
                <a:lnTo>
                  <a:pt x="5" y="47"/>
                </a:lnTo>
                <a:lnTo>
                  <a:pt x="7" y="48"/>
                </a:lnTo>
                <a:lnTo>
                  <a:pt x="8" y="51"/>
                </a:lnTo>
                <a:lnTo>
                  <a:pt x="10" y="52"/>
                </a:lnTo>
                <a:lnTo>
                  <a:pt x="11" y="54"/>
                </a:lnTo>
                <a:lnTo>
                  <a:pt x="12" y="54"/>
                </a:lnTo>
                <a:lnTo>
                  <a:pt x="13" y="53"/>
                </a:lnTo>
                <a:lnTo>
                  <a:pt x="15" y="55"/>
                </a:lnTo>
                <a:lnTo>
                  <a:pt x="15" y="58"/>
                </a:lnTo>
                <a:lnTo>
                  <a:pt x="16" y="58"/>
                </a:lnTo>
                <a:lnTo>
                  <a:pt x="20" y="60"/>
                </a:lnTo>
                <a:lnTo>
                  <a:pt x="26" y="60"/>
                </a:lnTo>
                <a:lnTo>
                  <a:pt x="38" y="58"/>
                </a:lnTo>
                <a:lnTo>
                  <a:pt x="36" y="44"/>
                </a:lnTo>
                <a:lnTo>
                  <a:pt x="38" y="43"/>
                </a:lnTo>
                <a:lnTo>
                  <a:pt x="40" y="45"/>
                </a:lnTo>
                <a:lnTo>
                  <a:pt x="41" y="45"/>
                </a:lnTo>
                <a:lnTo>
                  <a:pt x="42" y="43"/>
                </a:lnTo>
                <a:lnTo>
                  <a:pt x="45" y="43"/>
                </a:lnTo>
                <a:lnTo>
                  <a:pt x="46" y="41"/>
                </a:lnTo>
                <a:lnTo>
                  <a:pt x="47" y="41"/>
                </a:lnTo>
                <a:lnTo>
                  <a:pt x="49" y="43"/>
                </a:lnTo>
                <a:lnTo>
                  <a:pt x="50" y="44"/>
                </a:lnTo>
                <a:lnTo>
                  <a:pt x="50" y="43"/>
                </a:lnTo>
                <a:lnTo>
                  <a:pt x="51" y="44"/>
                </a:lnTo>
                <a:lnTo>
                  <a:pt x="51" y="43"/>
                </a:lnTo>
                <a:lnTo>
                  <a:pt x="52" y="42"/>
                </a:lnTo>
                <a:lnTo>
                  <a:pt x="51" y="40"/>
                </a:lnTo>
                <a:lnTo>
                  <a:pt x="53" y="38"/>
                </a:lnTo>
                <a:lnTo>
                  <a:pt x="58" y="41"/>
                </a:lnTo>
                <a:lnTo>
                  <a:pt x="60" y="42"/>
                </a:lnTo>
                <a:lnTo>
                  <a:pt x="61" y="42"/>
                </a:lnTo>
                <a:lnTo>
                  <a:pt x="64" y="44"/>
                </a:lnTo>
                <a:lnTo>
                  <a:pt x="65" y="43"/>
                </a:lnTo>
                <a:lnTo>
                  <a:pt x="69" y="44"/>
                </a:lnTo>
                <a:lnTo>
                  <a:pt x="72" y="46"/>
                </a:lnTo>
                <a:lnTo>
                  <a:pt x="73" y="47"/>
                </a:lnTo>
                <a:lnTo>
                  <a:pt x="75" y="47"/>
                </a:lnTo>
                <a:lnTo>
                  <a:pt x="76" y="49"/>
                </a:lnTo>
                <a:lnTo>
                  <a:pt x="82" y="51"/>
                </a:lnTo>
                <a:lnTo>
                  <a:pt x="83" y="50"/>
                </a:lnTo>
                <a:lnTo>
                  <a:pt x="89" y="51"/>
                </a:lnTo>
                <a:lnTo>
                  <a:pt x="90" y="51"/>
                </a:lnTo>
                <a:lnTo>
                  <a:pt x="92" y="54"/>
                </a:lnTo>
                <a:lnTo>
                  <a:pt x="93" y="55"/>
                </a:lnTo>
                <a:lnTo>
                  <a:pt x="94" y="54"/>
                </a:lnTo>
                <a:lnTo>
                  <a:pt x="99" y="57"/>
                </a:lnTo>
                <a:lnTo>
                  <a:pt x="98" y="60"/>
                </a:lnTo>
                <a:lnTo>
                  <a:pt x="97" y="68"/>
                </a:lnTo>
                <a:lnTo>
                  <a:pt x="98" y="72"/>
                </a:lnTo>
                <a:lnTo>
                  <a:pt x="101" y="73"/>
                </a:lnTo>
                <a:lnTo>
                  <a:pt x="101" y="72"/>
                </a:lnTo>
                <a:lnTo>
                  <a:pt x="105" y="74"/>
                </a:lnTo>
                <a:lnTo>
                  <a:pt x="107" y="73"/>
                </a:lnTo>
                <a:lnTo>
                  <a:pt x="108" y="72"/>
                </a:lnTo>
                <a:lnTo>
                  <a:pt x="111" y="73"/>
                </a:lnTo>
                <a:lnTo>
                  <a:pt x="112" y="73"/>
                </a:lnTo>
                <a:lnTo>
                  <a:pt x="113" y="73"/>
                </a:lnTo>
                <a:lnTo>
                  <a:pt x="114" y="73"/>
                </a:lnTo>
                <a:lnTo>
                  <a:pt x="114" y="72"/>
                </a:lnTo>
                <a:lnTo>
                  <a:pt x="120" y="69"/>
                </a:lnTo>
                <a:lnTo>
                  <a:pt x="121" y="71"/>
                </a:lnTo>
                <a:lnTo>
                  <a:pt x="120" y="73"/>
                </a:lnTo>
                <a:lnTo>
                  <a:pt x="118" y="74"/>
                </a:lnTo>
                <a:lnTo>
                  <a:pt x="119" y="77"/>
                </a:lnTo>
                <a:lnTo>
                  <a:pt x="122" y="77"/>
                </a:lnTo>
                <a:lnTo>
                  <a:pt x="125" y="76"/>
                </a:lnTo>
                <a:lnTo>
                  <a:pt x="126" y="74"/>
                </a:lnTo>
                <a:lnTo>
                  <a:pt x="126" y="72"/>
                </a:lnTo>
                <a:lnTo>
                  <a:pt x="127" y="72"/>
                </a:lnTo>
                <a:lnTo>
                  <a:pt x="129" y="71"/>
                </a:lnTo>
                <a:lnTo>
                  <a:pt x="129" y="70"/>
                </a:lnTo>
                <a:lnTo>
                  <a:pt x="131" y="73"/>
                </a:lnTo>
                <a:lnTo>
                  <a:pt x="135" y="72"/>
                </a:lnTo>
                <a:lnTo>
                  <a:pt x="136" y="72"/>
                </a:lnTo>
                <a:lnTo>
                  <a:pt x="137" y="69"/>
                </a:lnTo>
                <a:lnTo>
                  <a:pt x="140" y="69"/>
                </a:lnTo>
                <a:lnTo>
                  <a:pt x="142" y="66"/>
                </a:lnTo>
                <a:lnTo>
                  <a:pt x="143" y="66"/>
                </a:lnTo>
                <a:lnTo>
                  <a:pt x="145" y="64"/>
                </a:lnTo>
                <a:lnTo>
                  <a:pt x="146" y="63"/>
                </a:lnTo>
                <a:lnTo>
                  <a:pt x="147" y="62"/>
                </a:lnTo>
                <a:lnTo>
                  <a:pt x="150" y="62"/>
                </a:lnTo>
                <a:lnTo>
                  <a:pt x="151" y="62"/>
                </a:lnTo>
                <a:lnTo>
                  <a:pt x="154" y="62"/>
                </a:lnTo>
                <a:lnTo>
                  <a:pt x="155" y="63"/>
                </a:lnTo>
                <a:lnTo>
                  <a:pt x="157" y="63"/>
                </a:lnTo>
                <a:lnTo>
                  <a:pt x="159" y="62"/>
                </a:lnTo>
                <a:lnTo>
                  <a:pt x="162" y="60"/>
                </a:lnTo>
                <a:lnTo>
                  <a:pt x="184" y="45"/>
                </a:lnTo>
                <a:lnTo>
                  <a:pt x="196" y="28"/>
                </a:lnTo>
                <a:lnTo>
                  <a:pt x="199" y="25"/>
                </a:lnTo>
                <a:lnTo>
                  <a:pt x="197" y="24"/>
                </a:lnTo>
                <a:lnTo>
                  <a:pt x="196" y="21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0" name="Freeform 21"/>
          <p:cNvSpPr>
            <a:spLocks/>
          </p:cNvSpPr>
          <p:nvPr/>
        </p:nvSpPr>
        <p:spPr bwMode="auto">
          <a:xfrm>
            <a:off x="3711575" y="3330575"/>
            <a:ext cx="2309813" cy="1439863"/>
          </a:xfrm>
          <a:custGeom>
            <a:avLst/>
            <a:gdLst>
              <a:gd name="T0" fmla="*/ 2147483646 w 390"/>
              <a:gd name="T1" fmla="*/ 2147483646 h 286"/>
              <a:gd name="T2" fmla="*/ 2147483646 w 390"/>
              <a:gd name="T3" fmla="*/ 2147483646 h 286"/>
              <a:gd name="T4" fmla="*/ 2147483646 w 390"/>
              <a:gd name="T5" fmla="*/ 2147483646 h 286"/>
              <a:gd name="T6" fmla="*/ 2147483646 w 390"/>
              <a:gd name="T7" fmla="*/ 2147483646 h 286"/>
              <a:gd name="T8" fmla="*/ 2147483646 w 390"/>
              <a:gd name="T9" fmla="*/ 2147483646 h 286"/>
              <a:gd name="T10" fmla="*/ 2147483646 w 390"/>
              <a:gd name="T11" fmla="*/ 2147483646 h 286"/>
              <a:gd name="T12" fmla="*/ 2147483646 w 390"/>
              <a:gd name="T13" fmla="*/ 2147483646 h 286"/>
              <a:gd name="T14" fmla="*/ 2147483646 w 390"/>
              <a:gd name="T15" fmla="*/ 2147483646 h 286"/>
              <a:gd name="T16" fmla="*/ 2147483646 w 390"/>
              <a:gd name="T17" fmla="*/ 2147483646 h 286"/>
              <a:gd name="T18" fmla="*/ 2147483646 w 390"/>
              <a:gd name="T19" fmla="*/ 2147483646 h 286"/>
              <a:gd name="T20" fmla="*/ 2147483646 w 390"/>
              <a:gd name="T21" fmla="*/ 2147483646 h 286"/>
              <a:gd name="T22" fmla="*/ 2147483646 w 390"/>
              <a:gd name="T23" fmla="*/ 2147483646 h 286"/>
              <a:gd name="T24" fmla="*/ 2147483646 w 390"/>
              <a:gd name="T25" fmla="*/ 2147483646 h 286"/>
              <a:gd name="T26" fmla="*/ 2147483646 w 390"/>
              <a:gd name="T27" fmla="*/ 2147483646 h 286"/>
              <a:gd name="T28" fmla="*/ 2147483646 w 390"/>
              <a:gd name="T29" fmla="*/ 2147483646 h 286"/>
              <a:gd name="T30" fmla="*/ 2147483646 w 390"/>
              <a:gd name="T31" fmla="*/ 2147483646 h 286"/>
              <a:gd name="T32" fmla="*/ 2147483646 w 390"/>
              <a:gd name="T33" fmla="*/ 2147483646 h 286"/>
              <a:gd name="T34" fmla="*/ 2147483646 w 390"/>
              <a:gd name="T35" fmla="*/ 2147483646 h 286"/>
              <a:gd name="T36" fmla="*/ 2147483646 w 390"/>
              <a:gd name="T37" fmla="*/ 2147483646 h 286"/>
              <a:gd name="T38" fmla="*/ 2147483646 w 390"/>
              <a:gd name="T39" fmla="*/ 2147483646 h 286"/>
              <a:gd name="T40" fmla="*/ 2147483646 w 390"/>
              <a:gd name="T41" fmla="*/ 2147483646 h 286"/>
              <a:gd name="T42" fmla="*/ 2147483646 w 390"/>
              <a:gd name="T43" fmla="*/ 2147483646 h 286"/>
              <a:gd name="T44" fmla="*/ 2147483646 w 390"/>
              <a:gd name="T45" fmla="*/ 2147483646 h 286"/>
              <a:gd name="T46" fmla="*/ 2147483646 w 390"/>
              <a:gd name="T47" fmla="*/ 2147483646 h 286"/>
              <a:gd name="T48" fmla="*/ 2147483646 w 390"/>
              <a:gd name="T49" fmla="*/ 2147483646 h 286"/>
              <a:gd name="T50" fmla="*/ 2147483646 w 390"/>
              <a:gd name="T51" fmla="*/ 2147483646 h 286"/>
              <a:gd name="T52" fmla="*/ 2147483646 w 390"/>
              <a:gd name="T53" fmla="*/ 2147483646 h 286"/>
              <a:gd name="T54" fmla="*/ 2147483646 w 390"/>
              <a:gd name="T55" fmla="*/ 2147483646 h 286"/>
              <a:gd name="T56" fmla="*/ 2147483646 w 390"/>
              <a:gd name="T57" fmla="*/ 2147483646 h 286"/>
              <a:gd name="T58" fmla="*/ 2147483646 w 390"/>
              <a:gd name="T59" fmla="*/ 2147483646 h 286"/>
              <a:gd name="T60" fmla="*/ 2147483646 w 390"/>
              <a:gd name="T61" fmla="*/ 2147483646 h 286"/>
              <a:gd name="T62" fmla="*/ 2147483646 w 390"/>
              <a:gd name="T63" fmla="*/ 2147483646 h 286"/>
              <a:gd name="T64" fmla="*/ 2147483646 w 390"/>
              <a:gd name="T65" fmla="*/ 2147483646 h 286"/>
              <a:gd name="T66" fmla="*/ 2147483646 w 390"/>
              <a:gd name="T67" fmla="*/ 2147483646 h 286"/>
              <a:gd name="T68" fmla="*/ 2147483646 w 390"/>
              <a:gd name="T69" fmla="*/ 2147483646 h 286"/>
              <a:gd name="T70" fmla="*/ 2147483646 w 390"/>
              <a:gd name="T71" fmla="*/ 2147483646 h 286"/>
              <a:gd name="T72" fmla="*/ 2147483646 w 390"/>
              <a:gd name="T73" fmla="*/ 2147483646 h 286"/>
              <a:gd name="T74" fmla="*/ 2147483646 w 390"/>
              <a:gd name="T75" fmla="*/ 2147483646 h 286"/>
              <a:gd name="T76" fmla="*/ 2147483646 w 390"/>
              <a:gd name="T77" fmla="*/ 2147483646 h 286"/>
              <a:gd name="T78" fmla="*/ 2147483646 w 390"/>
              <a:gd name="T79" fmla="*/ 2147483646 h 286"/>
              <a:gd name="T80" fmla="*/ 2147483646 w 390"/>
              <a:gd name="T81" fmla="*/ 2147483646 h 286"/>
              <a:gd name="T82" fmla="*/ 2147483646 w 390"/>
              <a:gd name="T83" fmla="*/ 2147483646 h 286"/>
              <a:gd name="T84" fmla="*/ 2147483646 w 390"/>
              <a:gd name="T85" fmla="*/ 2147483646 h 286"/>
              <a:gd name="T86" fmla="*/ 2147483646 w 390"/>
              <a:gd name="T87" fmla="*/ 2147483646 h 286"/>
              <a:gd name="T88" fmla="*/ 2147483646 w 390"/>
              <a:gd name="T89" fmla="*/ 2147483646 h 286"/>
              <a:gd name="T90" fmla="*/ 2147483646 w 390"/>
              <a:gd name="T91" fmla="*/ 2147483646 h 286"/>
              <a:gd name="T92" fmla="*/ 2147483646 w 390"/>
              <a:gd name="T93" fmla="*/ 2147483646 h 286"/>
              <a:gd name="T94" fmla="*/ 2147483646 w 390"/>
              <a:gd name="T95" fmla="*/ 2147483646 h 286"/>
              <a:gd name="T96" fmla="*/ 2147483646 w 390"/>
              <a:gd name="T97" fmla="*/ 2147483646 h 286"/>
              <a:gd name="T98" fmla="*/ 2147483646 w 390"/>
              <a:gd name="T99" fmla="*/ 2147483646 h 286"/>
              <a:gd name="T100" fmla="*/ 2147483646 w 390"/>
              <a:gd name="T101" fmla="*/ 2147483646 h 286"/>
              <a:gd name="T102" fmla="*/ 2147483646 w 390"/>
              <a:gd name="T103" fmla="*/ 2147483646 h 286"/>
              <a:gd name="T104" fmla="*/ 2147483646 w 390"/>
              <a:gd name="T105" fmla="*/ 2147483646 h 286"/>
              <a:gd name="T106" fmla="*/ 2147483646 w 390"/>
              <a:gd name="T107" fmla="*/ 2147483646 h 286"/>
              <a:gd name="T108" fmla="*/ 2147483646 w 390"/>
              <a:gd name="T109" fmla="*/ 2147483646 h 286"/>
              <a:gd name="T110" fmla="*/ 2147483646 w 390"/>
              <a:gd name="T111" fmla="*/ 2147483646 h 286"/>
              <a:gd name="T112" fmla="*/ 2147483646 w 390"/>
              <a:gd name="T113" fmla="*/ 2147483646 h 286"/>
              <a:gd name="T114" fmla="*/ 2147483646 w 390"/>
              <a:gd name="T115" fmla="*/ 2147483646 h 28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390" h="286">
                <a:moveTo>
                  <a:pt x="389" y="196"/>
                </a:moveTo>
                <a:lnTo>
                  <a:pt x="389" y="192"/>
                </a:lnTo>
                <a:lnTo>
                  <a:pt x="389" y="190"/>
                </a:lnTo>
                <a:lnTo>
                  <a:pt x="384" y="189"/>
                </a:lnTo>
                <a:lnTo>
                  <a:pt x="385" y="188"/>
                </a:lnTo>
                <a:lnTo>
                  <a:pt x="382" y="186"/>
                </a:lnTo>
                <a:lnTo>
                  <a:pt x="378" y="182"/>
                </a:lnTo>
                <a:lnTo>
                  <a:pt x="375" y="181"/>
                </a:lnTo>
                <a:lnTo>
                  <a:pt x="374" y="179"/>
                </a:lnTo>
                <a:lnTo>
                  <a:pt x="371" y="177"/>
                </a:lnTo>
                <a:lnTo>
                  <a:pt x="363" y="173"/>
                </a:lnTo>
                <a:lnTo>
                  <a:pt x="357" y="173"/>
                </a:lnTo>
                <a:lnTo>
                  <a:pt x="357" y="167"/>
                </a:lnTo>
                <a:lnTo>
                  <a:pt x="358" y="165"/>
                </a:lnTo>
                <a:lnTo>
                  <a:pt x="359" y="163"/>
                </a:lnTo>
                <a:lnTo>
                  <a:pt x="358" y="162"/>
                </a:lnTo>
                <a:lnTo>
                  <a:pt x="367" y="160"/>
                </a:lnTo>
                <a:lnTo>
                  <a:pt x="370" y="158"/>
                </a:lnTo>
                <a:lnTo>
                  <a:pt x="371" y="156"/>
                </a:lnTo>
                <a:lnTo>
                  <a:pt x="370" y="156"/>
                </a:lnTo>
                <a:lnTo>
                  <a:pt x="369" y="154"/>
                </a:lnTo>
                <a:lnTo>
                  <a:pt x="371" y="152"/>
                </a:lnTo>
                <a:lnTo>
                  <a:pt x="371" y="153"/>
                </a:lnTo>
                <a:lnTo>
                  <a:pt x="372" y="152"/>
                </a:lnTo>
                <a:lnTo>
                  <a:pt x="373" y="146"/>
                </a:lnTo>
                <a:lnTo>
                  <a:pt x="360" y="143"/>
                </a:lnTo>
                <a:lnTo>
                  <a:pt x="357" y="141"/>
                </a:lnTo>
                <a:lnTo>
                  <a:pt x="354" y="141"/>
                </a:lnTo>
                <a:lnTo>
                  <a:pt x="350" y="140"/>
                </a:lnTo>
                <a:lnTo>
                  <a:pt x="350" y="137"/>
                </a:lnTo>
                <a:lnTo>
                  <a:pt x="352" y="136"/>
                </a:lnTo>
                <a:lnTo>
                  <a:pt x="351" y="127"/>
                </a:lnTo>
                <a:lnTo>
                  <a:pt x="346" y="123"/>
                </a:lnTo>
                <a:lnTo>
                  <a:pt x="344" y="125"/>
                </a:lnTo>
                <a:lnTo>
                  <a:pt x="342" y="124"/>
                </a:lnTo>
                <a:lnTo>
                  <a:pt x="338" y="127"/>
                </a:lnTo>
                <a:lnTo>
                  <a:pt x="337" y="126"/>
                </a:lnTo>
                <a:lnTo>
                  <a:pt x="336" y="123"/>
                </a:lnTo>
                <a:lnTo>
                  <a:pt x="334" y="121"/>
                </a:lnTo>
                <a:lnTo>
                  <a:pt x="331" y="121"/>
                </a:lnTo>
                <a:lnTo>
                  <a:pt x="327" y="122"/>
                </a:lnTo>
                <a:lnTo>
                  <a:pt x="320" y="122"/>
                </a:lnTo>
                <a:lnTo>
                  <a:pt x="315" y="122"/>
                </a:lnTo>
                <a:lnTo>
                  <a:pt x="312" y="123"/>
                </a:lnTo>
                <a:lnTo>
                  <a:pt x="308" y="121"/>
                </a:lnTo>
                <a:lnTo>
                  <a:pt x="306" y="115"/>
                </a:lnTo>
                <a:lnTo>
                  <a:pt x="304" y="115"/>
                </a:lnTo>
                <a:lnTo>
                  <a:pt x="301" y="111"/>
                </a:lnTo>
                <a:lnTo>
                  <a:pt x="297" y="108"/>
                </a:lnTo>
                <a:lnTo>
                  <a:pt x="294" y="100"/>
                </a:lnTo>
                <a:lnTo>
                  <a:pt x="280" y="99"/>
                </a:lnTo>
                <a:lnTo>
                  <a:pt x="281" y="103"/>
                </a:lnTo>
                <a:lnTo>
                  <a:pt x="281" y="106"/>
                </a:lnTo>
                <a:lnTo>
                  <a:pt x="276" y="107"/>
                </a:lnTo>
                <a:lnTo>
                  <a:pt x="269" y="106"/>
                </a:lnTo>
                <a:lnTo>
                  <a:pt x="267" y="104"/>
                </a:lnTo>
                <a:lnTo>
                  <a:pt x="262" y="106"/>
                </a:lnTo>
                <a:lnTo>
                  <a:pt x="257" y="106"/>
                </a:lnTo>
                <a:lnTo>
                  <a:pt x="251" y="106"/>
                </a:lnTo>
                <a:lnTo>
                  <a:pt x="248" y="103"/>
                </a:lnTo>
                <a:lnTo>
                  <a:pt x="242" y="103"/>
                </a:lnTo>
                <a:lnTo>
                  <a:pt x="240" y="104"/>
                </a:lnTo>
                <a:lnTo>
                  <a:pt x="241" y="107"/>
                </a:lnTo>
                <a:lnTo>
                  <a:pt x="239" y="108"/>
                </a:lnTo>
                <a:lnTo>
                  <a:pt x="238" y="106"/>
                </a:lnTo>
                <a:lnTo>
                  <a:pt x="236" y="106"/>
                </a:lnTo>
                <a:lnTo>
                  <a:pt x="234" y="103"/>
                </a:lnTo>
                <a:lnTo>
                  <a:pt x="235" y="101"/>
                </a:lnTo>
                <a:lnTo>
                  <a:pt x="236" y="97"/>
                </a:lnTo>
                <a:lnTo>
                  <a:pt x="234" y="97"/>
                </a:lnTo>
                <a:lnTo>
                  <a:pt x="231" y="97"/>
                </a:lnTo>
                <a:lnTo>
                  <a:pt x="231" y="94"/>
                </a:lnTo>
                <a:lnTo>
                  <a:pt x="229" y="93"/>
                </a:lnTo>
                <a:lnTo>
                  <a:pt x="229" y="90"/>
                </a:lnTo>
                <a:lnTo>
                  <a:pt x="227" y="89"/>
                </a:lnTo>
                <a:lnTo>
                  <a:pt x="224" y="83"/>
                </a:lnTo>
                <a:lnTo>
                  <a:pt x="224" y="80"/>
                </a:lnTo>
                <a:lnTo>
                  <a:pt x="220" y="79"/>
                </a:lnTo>
                <a:lnTo>
                  <a:pt x="220" y="77"/>
                </a:lnTo>
                <a:lnTo>
                  <a:pt x="219" y="74"/>
                </a:lnTo>
                <a:lnTo>
                  <a:pt x="216" y="74"/>
                </a:lnTo>
                <a:lnTo>
                  <a:pt x="217" y="71"/>
                </a:lnTo>
                <a:lnTo>
                  <a:pt x="218" y="66"/>
                </a:lnTo>
                <a:lnTo>
                  <a:pt x="217" y="61"/>
                </a:lnTo>
                <a:lnTo>
                  <a:pt x="222" y="59"/>
                </a:lnTo>
                <a:lnTo>
                  <a:pt x="221" y="57"/>
                </a:lnTo>
                <a:lnTo>
                  <a:pt x="218" y="56"/>
                </a:lnTo>
                <a:lnTo>
                  <a:pt x="222" y="54"/>
                </a:lnTo>
                <a:lnTo>
                  <a:pt x="226" y="52"/>
                </a:lnTo>
                <a:lnTo>
                  <a:pt x="229" y="50"/>
                </a:lnTo>
                <a:lnTo>
                  <a:pt x="229" y="45"/>
                </a:lnTo>
                <a:lnTo>
                  <a:pt x="230" y="41"/>
                </a:lnTo>
                <a:lnTo>
                  <a:pt x="226" y="41"/>
                </a:lnTo>
                <a:lnTo>
                  <a:pt x="226" y="38"/>
                </a:lnTo>
                <a:lnTo>
                  <a:pt x="226" y="35"/>
                </a:lnTo>
                <a:lnTo>
                  <a:pt x="227" y="32"/>
                </a:lnTo>
                <a:lnTo>
                  <a:pt x="226" y="31"/>
                </a:lnTo>
                <a:lnTo>
                  <a:pt x="224" y="27"/>
                </a:lnTo>
                <a:lnTo>
                  <a:pt x="223" y="20"/>
                </a:lnTo>
                <a:lnTo>
                  <a:pt x="223" y="18"/>
                </a:lnTo>
                <a:lnTo>
                  <a:pt x="215" y="14"/>
                </a:lnTo>
                <a:lnTo>
                  <a:pt x="214" y="11"/>
                </a:lnTo>
                <a:lnTo>
                  <a:pt x="211" y="6"/>
                </a:lnTo>
                <a:lnTo>
                  <a:pt x="207" y="5"/>
                </a:lnTo>
                <a:lnTo>
                  <a:pt x="203" y="6"/>
                </a:lnTo>
                <a:lnTo>
                  <a:pt x="193" y="16"/>
                </a:lnTo>
                <a:lnTo>
                  <a:pt x="190" y="13"/>
                </a:lnTo>
                <a:lnTo>
                  <a:pt x="188" y="15"/>
                </a:lnTo>
                <a:lnTo>
                  <a:pt x="184" y="17"/>
                </a:lnTo>
                <a:lnTo>
                  <a:pt x="182" y="11"/>
                </a:lnTo>
                <a:lnTo>
                  <a:pt x="178" y="5"/>
                </a:lnTo>
                <a:lnTo>
                  <a:pt x="174" y="1"/>
                </a:lnTo>
                <a:lnTo>
                  <a:pt x="172" y="0"/>
                </a:lnTo>
                <a:lnTo>
                  <a:pt x="172" y="1"/>
                </a:lnTo>
                <a:lnTo>
                  <a:pt x="172" y="3"/>
                </a:lnTo>
                <a:lnTo>
                  <a:pt x="171" y="7"/>
                </a:lnTo>
                <a:lnTo>
                  <a:pt x="169" y="10"/>
                </a:lnTo>
                <a:lnTo>
                  <a:pt x="167" y="19"/>
                </a:lnTo>
                <a:lnTo>
                  <a:pt x="165" y="22"/>
                </a:lnTo>
                <a:lnTo>
                  <a:pt x="164" y="24"/>
                </a:lnTo>
                <a:lnTo>
                  <a:pt x="163" y="23"/>
                </a:lnTo>
                <a:lnTo>
                  <a:pt x="164" y="20"/>
                </a:lnTo>
                <a:lnTo>
                  <a:pt x="162" y="24"/>
                </a:lnTo>
                <a:lnTo>
                  <a:pt x="163" y="25"/>
                </a:lnTo>
                <a:lnTo>
                  <a:pt x="163" y="26"/>
                </a:lnTo>
                <a:lnTo>
                  <a:pt x="163" y="29"/>
                </a:lnTo>
                <a:lnTo>
                  <a:pt x="160" y="32"/>
                </a:lnTo>
                <a:lnTo>
                  <a:pt x="149" y="43"/>
                </a:lnTo>
                <a:lnTo>
                  <a:pt x="139" y="50"/>
                </a:lnTo>
                <a:lnTo>
                  <a:pt x="138" y="49"/>
                </a:lnTo>
                <a:lnTo>
                  <a:pt x="136" y="51"/>
                </a:lnTo>
                <a:lnTo>
                  <a:pt x="131" y="53"/>
                </a:lnTo>
                <a:lnTo>
                  <a:pt x="126" y="58"/>
                </a:lnTo>
                <a:lnTo>
                  <a:pt x="121" y="60"/>
                </a:lnTo>
                <a:lnTo>
                  <a:pt x="117" y="58"/>
                </a:lnTo>
                <a:lnTo>
                  <a:pt x="119" y="61"/>
                </a:lnTo>
                <a:lnTo>
                  <a:pt x="117" y="62"/>
                </a:lnTo>
                <a:lnTo>
                  <a:pt x="116" y="63"/>
                </a:lnTo>
                <a:lnTo>
                  <a:pt x="112" y="69"/>
                </a:lnTo>
                <a:lnTo>
                  <a:pt x="108" y="72"/>
                </a:lnTo>
                <a:lnTo>
                  <a:pt x="106" y="74"/>
                </a:lnTo>
                <a:lnTo>
                  <a:pt x="105" y="77"/>
                </a:lnTo>
                <a:lnTo>
                  <a:pt x="102" y="85"/>
                </a:lnTo>
                <a:lnTo>
                  <a:pt x="100" y="92"/>
                </a:lnTo>
                <a:lnTo>
                  <a:pt x="97" y="94"/>
                </a:lnTo>
                <a:lnTo>
                  <a:pt x="91" y="94"/>
                </a:lnTo>
                <a:lnTo>
                  <a:pt x="89" y="95"/>
                </a:lnTo>
                <a:lnTo>
                  <a:pt x="87" y="96"/>
                </a:lnTo>
                <a:lnTo>
                  <a:pt x="86" y="96"/>
                </a:lnTo>
                <a:lnTo>
                  <a:pt x="85" y="97"/>
                </a:lnTo>
                <a:lnTo>
                  <a:pt x="83" y="96"/>
                </a:lnTo>
                <a:lnTo>
                  <a:pt x="82" y="98"/>
                </a:lnTo>
                <a:lnTo>
                  <a:pt x="76" y="99"/>
                </a:lnTo>
                <a:lnTo>
                  <a:pt x="75" y="100"/>
                </a:lnTo>
                <a:lnTo>
                  <a:pt x="74" y="100"/>
                </a:lnTo>
                <a:lnTo>
                  <a:pt x="71" y="101"/>
                </a:lnTo>
                <a:lnTo>
                  <a:pt x="70" y="101"/>
                </a:lnTo>
                <a:lnTo>
                  <a:pt x="67" y="99"/>
                </a:lnTo>
                <a:lnTo>
                  <a:pt x="64" y="111"/>
                </a:lnTo>
                <a:lnTo>
                  <a:pt x="75" y="120"/>
                </a:lnTo>
                <a:lnTo>
                  <a:pt x="74" y="123"/>
                </a:lnTo>
                <a:lnTo>
                  <a:pt x="73" y="126"/>
                </a:lnTo>
                <a:lnTo>
                  <a:pt x="71" y="129"/>
                </a:lnTo>
                <a:lnTo>
                  <a:pt x="76" y="130"/>
                </a:lnTo>
                <a:lnTo>
                  <a:pt x="79" y="131"/>
                </a:lnTo>
                <a:lnTo>
                  <a:pt x="82" y="132"/>
                </a:lnTo>
                <a:lnTo>
                  <a:pt x="84" y="133"/>
                </a:lnTo>
                <a:lnTo>
                  <a:pt x="84" y="136"/>
                </a:lnTo>
                <a:lnTo>
                  <a:pt x="88" y="137"/>
                </a:lnTo>
                <a:lnTo>
                  <a:pt x="88" y="139"/>
                </a:lnTo>
                <a:lnTo>
                  <a:pt x="89" y="140"/>
                </a:lnTo>
                <a:lnTo>
                  <a:pt x="91" y="142"/>
                </a:lnTo>
                <a:lnTo>
                  <a:pt x="90" y="143"/>
                </a:lnTo>
                <a:lnTo>
                  <a:pt x="88" y="144"/>
                </a:lnTo>
                <a:lnTo>
                  <a:pt x="87" y="147"/>
                </a:lnTo>
                <a:lnTo>
                  <a:pt x="89" y="147"/>
                </a:lnTo>
                <a:lnTo>
                  <a:pt x="90" y="148"/>
                </a:lnTo>
                <a:lnTo>
                  <a:pt x="86" y="149"/>
                </a:lnTo>
                <a:lnTo>
                  <a:pt x="86" y="150"/>
                </a:lnTo>
                <a:lnTo>
                  <a:pt x="87" y="151"/>
                </a:lnTo>
                <a:lnTo>
                  <a:pt x="85" y="152"/>
                </a:lnTo>
                <a:lnTo>
                  <a:pt x="85" y="156"/>
                </a:lnTo>
                <a:lnTo>
                  <a:pt x="83" y="158"/>
                </a:lnTo>
                <a:lnTo>
                  <a:pt x="82" y="158"/>
                </a:lnTo>
                <a:lnTo>
                  <a:pt x="80" y="161"/>
                </a:lnTo>
                <a:lnTo>
                  <a:pt x="83" y="165"/>
                </a:lnTo>
                <a:lnTo>
                  <a:pt x="90" y="164"/>
                </a:lnTo>
                <a:lnTo>
                  <a:pt x="91" y="162"/>
                </a:lnTo>
                <a:lnTo>
                  <a:pt x="94" y="162"/>
                </a:lnTo>
                <a:lnTo>
                  <a:pt x="96" y="160"/>
                </a:lnTo>
                <a:lnTo>
                  <a:pt x="95" y="159"/>
                </a:lnTo>
                <a:lnTo>
                  <a:pt x="95" y="158"/>
                </a:lnTo>
                <a:lnTo>
                  <a:pt x="97" y="158"/>
                </a:lnTo>
                <a:lnTo>
                  <a:pt x="97" y="155"/>
                </a:lnTo>
                <a:lnTo>
                  <a:pt x="96" y="155"/>
                </a:lnTo>
                <a:lnTo>
                  <a:pt x="96" y="153"/>
                </a:lnTo>
                <a:lnTo>
                  <a:pt x="98" y="152"/>
                </a:lnTo>
                <a:lnTo>
                  <a:pt x="99" y="152"/>
                </a:lnTo>
                <a:lnTo>
                  <a:pt x="100" y="153"/>
                </a:lnTo>
                <a:lnTo>
                  <a:pt x="101" y="160"/>
                </a:lnTo>
                <a:lnTo>
                  <a:pt x="102" y="159"/>
                </a:lnTo>
                <a:lnTo>
                  <a:pt x="102" y="167"/>
                </a:lnTo>
                <a:lnTo>
                  <a:pt x="101" y="172"/>
                </a:lnTo>
                <a:lnTo>
                  <a:pt x="102" y="175"/>
                </a:lnTo>
                <a:lnTo>
                  <a:pt x="106" y="177"/>
                </a:lnTo>
                <a:lnTo>
                  <a:pt x="106" y="184"/>
                </a:lnTo>
                <a:lnTo>
                  <a:pt x="108" y="187"/>
                </a:lnTo>
                <a:lnTo>
                  <a:pt x="109" y="189"/>
                </a:lnTo>
                <a:lnTo>
                  <a:pt x="112" y="191"/>
                </a:lnTo>
                <a:lnTo>
                  <a:pt x="113" y="192"/>
                </a:lnTo>
                <a:lnTo>
                  <a:pt x="114" y="196"/>
                </a:lnTo>
                <a:lnTo>
                  <a:pt x="117" y="199"/>
                </a:lnTo>
                <a:lnTo>
                  <a:pt x="115" y="203"/>
                </a:lnTo>
                <a:lnTo>
                  <a:pt x="116" y="206"/>
                </a:lnTo>
                <a:lnTo>
                  <a:pt x="112" y="209"/>
                </a:lnTo>
                <a:lnTo>
                  <a:pt x="107" y="207"/>
                </a:lnTo>
                <a:lnTo>
                  <a:pt x="98" y="202"/>
                </a:lnTo>
                <a:lnTo>
                  <a:pt x="90" y="198"/>
                </a:lnTo>
                <a:lnTo>
                  <a:pt x="85" y="196"/>
                </a:lnTo>
                <a:lnTo>
                  <a:pt x="77" y="195"/>
                </a:lnTo>
                <a:lnTo>
                  <a:pt x="73" y="197"/>
                </a:lnTo>
                <a:lnTo>
                  <a:pt x="70" y="199"/>
                </a:lnTo>
                <a:lnTo>
                  <a:pt x="65" y="201"/>
                </a:lnTo>
                <a:lnTo>
                  <a:pt x="59" y="201"/>
                </a:lnTo>
                <a:lnTo>
                  <a:pt x="58" y="203"/>
                </a:lnTo>
                <a:lnTo>
                  <a:pt x="55" y="206"/>
                </a:lnTo>
                <a:lnTo>
                  <a:pt x="53" y="208"/>
                </a:lnTo>
                <a:lnTo>
                  <a:pt x="52" y="211"/>
                </a:lnTo>
                <a:lnTo>
                  <a:pt x="51" y="214"/>
                </a:lnTo>
                <a:lnTo>
                  <a:pt x="51" y="216"/>
                </a:lnTo>
                <a:lnTo>
                  <a:pt x="51" y="219"/>
                </a:lnTo>
                <a:lnTo>
                  <a:pt x="52" y="224"/>
                </a:lnTo>
                <a:lnTo>
                  <a:pt x="53" y="229"/>
                </a:lnTo>
                <a:lnTo>
                  <a:pt x="53" y="235"/>
                </a:lnTo>
                <a:lnTo>
                  <a:pt x="53" y="238"/>
                </a:lnTo>
                <a:lnTo>
                  <a:pt x="53" y="242"/>
                </a:lnTo>
                <a:lnTo>
                  <a:pt x="52" y="244"/>
                </a:lnTo>
                <a:lnTo>
                  <a:pt x="51" y="247"/>
                </a:lnTo>
                <a:lnTo>
                  <a:pt x="50" y="250"/>
                </a:lnTo>
                <a:lnTo>
                  <a:pt x="48" y="252"/>
                </a:lnTo>
                <a:lnTo>
                  <a:pt x="45" y="254"/>
                </a:lnTo>
                <a:lnTo>
                  <a:pt x="43" y="256"/>
                </a:lnTo>
                <a:lnTo>
                  <a:pt x="34" y="260"/>
                </a:lnTo>
                <a:lnTo>
                  <a:pt x="33" y="260"/>
                </a:lnTo>
                <a:lnTo>
                  <a:pt x="31" y="260"/>
                </a:lnTo>
                <a:lnTo>
                  <a:pt x="30" y="259"/>
                </a:lnTo>
                <a:lnTo>
                  <a:pt x="29" y="258"/>
                </a:lnTo>
                <a:lnTo>
                  <a:pt x="26" y="257"/>
                </a:lnTo>
                <a:lnTo>
                  <a:pt x="25" y="257"/>
                </a:lnTo>
                <a:lnTo>
                  <a:pt x="23" y="257"/>
                </a:lnTo>
                <a:lnTo>
                  <a:pt x="19" y="257"/>
                </a:lnTo>
                <a:lnTo>
                  <a:pt x="16" y="259"/>
                </a:lnTo>
                <a:lnTo>
                  <a:pt x="12" y="260"/>
                </a:lnTo>
                <a:lnTo>
                  <a:pt x="5" y="264"/>
                </a:lnTo>
                <a:lnTo>
                  <a:pt x="0" y="268"/>
                </a:lnTo>
                <a:lnTo>
                  <a:pt x="5" y="271"/>
                </a:lnTo>
                <a:lnTo>
                  <a:pt x="9" y="273"/>
                </a:lnTo>
                <a:lnTo>
                  <a:pt x="8" y="277"/>
                </a:lnTo>
                <a:lnTo>
                  <a:pt x="9" y="279"/>
                </a:lnTo>
                <a:lnTo>
                  <a:pt x="5" y="283"/>
                </a:lnTo>
                <a:lnTo>
                  <a:pt x="6" y="285"/>
                </a:lnTo>
                <a:lnTo>
                  <a:pt x="15" y="283"/>
                </a:lnTo>
                <a:lnTo>
                  <a:pt x="26" y="283"/>
                </a:lnTo>
                <a:lnTo>
                  <a:pt x="33" y="286"/>
                </a:lnTo>
                <a:lnTo>
                  <a:pt x="38" y="284"/>
                </a:lnTo>
                <a:lnTo>
                  <a:pt x="44" y="285"/>
                </a:lnTo>
                <a:lnTo>
                  <a:pt x="50" y="283"/>
                </a:lnTo>
                <a:lnTo>
                  <a:pt x="58" y="278"/>
                </a:lnTo>
                <a:lnTo>
                  <a:pt x="61" y="269"/>
                </a:lnTo>
                <a:lnTo>
                  <a:pt x="66" y="258"/>
                </a:lnTo>
                <a:lnTo>
                  <a:pt x="70" y="254"/>
                </a:lnTo>
                <a:lnTo>
                  <a:pt x="75" y="259"/>
                </a:lnTo>
                <a:lnTo>
                  <a:pt x="80" y="260"/>
                </a:lnTo>
                <a:lnTo>
                  <a:pt x="84" y="258"/>
                </a:lnTo>
                <a:lnTo>
                  <a:pt x="88" y="252"/>
                </a:lnTo>
                <a:lnTo>
                  <a:pt x="93" y="254"/>
                </a:lnTo>
                <a:lnTo>
                  <a:pt x="97" y="257"/>
                </a:lnTo>
                <a:lnTo>
                  <a:pt x="100" y="257"/>
                </a:lnTo>
                <a:lnTo>
                  <a:pt x="103" y="253"/>
                </a:lnTo>
                <a:lnTo>
                  <a:pt x="107" y="253"/>
                </a:lnTo>
                <a:lnTo>
                  <a:pt x="112" y="252"/>
                </a:lnTo>
                <a:lnTo>
                  <a:pt x="117" y="256"/>
                </a:lnTo>
                <a:lnTo>
                  <a:pt x="121" y="256"/>
                </a:lnTo>
                <a:lnTo>
                  <a:pt x="124" y="260"/>
                </a:lnTo>
                <a:lnTo>
                  <a:pt x="127" y="264"/>
                </a:lnTo>
                <a:lnTo>
                  <a:pt x="132" y="266"/>
                </a:lnTo>
                <a:lnTo>
                  <a:pt x="134" y="268"/>
                </a:lnTo>
                <a:lnTo>
                  <a:pt x="136" y="271"/>
                </a:lnTo>
                <a:lnTo>
                  <a:pt x="142" y="272"/>
                </a:lnTo>
                <a:lnTo>
                  <a:pt x="145" y="275"/>
                </a:lnTo>
                <a:lnTo>
                  <a:pt x="146" y="278"/>
                </a:lnTo>
                <a:lnTo>
                  <a:pt x="150" y="279"/>
                </a:lnTo>
                <a:lnTo>
                  <a:pt x="156" y="279"/>
                </a:lnTo>
                <a:lnTo>
                  <a:pt x="159" y="278"/>
                </a:lnTo>
                <a:lnTo>
                  <a:pt x="165" y="277"/>
                </a:lnTo>
                <a:lnTo>
                  <a:pt x="172" y="278"/>
                </a:lnTo>
                <a:lnTo>
                  <a:pt x="173" y="276"/>
                </a:lnTo>
                <a:lnTo>
                  <a:pt x="173" y="275"/>
                </a:lnTo>
                <a:lnTo>
                  <a:pt x="172" y="273"/>
                </a:lnTo>
                <a:lnTo>
                  <a:pt x="172" y="271"/>
                </a:lnTo>
                <a:lnTo>
                  <a:pt x="175" y="271"/>
                </a:lnTo>
                <a:lnTo>
                  <a:pt x="177" y="270"/>
                </a:lnTo>
                <a:lnTo>
                  <a:pt x="179" y="271"/>
                </a:lnTo>
                <a:lnTo>
                  <a:pt x="182" y="276"/>
                </a:lnTo>
                <a:lnTo>
                  <a:pt x="183" y="277"/>
                </a:lnTo>
                <a:lnTo>
                  <a:pt x="183" y="280"/>
                </a:lnTo>
                <a:lnTo>
                  <a:pt x="186" y="280"/>
                </a:lnTo>
                <a:lnTo>
                  <a:pt x="187" y="282"/>
                </a:lnTo>
                <a:lnTo>
                  <a:pt x="187" y="283"/>
                </a:lnTo>
                <a:lnTo>
                  <a:pt x="190" y="283"/>
                </a:lnTo>
                <a:lnTo>
                  <a:pt x="191" y="283"/>
                </a:lnTo>
                <a:lnTo>
                  <a:pt x="191" y="282"/>
                </a:lnTo>
                <a:lnTo>
                  <a:pt x="194" y="282"/>
                </a:lnTo>
                <a:lnTo>
                  <a:pt x="194" y="281"/>
                </a:lnTo>
                <a:lnTo>
                  <a:pt x="194" y="280"/>
                </a:lnTo>
                <a:lnTo>
                  <a:pt x="195" y="280"/>
                </a:lnTo>
                <a:lnTo>
                  <a:pt x="198" y="277"/>
                </a:lnTo>
                <a:lnTo>
                  <a:pt x="199" y="277"/>
                </a:lnTo>
                <a:lnTo>
                  <a:pt x="202" y="275"/>
                </a:lnTo>
                <a:lnTo>
                  <a:pt x="202" y="273"/>
                </a:lnTo>
                <a:lnTo>
                  <a:pt x="200" y="272"/>
                </a:lnTo>
                <a:lnTo>
                  <a:pt x="200" y="271"/>
                </a:lnTo>
                <a:lnTo>
                  <a:pt x="202" y="268"/>
                </a:lnTo>
                <a:lnTo>
                  <a:pt x="198" y="268"/>
                </a:lnTo>
                <a:lnTo>
                  <a:pt x="198" y="264"/>
                </a:lnTo>
                <a:lnTo>
                  <a:pt x="199" y="264"/>
                </a:lnTo>
                <a:lnTo>
                  <a:pt x="194" y="259"/>
                </a:lnTo>
                <a:lnTo>
                  <a:pt x="193" y="258"/>
                </a:lnTo>
                <a:lnTo>
                  <a:pt x="192" y="257"/>
                </a:lnTo>
                <a:lnTo>
                  <a:pt x="194" y="257"/>
                </a:lnTo>
                <a:lnTo>
                  <a:pt x="192" y="254"/>
                </a:lnTo>
                <a:lnTo>
                  <a:pt x="195" y="249"/>
                </a:lnTo>
                <a:lnTo>
                  <a:pt x="197" y="250"/>
                </a:lnTo>
                <a:lnTo>
                  <a:pt x="201" y="251"/>
                </a:lnTo>
                <a:lnTo>
                  <a:pt x="202" y="252"/>
                </a:lnTo>
                <a:lnTo>
                  <a:pt x="206" y="250"/>
                </a:lnTo>
                <a:lnTo>
                  <a:pt x="207" y="249"/>
                </a:lnTo>
                <a:lnTo>
                  <a:pt x="210" y="246"/>
                </a:lnTo>
                <a:lnTo>
                  <a:pt x="211" y="247"/>
                </a:lnTo>
                <a:lnTo>
                  <a:pt x="212" y="246"/>
                </a:lnTo>
                <a:lnTo>
                  <a:pt x="216" y="243"/>
                </a:lnTo>
                <a:lnTo>
                  <a:pt x="216" y="242"/>
                </a:lnTo>
                <a:lnTo>
                  <a:pt x="217" y="241"/>
                </a:lnTo>
                <a:lnTo>
                  <a:pt x="218" y="238"/>
                </a:lnTo>
                <a:lnTo>
                  <a:pt x="225" y="244"/>
                </a:lnTo>
                <a:lnTo>
                  <a:pt x="228" y="245"/>
                </a:lnTo>
                <a:lnTo>
                  <a:pt x="235" y="245"/>
                </a:lnTo>
                <a:lnTo>
                  <a:pt x="241" y="247"/>
                </a:lnTo>
                <a:lnTo>
                  <a:pt x="241" y="246"/>
                </a:lnTo>
                <a:lnTo>
                  <a:pt x="240" y="242"/>
                </a:lnTo>
                <a:lnTo>
                  <a:pt x="241" y="240"/>
                </a:lnTo>
                <a:lnTo>
                  <a:pt x="236" y="237"/>
                </a:lnTo>
                <a:lnTo>
                  <a:pt x="236" y="234"/>
                </a:lnTo>
                <a:lnTo>
                  <a:pt x="234" y="231"/>
                </a:lnTo>
                <a:lnTo>
                  <a:pt x="229" y="229"/>
                </a:lnTo>
                <a:lnTo>
                  <a:pt x="227" y="229"/>
                </a:lnTo>
                <a:lnTo>
                  <a:pt x="228" y="228"/>
                </a:lnTo>
                <a:lnTo>
                  <a:pt x="229" y="226"/>
                </a:lnTo>
                <a:lnTo>
                  <a:pt x="229" y="227"/>
                </a:lnTo>
                <a:lnTo>
                  <a:pt x="230" y="225"/>
                </a:lnTo>
                <a:lnTo>
                  <a:pt x="232" y="227"/>
                </a:lnTo>
                <a:lnTo>
                  <a:pt x="238" y="224"/>
                </a:lnTo>
                <a:lnTo>
                  <a:pt x="239" y="224"/>
                </a:lnTo>
                <a:lnTo>
                  <a:pt x="241" y="226"/>
                </a:lnTo>
                <a:lnTo>
                  <a:pt x="242" y="225"/>
                </a:lnTo>
                <a:lnTo>
                  <a:pt x="243" y="227"/>
                </a:lnTo>
                <a:lnTo>
                  <a:pt x="246" y="229"/>
                </a:lnTo>
                <a:lnTo>
                  <a:pt x="246" y="230"/>
                </a:lnTo>
                <a:lnTo>
                  <a:pt x="245" y="231"/>
                </a:lnTo>
                <a:lnTo>
                  <a:pt x="245" y="232"/>
                </a:lnTo>
                <a:lnTo>
                  <a:pt x="248" y="235"/>
                </a:lnTo>
                <a:lnTo>
                  <a:pt x="252" y="237"/>
                </a:lnTo>
                <a:lnTo>
                  <a:pt x="255" y="237"/>
                </a:lnTo>
                <a:lnTo>
                  <a:pt x="256" y="236"/>
                </a:lnTo>
                <a:lnTo>
                  <a:pt x="259" y="236"/>
                </a:lnTo>
                <a:lnTo>
                  <a:pt x="262" y="238"/>
                </a:lnTo>
                <a:lnTo>
                  <a:pt x="263" y="237"/>
                </a:lnTo>
                <a:lnTo>
                  <a:pt x="265" y="234"/>
                </a:lnTo>
                <a:lnTo>
                  <a:pt x="267" y="235"/>
                </a:lnTo>
                <a:lnTo>
                  <a:pt x="271" y="238"/>
                </a:lnTo>
                <a:lnTo>
                  <a:pt x="273" y="244"/>
                </a:lnTo>
                <a:lnTo>
                  <a:pt x="274" y="243"/>
                </a:lnTo>
                <a:lnTo>
                  <a:pt x="275" y="242"/>
                </a:lnTo>
                <a:lnTo>
                  <a:pt x="281" y="243"/>
                </a:lnTo>
                <a:lnTo>
                  <a:pt x="284" y="244"/>
                </a:lnTo>
                <a:lnTo>
                  <a:pt x="285" y="246"/>
                </a:lnTo>
                <a:lnTo>
                  <a:pt x="285" y="249"/>
                </a:lnTo>
                <a:lnTo>
                  <a:pt x="287" y="249"/>
                </a:lnTo>
                <a:lnTo>
                  <a:pt x="289" y="249"/>
                </a:lnTo>
                <a:lnTo>
                  <a:pt x="291" y="249"/>
                </a:lnTo>
                <a:lnTo>
                  <a:pt x="292" y="250"/>
                </a:lnTo>
                <a:lnTo>
                  <a:pt x="294" y="251"/>
                </a:lnTo>
                <a:lnTo>
                  <a:pt x="295" y="251"/>
                </a:lnTo>
                <a:lnTo>
                  <a:pt x="294" y="248"/>
                </a:lnTo>
                <a:lnTo>
                  <a:pt x="295" y="248"/>
                </a:lnTo>
                <a:lnTo>
                  <a:pt x="294" y="245"/>
                </a:lnTo>
                <a:lnTo>
                  <a:pt x="296" y="242"/>
                </a:lnTo>
                <a:lnTo>
                  <a:pt x="291" y="238"/>
                </a:lnTo>
                <a:lnTo>
                  <a:pt x="291" y="234"/>
                </a:lnTo>
                <a:lnTo>
                  <a:pt x="294" y="236"/>
                </a:lnTo>
                <a:lnTo>
                  <a:pt x="296" y="236"/>
                </a:lnTo>
                <a:lnTo>
                  <a:pt x="300" y="238"/>
                </a:lnTo>
                <a:lnTo>
                  <a:pt x="301" y="240"/>
                </a:lnTo>
                <a:lnTo>
                  <a:pt x="305" y="238"/>
                </a:lnTo>
                <a:lnTo>
                  <a:pt x="308" y="242"/>
                </a:lnTo>
                <a:lnTo>
                  <a:pt x="310" y="242"/>
                </a:lnTo>
                <a:lnTo>
                  <a:pt x="311" y="241"/>
                </a:lnTo>
                <a:lnTo>
                  <a:pt x="312" y="241"/>
                </a:lnTo>
                <a:lnTo>
                  <a:pt x="316" y="239"/>
                </a:lnTo>
                <a:lnTo>
                  <a:pt x="319" y="234"/>
                </a:lnTo>
                <a:lnTo>
                  <a:pt x="322" y="234"/>
                </a:lnTo>
                <a:lnTo>
                  <a:pt x="326" y="230"/>
                </a:lnTo>
                <a:lnTo>
                  <a:pt x="327" y="230"/>
                </a:lnTo>
                <a:lnTo>
                  <a:pt x="328" y="230"/>
                </a:lnTo>
                <a:lnTo>
                  <a:pt x="329" y="231"/>
                </a:lnTo>
                <a:lnTo>
                  <a:pt x="330" y="231"/>
                </a:lnTo>
                <a:lnTo>
                  <a:pt x="330" y="230"/>
                </a:lnTo>
                <a:lnTo>
                  <a:pt x="333" y="228"/>
                </a:lnTo>
                <a:lnTo>
                  <a:pt x="335" y="227"/>
                </a:lnTo>
                <a:lnTo>
                  <a:pt x="344" y="224"/>
                </a:lnTo>
                <a:lnTo>
                  <a:pt x="346" y="224"/>
                </a:lnTo>
                <a:lnTo>
                  <a:pt x="347" y="223"/>
                </a:lnTo>
                <a:lnTo>
                  <a:pt x="354" y="219"/>
                </a:lnTo>
                <a:lnTo>
                  <a:pt x="357" y="218"/>
                </a:lnTo>
                <a:lnTo>
                  <a:pt x="357" y="219"/>
                </a:lnTo>
                <a:lnTo>
                  <a:pt x="360" y="219"/>
                </a:lnTo>
                <a:lnTo>
                  <a:pt x="360" y="221"/>
                </a:lnTo>
                <a:lnTo>
                  <a:pt x="362" y="221"/>
                </a:lnTo>
                <a:lnTo>
                  <a:pt x="362" y="223"/>
                </a:lnTo>
                <a:lnTo>
                  <a:pt x="366" y="225"/>
                </a:lnTo>
                <a:lnTo>
                  <a:pt x="366" y="226"/>
                </a:lnTo>
                <a:lnTo>
                  <a:pt x="370" y="223"/>
                </a:lnTo>
                <a:lnTo>
                  <a:pt x="373" y="221"/>
                </a:lnTo>
                <a:lnTo>
                  <a:pt x="373" y="219"/>
                </a:lnTo>
                <a:lnTo>
                  <a:pt x="374" y="219"/>
                </a:lnTo>
                <a:lnTo>
                  <a:pt x="374" y="218"/>
                </a:lnTo>
                <a:lnTo>
                  <a:pt x="377" y="218"/>
                </a:lnTo>
                <a:lnTo>
                  <a:pt x="380" y="213"/>
                </a:lnTo>
                <a:lnTo>
                  <a:pt x="380" y="212"/>
                </a:lnTo>
                <a:lnTo>
                  <a:pt x="382" y="210"/>
                </a:lnTo>
                <a:lnTo>
                  <a:pt x="382" y="206"/>
                </a:lnTo>
                <a:lnTo>
                  <a:pt x="383" y="203"/>
                </a:lnTo>
                <a:lnTo>
                  <a:pt x="386" y="201"/>
                </a:lnTo>
                <a:lnTo>
                  <a:pt x="389" y="201"/>
                </a:lnTo>
                <a:lnTo>
                  <a:pt x="390" y="200"/>
                </a:lnTo>
                <a:lnTo>
                  <a:pt x="390" y="197"/>
                </a:lnTo>
                <a:lnTo>
                  <a:pt x="389" y="196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1" name="Freeform 22"/>
          <p:cNvSpPr>
            <a:spLocks/>
          </p:cNvSpPr>
          <p:nvPr/>
        </p:nvSpPr>
        <p:spPr bwMode="auto">
          <a:xfrm>
            <a:off x="5054600" y="2093913"/>
            <a:ext cx="1255713" cy="1062037"/>
          </a:xfrm>
          <a:custGeom>
            <a:avLst/>
            <a:gdLst>
              <a:gd name="T0" fmla="*/ 2147483646 w 212"/>
              <a:gd name="T1" fmla="*/ 2147483646 h 210"/>
              <a:gd name="T2" fmla="*/ 2147483646 w 212"/>
              <a:gd name="T3" fmla="*/ 2147483646 h 210"/>
              <a:gd name="T4" fmla="*/ 2147483646 w 212"/>
              <a:gd name="T5" fmla="*/ 2147483646 h 210"/>
              <a:gd name="T6" fmla="*/ 2147483646 w 212"/>
              <a:gd name="T7" fmla="*/ 2147483646 h 210"/>
              <a:gd name="T8" fmla="*/ 2147483646 w 212"/>
              <a:gd name="T9" fmla="*/ 2147483646 h 210"/>
              <a:gd name="T10" fmla="*/ 2147483646 w 212"/>
              <a:gd name="T11" fmla="*/ 2147483646 h 210"/>
              <a:gd name="T12" fmla="*/ 2147483646 w 212"/>
              <a:gd name="T13" fmla="*/ 2147483646 h 210"/>
              <a:gd name="T14" fmla="*/ 2147483646 w 212"/>
              <a:gd name="T15" fmla="*/ 2147483646 h 210"/>
              <a:gd name="T16" fmla="*/ 2147483646 w 212"/>
              <a:gd name="T17" fmla="*/ 2147483646 h 210"/>
              <a:gd name="T18" fmla="*/ 2147483646 w 212"/>
              <a:gd name="T19" fmla="*/ 2147483646 h 210"/>
              <a:gd name="T20" fmla="*/ 2147483646 w 212"/>
              <a:gd name="T21" fmla="*/ 2147483646 h 210"/>
              <a:gd name="T22" fmla="*/ 2147483646 w 212"/>
              <a:gd name="T23" fmla="*/ 2147483646 h 210"/>
              <a:gd name="T24" fmla="*/ 2147483646 w 212"/>
              <a:gd name="T25" fmla="*/ 2147483646 h 210"/>
              <a:gd name="T26" fmla="*/ 2147483646 w 212"/>
              <a:gd name="T27" fmla="*/ 2147483646 h 210"/>
              <a:gd name="T28" fmla="*/ 2147483646 w 212"/>
              <a:gd name="T29" fmla="*/ 2147483646 h 210"/>
              <a:gd name="T30" fmla="*/ 2147483646 w 212"/>
              <a:gd name="T31" fmla="*/ 2147483646 h 210"/>
              <a:gd name="T32" fmla="*/ 2147483646 w 212"/>
              <a:gd name="T33" fmla="*/ 2147483646 h 210"/>
              <a:gd name="T34" fmla="*/ 2147483646 w 212"/>
              <a:gd name="T35" fmla="*/ 2147483646 h 210"/>
              <a:gd name="T36" fmla="*/ 2147483646 w 212"/>
              <a:gd name="T37" fmla="*/ 2147483646 h 210"/>
              <a:gd name="T38" fmla="*/ 2147483646 w 212"/>
              <a:gd name="T39" fmla="*/ 2147483646 h 210"/>
              <a:gd name="T40" fmla="*/ 2147483646 w 212"/>
              <a:gd name="T41" fmla="*/ 2147483646 h 210"/>
              <a:gd name="T42" fmla="*/ 2147483646 w 212"/>
              <a:gd name="T43" fmla="*/ 2147483646 h 210"/>
              <a:gd name="T44" fmla="*/ 2147483646 w 212"/>
              <a:gd name="T45" fmla="*/ 2147483646 h 210"/>
              <a:gd name="T46" fmla="*/ 2147483646 w 212"/>
              <a:gd name="T47" fmla="*/ 2147483646 h 210"/>
              <a:gd name="T48" fmla="*/ 2147483646 w 212"/>
              <a:gd name="T49" fmla="*/ 2147483646 h 210"/>
              <a:gd name="T50" fmla="*/ 2147483646 w 212"/>
              <a:gd name="T51" fmla="*/ 2147483646 h 210"/>
              <a:gd name="T52" fmla="*/ 2147483646 w 212"/>
              <a:gd name="T53" fmla="*/ 2147483646 h 210"/>
              <a:gd name="T54" fmla="*/ 2147483646 w 212"/>
              <a:gd name="T55" fmla="*/ 2147483646 h 210"/>
              <a:gd name="T56" fmla="*/ 2147483646 w 212"/>
              <a:gd name="T57" fmla="*/ 2147483646 h 210"/>
              <a:gd name="T58" fmla="*/ 2147483646 w 212"/>
              <a:gd name="T59" fmla="*/ 2147483646 h 210"/>
              <a:gd name="T60" fmla="*/ 2147483646 w 212"/>
              <a:gd name="T61" fmla="*/ 2147483646 h 210"/>
              <a:gd name="T62" fmla="*/ 2147483646 w 212"/>
              <a:gd name="T63" fmla="*/ 2147483646 h 210"/>
              <a:gd name="T64" fmla="*/ 2147483646 w 212"/>
              <a:gd name="T65" fmla="*/ 2147483646 h 210"/>
              <a:gd name="T66" fmla="*/ 2147483646 w 212"/>
              <a:gd name="T67" fmla="*/ 2147483646 h 210"/>
              <a:gd name="T68" fmla="*/ 2147483646 w 212"/>
              <a:gd name="T69" fmla="*/ 2147483646 h 210"/>
              <a:gd name="T70" fmla="*/ 2147483646 w 212"/>
              <a:gd name="T71" fmla="*/ 2147483646 h 210"/>
              <a:gd name="T72" fmla="*/ 2147483646 w 212"/>
              <a:gd name="T73" fmla="*/ 2147483646 h 210"/>
              <a:gd name="T74" fmla="*/ 2147483646 w 212"/>
              <a:gd name="T75" fmla="*/ 2147483646 h 210"/>
              <a:gd name="T76" fmla="*/ 2147483646 w 212"/>
              <a:gd name="T77" fmla="*/ 2147483646 h 210"/>
              <a:gd name="T78" fmla="*/ 2147483646 w 212"/>
              <a:gd name="T79" fmla="*/ 2147483646 h 210"/>
              <a:gd name="T80" fmla="*/ 2147483646 w 212"/>
              <a:gd name="T81" fmla="*/ 2147483646 h 210"/>
              <a:gd name="T82" fmla="*/ 2147483646 w 212"/>
              <a:gd name="T83" fmla="*/ 2147483646 h 210"/>
              <a:gd name="T84" fmla="*/ 2147483646 w 212"/>
              <a:gd name="T85" fmla="*/ 2147483646 h 210"/>
              <a:gd name="T86" fmla="*/ 2147483646 w 212"/>
              <a:gd name="T87" fmla="*/ 2147483646 h 210"/>
              <a:gd name="T88" fmla="*/ 2147483646 w 212"/>
              <a:gd name="T89" fmla="*/ 2147483646 h 210"/>
              <a:gd name="T90" fmla="*/ 2147483646 w 212"/>
              <a:gd name="T91" fmla="*/ 2147483646 h 210"/>
              <a:gd name="T92" fmla="*/ 2147483646 w 212"/>
              <a:gd name="T93" fmla="*/ 2147483646 h 210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212" h="210">
                <a:moveTo>
                  <a:pt x="52" y="51"/>
                </a:moveTo>
                <a:lnTo>
                  <a:pt x="52" y="64"/>
                </a:lnTo>
                <a:lnTo>
                  <a:pt x="66" y="83"/>
                </a:lnTo>
                <a:lnTo>
                  <a:pt x="59" y="98"/>
                </a:lnTo>
                <a:lnTo>
                  <a:pt x="46" y="107"/>
                </a:lnTo>
                <a:lnTo>
                  <a:pt x="40" y="101"/>
                </a:lnTo>
                <a:lnTo>
                  <a:pt x="30" y="100"/>
                </a:lnTo>
                <a:lnTo>
                  <a:pt x="23" y="106"/>
                </a:lnTo>
                <a:lnTo>
                  <a:pt x="18" y="114"/>
                </a:lnTo>
                <a:lnTo>
                  <a:pt x="9" y="119"/>
                </a:lnTo>
                <a:lnTo>
                  <a:pt x="0" y="126"/>
                </a:lnTo>
                <a:lnTo>
                  <a:pt x="2" y="130"/>
                </a:lnTo>
                <a:lnTo>
                  <a:pt x="4" y="133"/>
                </a:lnTo>
                <a:lnTo>
                  <a:pt x="7" y="136"/>
                </a:lnTo>
                <a:lnTo>
                  <a:pt x="11" y="140"/>
                </a:lnTo>
                <a:lnTo>
                  <a:pt x="14" y="144"/>
                </a:lnTo>
                <a:lnTo>
                  <a:pt x="18" y="148"/>
                </a:lnTo>
                <a:lnTo>
                  <a:pt x="15" y="152"/>
                </a:lnTo>
                <a:lnTo>
                  <a:pt x="11" y="156"/>
                </a:lnTo>
                <a:lnTo>
                  <a:pt x="7" y="160"/>
                </a:lnTo>
                <a:lnTo>
                  <a:pt x="2" y="162"/>
                </a:lnTo>
                <a:lnTo>
                  <a:pt x="1" y="164"/>
                </a:lnTo>
                <a:lnTo>
                  <a:pt x="1" y="167"/>
                </a:lnTo>
                <a:lnTo>
                  <a:pt x="4" y="172"/>
                </a:lnTo>
                <a:lnTo>
                  <a:pt x="7" y="178"/>
                </a:lnTo>
                <a:lnTo>
                  <a:pt x="8" y="184"/>
                </a:lnTo>
                <a:lnTo>
                  <a:pt x="11" y="187"/>
                </a:lnTo>
                <a:lnTo>
                  <a:pt x="15" y="188"/>
                </a:lnTo>
                <a:lnTo>
                  <a:pt x="18" y="190"/>
                </a:lnTo>
                <a:lnTo>
                  <a:pt x="19" y="187"/>
                </a:lnTo>
                <a:lnTo>
                  <a:pt x="26" y="188"/>
                </a:lnTo>
                <a:lnTo>
                  <a:pt x="28" y="190"/>
                </a:lnTo>
                <a:lnTo>
                  <a:pt x="31" y="192"/>
                </a:lnTo>
                <a:lnTo>
                  <a:pt x="33" y="192"/>
                </a:lnTo>
                <a:lnTo>
                  <a:pt x="35" y="192"/>
                </a:lnTo>
                <a:lnTo>
                  <a:pt x="37" y="193"/>
                </a:lnTo>
                <a:lnTo>
                  <a:pt x="40" y="192"/>
                </a:lnTo>
                <a:lnTo>
                  <a:pt x="43" y="191"/>
                </a:lnTo>
                <a:lnTo>
                  <a:pt x="44" y="192"/>
                </a:lnTo>
                <a:lnTo>
                  <a:pt x="44" y="195"/>
                </a:lnTo>
                <a:lnTo>
                  <a:pt x="49" y="197"/>
                </a:lnTo>
                <a:lnTo>
                  <a:pt x="52" y="200"/>
                </a:lnTo>
                <a:lnTo>
                  <a:pt x="55" y="204"/>
                </a:lnTo>
                <a:lnTo>
                  <a:pt x="55" y="206"/>
                </a:lnTo>
                <a:lnTo>
                  <a:pt x="57" y="210"/>
                </a:lnTo>
                <a:lnTo>
                  <a:pt x="60" y="209"/>
                </a:lnTo>
                <a:lnTo>
                  <a:pt x="63" y="208"/>
                </a:lnTo>
                <a:lnTo>
                  <a:pt x="68" y="207"/>
                </a:lnTo>
                <a:lnTo>
                  <a:pt x="70" y="209"/>
                </a:lnTo>
                <a:lnTo>
                  <a:pt x="74" y="210"/>
                </a:lnTo>
                <a:lnTo>
                  <a:pt x="75" y="207"/>
                </a:lnTo>
                <a:lnTo>
                  <a:pt x="77" y="207"/>
                </a:lnTo>
                <a:lnTo>
                  <a:pt x="79" y="208"/>
                </a:lnTo>
                <a:lnTo>
                  <a:pt x="83" y="208"/>
                </a:lnTo>
                <a:lnTo>
                  <a:pt x="86" y="210"/>
                </a:lnTo>
                <a:lnTo>
                  <a:pt x="86" y="204"/>
                </a:lnTo>
                <a:lnTo>
                  <a:pt x="86" y="199"/>
                </a:lnTo>
                <a:lnTo>
                  <a:pt x="93" y="192"/>
                </a:lnTo>
                <a:lnTo>
                  <a:pt x="108" y="188"/>
                </a:lnTo>
                <a:lnTo>
                  <a:pt x="128" y="197"/>
                </a:lnTo>
                <a:lnTo>
                  <a:pt x="128" y="205"/>
                </a:lnTo>
                <a:lnTo>
                  <a:pt x="132" y="205"/>
                </a:lnTo>
                <a:lnTo>
                  <a:pt x="131" y="204"/>
                </a:lnTo>
                <a:lnTo>
                  <a:pt x="134" y="202"/>
                </a:lnTo>
                <a:lnTo>
                  <a:pt x="138" y="198"/>
                </a:lnTo>
                <a:lnTo>
                  <a:pt x="141" y="197"/>
                </a:lnTo>
                <a:lnTo>
                  <a:pt x="142" y="196"/>
                </a:lnTo>
                <a:lnTo>
                  <a:pt x="144" y="197"/>
                </a:lnTo>
                <a:lnTo>
                  <a:pt x="144" y="196"/>
                </a:lnTo>
                <a:lnTo>
                  <a:pt x="146" y="195"/>
                </a:lnTo>
                <a:lnTo>
                  <a:pt x="148" y="195"/>
                </a:lnTo>
                <a:lnTo>
                  <a:pt x="149" y="195"/>
                </a:lnTo>
                <a:lnTo>
                  <a:pt x="152" y="195"/>
                </a:lnTo>
                <a:lnTo>
                  <a:pt x="152" y="196"/>
                </a:lnTo>
                <a:lnTo>
                  <a:pt x="155" y="197"/>
                </a:lnTo>
                <a:lnTo>
                  <a:pt x="156" y="197"/>
                </a:lnTo>
                <a:lnTo>
                  <a:pt x="158" y="195"/>
                </a:lnTo>
                <a:lnTo>
                  <a:pt x="161" y="196"/>
                </a:lnTo>
                <a:lnTo>
                  <a:pt x="165" y="195"/>
                </a:lnTo>
                <a:lnTo>
                  <a:pt x="166" y="195"/>
                </a:lnTo>
                <a:lnTo>
                  <a:pt x="167" y="195"/>
                </a:lnTo>
                <a:lnTo>
                  <a:pt x="168" y="195"/>
                </a:lnTo>
                <a:lnTo>
                  <a:pt x="173" y="195"/>
                </a:lnTo>
                <a:lnTo>
                  <a:pt x="176" y="196"/>
                </a:lnTo>
                <a:lnTo>
                  <a:pt x="176" y="198"/>
                </a:lnTo>
                <a:lnTo>
                  <a:pt x="178" y="199"/>
                </a:lnTo>
                <a:lnTo>
                  <a:pt x="180" y="199"/>
                </a:lnTo>
                <a:lnTo>
                  <a:pt x="182" y="199"/>
                </a:lnTo>
                <a:lnTo>
                  <a:pt x="185" y="199"/>
                </a:lnTo>
                <a:lnTo>
                  <a:pt x="186" y="198"/>
                </a:lnTo>
                <a:lnTo>
                  <a:pt x="189" y="198"/>
                </a:lnTo>
                <a:lnTo>
                  <a:pt x="189" y="196"/>
                </a:lnTo>
                <a:lnTo>
                  <a:pt x="193" y="198"/>
                </a:lnTo>
                <a:lnTo>
                  <a:pt x="196" y="198"/>
                </a:lnTo>
                <a:lnTo>
                  <a:pt x="196" y="199"/>
                </a:lnTo>
                <a:lnTo>
                  <a:pt x="204" y="201"/>
                </a:lnTo>
                <a:lnTo>
                  <a:pt x="207" y="197"/>
                </a:lnTo>
                <a:lnTo>
                  <a:pt x="208" y="185"/>
                </a:lnTo>
                <a:lnTo>
                  <a:pt x="209" y="160"/>
                </a:lnTo>
                <a:lnTo>
                  <a:pt x="210" y="136"/>
                </a:lnTo>
                <a:lnTo>
                  <a:pt x="212" y="131"/>
                </a:lnTo>
                <a:lnTo>
                  <a:pt x="212" y="130"/>
                </a:lnTo>
                <a:lnTo>
                  <a:pt x="210" y="130"/>
                </a:lnTo>
                <a:lnTo>
                  <a:pt x="210" y="126"/>
                </a:lnTo>
                <a:lnTo>
                  <a:pt x="209" y="122"/>
                </a:lnTo>
                <a:lnTo>
                  <a:pt x="207" y="117"/>
                </a:lnTo>
                <a:lnTo>
                  <a:pt x="195" y="117"/>
                </a:lnTo>
                <a:lnTo>
                  <a:pt x="201" y="102"/>
                </a:lnTo>
                <a:lnTo>
                  <a:pt x="195" y="100"/>
                </a:lnTo>
                <a:lnTo>
                  <a:pt x="191" y="95"/>
                </a:lnTo>
                <a:lnTo>
                  <a:pt x="182" y="82"/>
                </a:lnTo>
                <a:lnTo>
                  <a:pt x="181" y="78"/>
                </a:lnTo>
                <a:lnTo>
                  <a:pt x="169" y="66"/>
                </a:lnTo>
                <a:lnTo>
                  <a:pt x="157" y="54"/>
                </a:lnTo>
                <a:lnTo>
                  <a:pt x="156" y="53"/>
                </a:lnTo>
                <a:lnTo>
                  <a:pt x="144" y="42"/>
                </a:lnTo>
                <a:lnTo>
                  <a:pt x="132" y="30"/>
                </a:lnTo>
                <a:lnTo>
                  <a:pt x="126" y="30"/>
                </a:lnTo>
                <a:lnTo>
                  <a:pt x="119" y="31"/>
                </a:lnTo>
                <a:lnTo>
                  <a:pt x="111" y="35"/>
                </a:lnTo>
                <a:lnTo>
                  <a:pt x="108" y="30"/>
                </a:lnTo>
                <a:lnTo>
                  <a:pt x="106" y="27"/>
                </a:lnTo>
                <a:lnTo>
                  <a:pt x="104" y="22"/>
                </a:lnTo>
                <a:lnTo>
                  <a:pt x="99" y="21"/>
                </a:lnTo>
                <a:lnTo>
                  <a:pt x="98" y="18"/>
                </a:lnTo>
                <a:lnTo>
                  <a:pt x="94" y="15"/>
                </a:lnTo>
                <a:lnTo>
                  <a:pt x="93" y="11"/>
                </a:lnTo>
                <a:lnTo>
                  <a:pt x="88" y="3"/>
                </a:lnTo>
                <a:lnTo>
                  <a:pt x="83" y="2"/>
                </a:lnTo>
                <a:lnTo>
                  <a:pt x="78" y="1"/>
                </a:lnTo>
                <a:lnTo>
                  <a:pt x="74" y="0"/>
                </a:lnTo>
                <a:lnTo>
                  <a:pt x="70" y="3"/>
                </a:lnTo>
                <a:lnTo>
                  <a:pt x="68" y="6"/>
                </a:lnTo>
                <a:lnTo>
                  <a:pt x="63" y="9"/>
                </a:lnTo>
                <a:lnTo>
                  <a:pt x="59" y="14"/>
                </a:lnTo>
                <a:lnTo>
                  <a:pt x="55" y="19"/>
                </a:lnTo>
                <a:lnTo>
                  <a:pt x="52" y="31"/>
                </a:lnTo>
                <a:lnTo>
                  <a:pt x="51" y="36"/>
                </a:lnTo>
                <a:lnTo>
                  <a:pt x="47" y="43"/>
                </a:lnTo>
                <a:lnTo>
                  <a:pt x="41" y="41"/>
                </a:lnTo>
                <a:lnTo>
                  <a:pt x="39" y="46"/>
                </a:lnTo>
                <a:lnTo>
                  <a:pt x="52" y="51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2" name="Freeform 23"/>
          <p:cNvSpPr>
            <a:spLocks/>
          </p:cNvSpPr>
          <p:nvPr/>
        </p:nvSpPr>
        <p:spPr bwMode="auto">
          <a:xfrm>
            <a:off x="5097463" y="1592263"/>
            <a:ext cx="1379537" cy="1163637"/>
          </a:xfrm>
          <a:custGeom>
            <a:avLst/>
            <a:gdLst>
              <a:gd name="T0" fmla="*/ 2147483646 w 233"/>
              <a:gd name="T1" fmla="*/ 2147483646 h 231"/>
              <a:gd name="T2" fmla="*/ 2147483646 w 233"/>
              <a:gd name="T3" fmla="*/ 2147483646 h 231"/>
              <a:gd name="T4" fmla="*/ 2147483646 w 233"/>
              <a:gd name="T5" fmla="*/ 2147483646 h 231"/>
              <a:gd name="T6" fmla="*/ 2147483646 w 233"/>
              <a:gd name="T7" fmla="*/ 2147483646 h 231"/>
              <a:gd name="T8" fmla="*/ 2147483646 w 233"/>
              <a:gd name="T9" fmla="*/ 2147483646 h 231"/>
              <a:gd name="T10" fmla="*/ 2147483646 w 233"/>
              <a:gd name="T11" fmla="*/ 2147483646 h 231"/>
              <a:gd name="T12" fmla="*/ 2147483646 w 233"/>
              <a:gd name="T13" fmla="*/ 2147483646 h 231"/>
              <a:gd name="T14" fmla="*/ 2147483646 w 233"/>
              <a:gd name="T15" fmla="*/ 2147483646 h 231"/>
              <a:gd name="T16" fmla="*/ 2147483646 w 233"/>
              <a:gd name="T17" fmla="*/ 2147483646 h 231"/>
              <a:gd name="T18" fmla="*/ 2147483646 w 233"/>
              <a:gd name="T19" fmla="*/ 2147483646 h 231"/>
              <a:gd name="T20" fmla="*/ 2147483646 w 233"/>
              <a:gd name="T21" fmla="*/ 2147483646 h 231"/>
              <a:gd name="T22" fmla="*/ 2147483646 w 233"/>
              <a:gd name="T23" fmla="*/ 2147483646 h 231"/>
              <a:gd name="T24" fmla="*/ 2147483646 w 233"/>
              <a:gd name="T25" fmla="*/ 2147483646 h 231"/>
              <a:gd name="T26" fmla="*/ 2147483646 w 233"/>
              <a:gd name="T27" fmla="*/ 2147483646 h 231"/>
              <a:gd name="T28" fmla="*/ 2147483646 w 233"/>
              <a:gd name="T29" fmla="*/ 2147483646 h 231"/>
              <a:gd name="T30" fmla="*/ 2147483646 w 233"/>
              <a:gd name="T31" fmla="*/ 2147483646 h 231"/>
              <a:gd name="T32" fmla="*/ 2147483646 w 233"/>
              <a:gd name="T33" fmla="*/ 2147483646 h 231"/>
              <a:gd name="T34" fmla="*/ 2147483646 w 233"/>
              <a:gd name="T35" fmla="*/ 2147483646 h 231"/>
              <a:gd name="T36" fmla="*/ 2147483646 w 233"/>
              <a:gd name="T37" fmla="*/ 2147483646 h 231"/>
              <a:gd name="T38" fmla="*/ 2147483646 w 233"/>
              <a:gd name="T39" fmla="*/ 2147483646 h 231"/>
              <a:gd name="T40" fmla="*/ 2147483646 w 233"/>
              <a:gd name="T41" fmla="*/ 2147483646 h 231"/>
              <a:gd name="T42" fmla="*/ 2147483646 w 233"/>
              <a:gd name="T43" fmla="*/ 2147483646 h 231"/>
              <a:gd name="T44" fmla="*/ 2147483646 w 233"/>
              <a:gd name="T45" fmla="*/ 2147483646 h 231"/>
              <a:gd name="T46" fmla="*/ 2147483646 w 233"/>
              <a:gd name="T47" fmla="*/ 2147483646 h 231"/>
              <a:gd name="T48" fmla="*/ 2147483646 w 233"/>
              <a:gd name="T49" fmla="*/ 0 h 231"/>
              <a:gd name="T50" fmla="*/ 2147483646 w 233"/>
              <a:gd name="T51" fmla="*/ 2147483646 h 231"/>
              <a:gd name="T52" fmla="*/ 2147483646 w 233"/>
              <a:gd name="T53" fmla="*/ 2147483646 h 231"/>
              <a:gd name="T54" fmla="*/ 2147483646 w 233"/>
              <a:gd name="T55" fmla="*/ 2147483646 h 231"/>
              <a:gd name="T56" fmla="*/ 2147483646 w 233"/>
              <a:gd name="T57" fmla="*/ 2147483646 h 231"/>
              <a:gd name="T58" fmla="*/ 2147483646 w 233"/>
              <a:gd name="T59" fmla="*/ 2147483646 h 231"/>
              <a:gd name="T60" fmla="*/ 2147483646 w 233"/>
              <a:gd name="T61" fmla="*/ 2147483646 h 231"/>
              <a:gd name="T62" fmla="*/ 2147483646 w 233"/>
              <a:gd name="T63" fmla="*/ 2147483646 h 231"/>
              <a:gd name="T64" fmla="*/ 2147483646 w 233"/>
              <a:gd name="T65" fmla="*/ 2147483646 h 231"/>
              <a:gd name="T66" fmla="*/ 2147483646 w 233"/>
              <a:gd name="T67" fmla="*/ 2147483646 h 231"/>
              <a:gd name="T68" fmla="*/ 2147483646 w 233"/>
              <a:gd name="T69" fmla="*/ 2147483646 h 231"/>
              <a:gd name="T70" fmla="*/ 2147483646 w 233"/>
              <a:gd name="T71" fmla="*/ 2147483646 h 231"/>
              <a:gd name="T72" fmla="*/ 2147483646 w 233"/>
              <a:gd name="T73" fmla="*/ 2147483646 h 231"/>
              <a:gd name="T74" fmla="*/ 2147483646 w 233"/>
              <a:gd name="T75" fmla="*/ 2147483646 h 231"/>
              <a:gd name="T76" fmla="*/ 2147483646 w 233"/>
              <a:gd name="T77" fmla="*/ 2147483646 h 231"/>
              <a:gd name="T78" fmla="*/ 2147483646 w 233"/>
              <a:gd name="T79" fmla="*/ 2147483646 h 231"/>
              <a:gd name="T80" fmla="*/ 2147483646 w 233"/>
              <a:gd name="T81" fmla="*/ 2147483646 h 231"/>
              <a:gd name="T82" fmla="*/ 2147483646 w 233"/>
              <a:gd name="T83" fmla="*/ 2147483646 h 231"/>
              <a:gd name="T84" fmla="*/ 2147483646 w 233"/>
              <a:gd name="T85" fmla="*/ 2147483646 h 231"/>
              <a:gd name="T86" fmla="*/ 2147483646 w 233"/>
              <a:gd name="T87" fmla="*/ 2147483646 h 231"/>
              <a:gd name="T88" fmla="*/ 2147483646 w 233"/>
              <a:gd name="T89" fmla="*/ 2147483646 h 231"/>
              <a:gd name="T90" fmla="*/ 2147483646 w 233"/>
              <a:gd name="T91" fmla="*/ 2147483646 h 231"/>
              <a:gd name="T92" fmla="*/ 2147483646 w 233"/>
              <a:gd name="T93" fmla="*/ 2147483646 h 231"/>
              <a:gd name="T94" fmla="*/ 2147483646 w 233"/>
              <a:gd name="T95" fmla="*/ 2147483646 h 231"/>
              <a:gd name="T96" fmla="*/ 2147483646 w 233"/>
              <a:gd name="T97" fmla="*/ 2147483646 h 231"/>
              <a:gd name="T98" fmla="*/ 2147483646 w 233"/>
              <a:gd name="T99" fmla="*/ 2147483646 h 231"/>
              <a:gd name="T100" fmla="*/ 2147483646 w 233"/>
              <a:gd name="T101" fmla="*/ 2147483646 h 231"/>
              <a:gd name="T102" fmla="*/ 2147483646 w 233"/>
              <a:gd name="T103" fmla="*/ 2147483646 h 231"/>
              <a:gd name="T104" fmla="*/ 2147483646 w 233"/>
              <a:gd name="T105" fmla="*/ 2147483646 h 231"/>
              <a:gd name="T106" fmla="*/ 2147483646 w 233"/>
              <a:gd name="T107" fmla="*/ 2147483646 h 231"/>
              <a:gd name="T108" fmla="*/ 2147483646 w 233"/>
              <a:gd name="T109" fmla="*/ 2147483646 h 231"/>
              <a:gd name="T110" fmla="*/ 2147483646 w 233"/>
              <a:gd name="T111" fmla="*/ 2147483646 h 231"/>
              <a:gd name="T112" fmla="*/ 2147483646 w 233"/>
              <a:gd name="T113" fmla="*/ 2147483646 h 231"/>
              <a:gd name="T114" fmla="*/ 2147483646 w 233"/>
              <a:gd name="T115" fmla="*/ 2147483646 h 231"/>
              <a:gd name="T116" fmla="*/ 2147483646 w 233"/>
              <a:gd name="T117" fmla="*/ 2147483646 h 231"/>
              <a:gd name="T118" fmla="*/ 2147483646 w 233"/>
              <a:gd name="T119" fmla="*/ 2147483646 h 231"/>
              <a:gd name="T120" fmla="*/ 2147483646 w 233"/>
              <a:gd name="T121" fmla="*/ 2147483646 h 231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233" h="231">
                <a:moveTo>
                  <a:pt x="232" y="165"/>
                </a:moveTo>
                <a:lnTo>
                  <a:pt x="231" y="163"/>
                </a:lnTo>
                <a:lnTo>
                  <a:pt x="229" y="147"/>
                </a:lnTo>
                <a:lnTo>
                  <a:pt x="228" y="138"/>
                </a:lnTo>
                <a:lnTo>
                  <a:pt x="228" y="130"/>
                </a:lnTo>
                <a:lnTo>
                  <a:pt x="228" y="126"/>
                </a:lnTo>
                <a:lnTo>
                  <a:pt x="224" y="123"/>
                </a:lnTo>
                <a:lnTo>
                  <a:pt x="225" y="122"/>
                </a:lnTo>
                <a:lnTo>
                  <a:pt x="223" y="121"/>
                </a:lnTo>
                <a:lnTo>
                  <a:pt x="223" y="116"/>
                </a:lnTo>
                <a:lnTo>
                  <a:pt x="225" y="113"/>
                </a:lnTo>
                <a:lnTo>
                  <a:pt x="225" y="110"/>
                </a:lnTo>
                <a:lnTo>
                  <a:pt x="226" y="108"/>
                </a:lnTo>
                <a:lnTo>
                  <a:pt x="226" y="106"/>
                </a:lnTo>
                <a:lnTo>
                  <a:pt x="228" y="103"/>
                </a:lnTo>
                <a:lnTo>
                  <a:pt x="229" y="103"/>
                </a:lnTo>
                <a:lnTo>
                  <a:pt x="230" y="99"/>
                </a:lnTo>
                <a:lnTo>
                  <a:pt x="230" y="97"/>
                </a:lnTo>
                <a:lnTo>
                  <a:pt x="230" y="96"/>
                </a:lnTo>
                <a:lnTo>
                  <a:pt x="231" y="94"/>
                </a:lnTo>
                <a:lnTo>
                  <a:pt x="230" y="89"/>
                </a:lnTo>
                <a:lnTo>
                  <a:pt x="229" y="85"/>
                </a:lnTo>
                <a:lnTo>
                  <a:pt x="229" y="82"/>
                </a:lnTo>
                <a:lnTo>
                  <a:pt x="228" y="82"/>
                </a:lnTo>
                <a:lnTo>
                  <a:pt x="226" y="82"/>
                </a:lnTo>
                <a:lnTo>
                  <a:pt x="218" y="78"/>
                </a:lnTo>
                <a:lnTo>
                  <a:pt x="217" y="79"/>
                </a:lnTo>
                <a:lnTo>
                  <a:pt x="215" y="79"/>
                </a:lnTo>
                <a:lnTo>
                  <a:pt x="208" y="77"/>
                </a:lnTo>
                <a:lnTo>
                  <a:pt x="206" y="76"/>
                </a:lnTo>
                <a:lnTo>
                  <a:pt x="203" y="74"/>
                </a:lnTo>
                <a:lnTo>
                  <a:pt x="200" y="71"/>
                </a:lnTo>
                <a:lnTo>
                  <a:pt x="201" y="67"/>
                </a:lnTo>
                <a:lnTo>
                  <a:pt x="200" y="62"/>
                </a:lnTo>
                <a:lnTo>
                  <a:pt x="200" y="60"/>
                </a:lnTo>
                <a:lnTo>
                  <a:pt x="201" y="60"/>
                </a:lnTo>
                <a:lnTo>
                  <a:pt x="204" y="57"/>
                </a:lnTo>
                <a:lnTo>
                  <a:pt x="203" y="56"/>
                </a:lnTo>
                <a:lnTo>
                  <a:pt x="200" y="57"/>
                </a:lnTo>
                <a:lnTo>
                  <a:pt x="199" y="59"/>
                </a:lnTo>
                <a:lnTo>
                  <a:pt x="193" y="59"/>
                </a:lnTo>
                <a:lnTo>
                  <a:pt x="189" y="58"/>
                </a:lnTo>
                <a:lnTo>
                  <a:pt x="187" y="58"/>
                </a:lnTo>
                <a:lnTo>
                  <a:pt x="185" y="57"/>
                </a:lnTo>
                <a:lnTo>
                  <a:pt x="184" y="56"/>
                </a:lnTo>
                <a:lnTo>
                  <a:pt x="182" y="55"/>
                </a:lnTo>
                <a:lnTo>
                  <a:pt x="179" y="54"/>
                </a:lnTo>
                <a:lnTo>
                  <a:pt x="178" y="54"/>
                </a:lnTo>
                <a:lnTo>
                  <a:pt x="168" y="50"/>
                </a:lnTo>
                <a:lnTo>
                  <a:pt x="168" y="48"/>
                </a:lnTo>
                <a:lnTo>
                  <a:pt x="168" y="47"/>
                </a:lnTo>
                <a:lnTo>
                  <a:pt x="160" y="41"/>
                </a:lnTo>
                <a:lnTo>
                  <a:pt x="160" y="40"/>
                </a:lnTo>
                <a:lnTo>
                  <a:pt x="160" y="38"/>
                </a:lnTo>
                <a:lnTo>
                  <a:pt x="160" y="36"/>
                </a:lnTo>
                <a:lnTo>
                  <a:pt x="160" y="34"/>
                </a:lnTo>
                <a:lnTo>
                  <a:pt x="159" y="34"/>
                </a:lnTo>
                <a:lnTo>
                  <a:pt x="159" y="33"/>
                </a:lnTo>
                <a:lnTo>
                  <a:pt x="158" y="28"/>
                </a:lnTo>
                <a:lnTo>
                  <a:pt x="158" y="27"/>
                </a:lnTo>
                <a:lnTo>
                  <a:pt x="157" y="27"/>
                </a:lnTo>
                <a:lnTo>
                  <a:pt x="157" y="25"/>
                </a:lnTo>
                <a:lnTo>
                  <a:pt x="155" y="22"/>
                </a:lnTo>
                <a:lnTo>
                  <a:pt x="155" y="20"/>
                </a:lnTo>
                <a:lnTo>
                  <a:pt x="155" y="15"/>
                </a:lnTo>
                <a:lnTo>
                  <a:pt x="156" y="10"/>
                </a:lnTo>
                <a:lnTo>
                  <a:pt x="149" y="5"/>
                </a:lnTo>
                <a:lnTo>
                  <a:pt x="146" y="4"/>
                </a:lnTo>
                <a:lnTo>
                  <a:pt x="145" y="3"/>
                </a:lnTo>
                <a:lnTo>
                  <a:pt x="141" y="1"/>
                </a:lnTo>
                <a:lnTo>
                  <a:pt x="137" y="4"/>
                </a:lnTo>
                <a:lnTo>
                  <a:pt x="129" y="0"/>
                </a:lnTo>
                <a:lnTo>
                  <a:pt x="126" y="0"/>
                </a:lnTo>
                <a:lnTo>
                  <a:pt x="115" y="2"/>
                </a:lnTo>
                <a:lnTo>
                  <a:pt x="103" y="5"/>
                </a:lnTo>
                <a:lnTo>
                  <a:pt x="100" y="7"/>
                </a:lnTo>
                <a:lnTo>
                  <a:pt x="94" y="11"/>
                </a:lnTo>
                <a:lnTo>
                  <a:pt x="88" y="13"/>
                </a:lnTo>
                <a:lnTo>
                  <a:pt x="83" y="14"/>
                </a:lnTo>
                <a:lnTo>
                  <a:pt x="77" y="15"/>
                </a:lnTo>
                <a:lnTo>
                  <a:pt x="66" y="16"/>
                </a:lnTo>
                <a:lnTo>
                  <a:pt x="63" y="17"/>
                </a:lnTo>
                <a:lnTo>
                  <a:pt x="55" y="19"/>
                </a:lnTo>
                <a:lnTo>
                  <a:pt x="53" y="19"/>
                </a:lnTo>
                <a:lnTo>
                  <a:pt x="48" y="19"/>
                </a:lnTo>
                <a:lnTo>
                  <a:pt x="40" y="23"/>
                </a:lnTo>
                <a:lnTo>
                  <a:pt x="32" y="28"/>
                </a:lnTo>
                <a:lnTo>
                  <a:pt x="30" y="26"/>
                </a:lnTo>
                <a:lnTo>
                  <a:pt x="20" y="21"/>
                </a:lnTo>
                <a:lnTo>
                  <a:pt x="9" y="24"/>
                </a:lnTo>
                <a:lnTo>
                  <a:pt x="9" y="23"/>
                </a:lnTo>
                <a:lnTo>
                  <a:pt x="9" y="24"/>
                </a:lnTo>
                <a:lnTo>
                  <a:pt x="8" y="23"/>
                </a:lnTo>
                <a:lnTo>
                  <a:pt x="6" y="22"/>
                </a:lnTo>
                <a:lnTo>
                  <a:pt x="5" y="22"/>
                </a:lnTo>
                <a:lnTo>
                  <a:pt x="1" y="32"/>
                </a:lnTo>
                <a:lnTo>
                  <a:pt x="0" y="37"/>
                </a:lnTo>
                <a:lnTo>
                  <a:pt x="2" y="43"/>
                </a:lnTo>
                <a:lnTo>
                  <a:pt x="7" y="45"/>
                </a:lnTo>
                <a:lnTo>
                  <a:pt x="12" y="47"/>
                </a:lnTo>
                <a:lnTo>
                  <a:pt x="17" y="49"/>
                </a:lnTo>
                <a:lnTo>
                  <a:pt x="23" y="50"/>
                </a:lnTo>
                <a:lnTo>
                  <a:pt x="26" y="52"/>
                </a:lnTo>
                <a:lnTo>
                  <a:pt x="26" y="62"/>
                </a:lnTo>
                <a:lnTo>
                  <a:pt x="28" y="64"/>
                </a:lnTo>
                <a:lnTo>
                  <a:pt x="24" y="67"/>
                </a:lnTo>
                <a:lnTo>
                  <a:pt x="23" y="70"/>
                </a:lnTo>
                <a:lnTo>
                  <a:pt x="20" y="70"/>
                </a:lnTo>
                <a:lnTo>
                  <a:pt x="19" y="74"/>
                </a:lnTo>
                <a:lnTo>
                  <a:pt x="19" y="77"/>
                </a:lnTo>
                <a:lnTo>
                  <a:pt x="17" y="80"/>
                </a:lnTo>
                <a:lnTo>
                  <a:pt x="16" y="82"/>
                </a:lnTo>
                <a:lnTo>
                  <a:pt x="15" y="86"/>
                </a:lnTo>
                <a:lnTo>
                  <a:pt x="11" y="89"/>
                </a:lnTo>
                <a:lnTo>
                  <a:pt x="12" y="92"/>
                </a:lnTo>
                <a:lnTo>
                  <a:pt x="14" y="95"/>
                </a:lnTo>
                <a:lnTo>
                  <a:pt x="14" y="99"/>
                </a:lnTo>
                <a:lnTo>
                  <a:pt x="11" y="102"/>
                </a:lnTo>
                <a:lnTo>
                  <a:pt x="7" y="105"/>
                </a:lnTo>
                <a:lnTo>
                  <a:pt x="6" y="109"/>
                </a:lnTo>
                <a:lnTo>
                  <a:pt x="4" y="113"/>
                </a:lnTo>
                <a:lnTo>
                  <a:pt x="3" y="118"/>
                </a:lnTo>
                <a:lnTo>
                  <a:pt x="3" y="126"/>
                </a:lnTo>
                <a:lnTo>
                  <a:pt x="8" y="133"/>
                </a:lnTo>
                <a:lnTo>
                  <a:pt x="22" y="134"/>
                </a:lnTo>
                <a:lnTo>
                  <a:pt x="26" y="136"/>
                </a:lnTo>
                <a:lnTo>
                  <a:pt x="30" y="140"/>
                </a:lnTo>
                <a:lnTo>
                  <a:pt x="34" y="141"/>
                </a:lnTo>
                <a:lnTo>
                  <a:pt x="40" y="143"/>
                </a:lnTo>
                <a:lnTo>
                  <a:pt x="44" y="136"/>
                </a:lnTo>
                <a:lnTo>
                  <a:pt x="45" y="131"/>
                </a:lnTo>
                <a:lnTo>
                  <a:pt x="48" y="119"/>
                </a:lnTo>
                <a:lnTo>
                  <a:pt x="52" y="114"/>
                </a:lnTo>
                <a:lnTo>
                  <a:pt x="56" y="109"/>
                </a:lnTo>
                <a:lnTo>
                  <a:pt x="61" y="106"/>
                </a:lnTo>
                <a:lnTo>
                  <a:pt x="63" y="103"/>
                </a:lnTo>
                <a:lnTo>
                  <a:pt x="67" y="100"/>
                </a:lnTo>
                <a:lnTo>
                  <a:pt x="71" y="101"/>
                </a:lnTo>
                <a:lnTo>
                  <a:pt x="76" y="102"/>
                </a:lnTo>
                <a:lnTo>
                  <a:pt x="81" y="103"/>
                </a:lnTo>
                <a:lnTo>
                  <a:pt x="86" y="111"/>
                </a:lnTo>
                <a:lnTo>
                  <a:pt x="87" y="115"/>
                </a:lnTo>
                <a:lnTo>
                  <a:pt x="91" y="118"/>
                </a:lnTo>
                <a:lnTo>
                  <a:pt x="92" y="121"/>
                </a:lnTo>
                <a:lnTo>
                  <a:pt x="97" y="122"/>
                </a:lnTo>
                <a:lnTo>
                  <a:pt x="99" y="127"/>
                </a:lnTo>
                <a:lnTo>
                  <a:pt x="101" y="130"/>
                </a:lnTo>
                <a:lnTo>
                  <a:pt x="104" y="135"/>
                </a:lnTo>
                <a:lnTo>
                  <a:pt x="112" y="131"/>
                </a:lnTo>
                <a:lnTo>
                  <a:pt x="119" y="130"/>
                </a:lnTo>
                <a:lnTo>
                  <a:pt x="125" y="130"/>
                </a:lnTo>
                <a:lnTo>
                  <a:pt x="137" y="142"/>
                </a:lnTo>
                <a:lnTo>
                  <a:pt x="149" y="153"/>
                </a:lnTo>
                <a:lnTo>
                  <a:pt x="150" y="154"/>
                </a:lnTo>
                <a:lnTo>
                  <a:pt x="162" y="166"/>
                </a:lnTo>
                <a:lnTo>
                  <a:pt x="174" y="178"/>
                </a:lnTo>
                <a:lnTo>
                  <a:pt x="175" y="182"/>
                </a:lnTo>
                <a:lnTo>
                  <a:pt x="184" y="195"/>
                </a:lnTo>
                <a:lnTo>
                  <a:pt x="188" y="200"/>
                </a:lnTo>
                <a:lnTo>
                  <a:pt x="194" y="202"/>
                </a:lnTo>
                <a:lnTo>
                  <a:pt x="188" y="217"/>
                </a:lnTo>
                <a:lnTo>
                  <a:pt x="200" y="217"/>
                </a:lnTo>
                <a:lnTo>
                  <a:pt x="202" y="222"/>
                </a:lnTo>
                <a:lnTo>
                  <a:pt x="203" y="226"/>
                </a:lnTo>
                <a:lnTo>
                  <a:pt x="203" y="230"/>
                </a:lnTo>
                <a:lnTo>
                  <a:pt x="205" y="230"/>
                </a:lnTo>
                <a:lnTo>
                  <a:pt x="205" y="231"/>
                </a:lnTo>
                <a:lnTo>
                  <a:pt x="207" y="226"/>
                </a:lnTo>
                <a:lnTo>
                  <a:pt x="206" y="224"/>
                </a:lnTo>
                <a:lnTo>
                  <a:pt x="211" y="216"/>
                </a:lnTo>
                <a:lnTo>
                  <a:pt x="219" y="202"/>
                </a:lnTo>
                <a:lnTo>
                  <a:pt x="224" y="192"/>
                </a:lnTo>
                <a:lnTo>
                  <a:pt x="227" y="184"/>
                </a:lnTo>
                <a:lnTo>
                  <a:pt x="228" y="178"/>
                </a:lnTo>
                <a:lnTo>
                  <a:pt x="232" y="170"/>
                </a:lnTo>
                <a:lnTo>
                  <a:pt x="233" y="167"/>
                </a:lnTo>
                <a:lnTo>
                  <a:pt x="232" y="165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3" name="Freeform 24"/>
          <p:cNvSpPr>
            <a:spLocks/>
          </p:cNvSpPr>
          <p:nvPr/>
        </p:nvSpPr>
        <p:spPr bwMode="auto">
          <a:xfrm>
            <a:off x="5040313" y="1524000"/>
            <a:ext cx="276225" cy="114300"/>
          </a:xfrm>
          <a:custGeom>
            <a:avLst/>
            <a:gdLst>
              <a:gd name="T0" fmla="*/ 2147483646 w 47"/>
              <a:gd name="T1" fmla="*/ 2147483646 h 22"/>
              <a:gd name="T2" fmla="*/ 2147483646 w 47"/>
              <a:gd name="T3" fmla="*/ 2147483646 h 22"/>
              <a:gd name="T4" fmla="*/ 2147483646 w 47"/>
              <a:gd name="T5" fmla="*/ 2147483646 h 22"/>
              <a:gd name="T6" fmla="*/ 2147483646 w 47"/>
              <a:gd name="T7" fmla="*/ 2147483646 h 22"/>
              <a:gd name="T8" fmla="*/ 2147483646 w 47"/>
              <a:gd name="T9" fmla="*/ 2147483646 h 22"/>
              <a:gd name="T10" fmla="*/ 2147483646 w 47"/>
              <a:gd name="T11" fmla="*/ 2147483646 h 22"/>
              <a:gd name="T12" fmla="*/ 2147483646 w 47"/>
              <a:gd name="T13" fmla="*/ 2147483646 h 22"/>
              <a:gd name="T14" fmla="*/ 2147483646 w 47"/>
              <a:gd name="T15" fmla="*/ 2147483646 h 22"/>
              <a:gd name="T16" fmla="*/ 2147483646 w 47"/>
              <a:gd name="T17" fmla="*/ 2147483646 h 22"/>
              <a:gd name="T18" fmla="*/ 2147483646 w 47"/>
              <a:gd name="T19" fmla="*/ 2147483646 h 22"/>
              <a:gd name="T20" fmla="*/ 2147483646 w 47"/>
              <a:gd name="T21" fmla="*/ 2147483646 h 22"/>
              <a:gd name="T22" fmla="*/ 2147483646 w 47"/>
              <a:gd name="T23" fmla="*/ 2147483646 h 22"/>
              <a:gd name="T24" fmla="*/ 2147483646 w 47"/>
              <a:gd name="T25" fmla="*/ 2147483646 h 22"/>
              <a:gd name="T26" fmla="*/ 2147483646 w 47"/>
              <a:gd name="T27" fmla="*/ 2147483646 h 22"/>
              <a:gd name="T28" fmla="*/ 2147483646 w 47"/>
              <a:gd name="T29" fmla="*/ 2147483646 h 22"/>
              <a:gd name="T30" fmla="*/ 2147483646 w 47"/>
              <a:gd name="T31" fmla="*/ 2147483646 h 22"/>
              <a:gd name="T32" fmla="*/ 2147483646 w 47"/>
              <a:gd name="T33" fmla="*/ 2147483646 h 22"/>
              <a:gd name="T34" fmla="*/ 2147483646 w 47"/>
              <a:gd name="T35" fmla="*/ 2147483646 h 22"/>
              <a:gd name="T36" fmla="*/ 2147483646 w 47"/>
              <a:gd name="T37" fmla="*/ 2147483646 h 22"/>
              <a:gd name="T38" fmla="*/ 2147483646 w 47"/>
              <a:gd name="T39" fmla="*/ 2147483646 h 22"/>
              <a:gd name="T40" fmla="*/ 2147483646 w 47"/>
              <a:gd name="T41" fmla="*/ 2147483646 h 22"/>
              <a:gd name="T42" fmla="*/ 2147483646 w 47"/>
              <a:gd name="T43" fmla="*/ 2147483646 h 22"/>
              <a:gd name="T44" fmla="*/ 2147483646 w 47"/>
              <a:gd name="T45" fmla="*/ 2147483646 h 22"/>
              <a:gd name="T46" fmla="*/ 2147483646 w 47"/>
              <a:gd name="T47" fmla="*/ 0 h 22"/>
              <a:gd name="T48" fmla="*/ 2147483646 w 47"/>
              <a:gd name="T49" fmla="*/ 0 h 22"/>
              <a:gd name="T50" fmla="*/ 2147483646 w 47"/>
              <a:gd name="T51" fmla="*/ 2147483646 h 22"/>
              <a:gd name="T52" fmla="*/ 2147483646 w 47"/>
              <a:gd name="T53" fmla="*/ 2147483646 h 22"/>
              <a:gd name="T54" fmla="*/ 2147483646 w 47"/>
              <a:gd name="T55" fmla="*/ 2147483646 h 22"/>
              <a:gd name="T56" fmla="*/ 0 w 47"/>
              <a:gd name="T57" fmla="*/ 2147483646 h 22"/>
              <a:gd name="T58" fmla="*/ 2147483646 w 47"/>
              <a:gd name="T59" fmla="*/ 2147483646 h 22"/>
              <a:gd name="T60" fmla="*/ 2147483646 w 47"/>
              <a:gd name="T61" fmla="*/ 2147483646 h 22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0" t="0" r="r" b="b"/>
            <a:pathLst>
              <a:path w="47" h="22">
                <a:moveTo>
                  <a:pt x="3" y="16"/>
                </a:moveTo>
                <a:lnTo>
                  <a:pt x="3" y="17"/>
                </a:lnTo>
                <a:lnTo>
                  <a:pt x="2" y="20"/>
                </a:lnTo>
                <a:lnTo>
                  <a:pt x="2" y="22"/>
                </a:lnTo>
                <a:lnTo>
                  <a:pt x="3" y="22"/>
                </a:lnTo>
                <a:lnTo>
                  <a:pt x="3" y="20"/>
                </a:lnTo>
                <a:lnTo>
                  <a:pt x="5" y="20"/>
                </a:lnTo>
                <a:lnTo>
                  <a:pt x="6" y="17"/>
                </a:lnTo>
                <a:lnTo>
                  <a:pt x="8" y="16"/>
                </a:lnTo>
                <a:lnTo>
                  <a:pt x="9" y="14"/>
                </a:lnTo>
                <a:lnTo>
                  <a:pt x="10" y="14"/>
                </a:lnTo>
                <a:lnTo>
                  <a:pt x="18" y="13"/>
                </a:lnTo>
                <a:lnTo>
                  <a:pt x="28" y="12"/>
                </a:lnTo>
                <a:lnTo>
                  <a:pt x="32" y="10"/>
                </a:lnTo>
                <a:lnTo>
                  <a:pt x="33" y="9"/>
                </a:lnTo>
                <a:lnTo>
                  <a:pt x="34" y="7"/>
                </a:lnTo>
                <a:lnTo>
                  <a:pt x="40" y="6"/>
                </a:lnTo>
                <a:lnTo>
                  <a:pt x="41" y="5"/>
                </a:lnTo>
                <a:lnTo>
                  <a:pt x="44" y="4"/>
                </a:lnTo>
                <a:lnTo>
                  <a:pt x="45" y="3"/>
                </a:lnTo>
                <a:lnTo>
                  <a:pt x="47" y="2"/>
                </a:lnTo>
                <a:lnTo>
                  <a:pt x="47" y="1"/>
                </a:lnTo>
                <a:lnTo>
                  <a:pt x="43" y="0"/>
                </a:lnTo>
                <a:lnTo>
                  <a:pt x="37" y="0"/>
                </a:lnTo>
                <a:lnTo>
                  <a:pt x="7" y="5"/>
                </a:lnTo>
                <a:lnTo>
                  <a:pt x="3" y="8"/>
                </a:lnTo>
                <a:lnTo>
                  <a:pt x="1" y="13"/>
                </a:lnTo>
                <a:lnTo>
                  <a:pt x="0" y="16"/>
                </a:lnTo>
                <a:lnTo>
                  <a:pt x="1" y="17"/>
                </a:lnTo>
                <a:lnTo>
                  <a:pt x="3" y="16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4" name="Freeform 25"/>
          <p:cNvSpPr>
            <a:spLocks/>
          </p:cNvSpPr>
          <p:nvPr/>
        </p:nvSpPr>
        <p:spPr bwMode="auto">
          <a:xfrm>
            <a:off x="4333875" y="4692650"/>
            <a:ext cx="900113" cy="1884363"/>
          </a:xfrm>
          <a:custGeom>
            <a:avLst/>
            <a:gdLst>
              <a:gd name="T0" fmla="*/ 2147483646 w 152"/>
              <a:gd name="T1" fmla="*/ 2147483646 h 374"/>
              <a:gd name="T2" fmla="*/ 2147483646 w 152"/>
              <a:gd name="T3" fmla="*/ 2147483646 h 374"/>
              <a:gd name="T4" fmla="*/ 2147483646 w 152"/>
              <a:gd name="T5" fmla="*/ 2147483646 h 374"/>
              <a:gd name="T6" fmla="*/ 2147483646 w 152"/>
              <a:gd name="T7" fmla="*/ 2147483646 h 374"/>
              <a:gd name="T8" fmla="*/ 2147483646 w 152"/>
              <a:gd name="T9" fmla="*/ 2147483646 h 374"/>
              <a:gd name="T10" fmla="*/ 2147483646 w 152"/>
              <a:gd name="T11" fmla="*/ 2147483646 h 374"/>
              <a:gd name="T12" fmla="*/ 2147483646 w 152"/>
              <a:gd name="T13" fmla="*/ 2147483646 h 374"/>
              <a:gd name="T14" fmla="*/ 2147483646 w 152"/>
              <a:gd name="T15" fmla="*/ 2147483646 h 374"/>
              <a:gd name="T16" fmla="*/ 2147483646 w 152"/>
              <a:gd name="T17" fmla="*/ 2147483646 h 374"/>
              <a:gd name="T18" fmla="*/ 2147483646 w 152"/>
              <a:gd name="T19" fmla="*/ 2147483646 h 374"/>
              <a:gd name="T20" fmla="*/ 2147483646 w 152"/>
              <a:gd name="T21" fmla="*/ 2147483646 h 374"/>
              <a:gd name="T22" fmla="*/ 2147483646 w 152"/>
              <a:gd name="T23" fmla="*/ 2147483646 h 374"/>
              <a:gd name="T24" fmla="*/ 2147483646 w 152"/>
              <a:gd name="T25" fmla="*/ 2147483646 h 374"/>
              <a:gd name="T26" fmla="*/ 2147483646 w 152"/>
              <a:gd name="T27" fmla="*/ 2147483646 h 374"/>
              <a:gd name="T28" fmla="*/ 2147483646 w 152"/>
              <a:gd name="T29" fmla="*/ 2147483646 h 374"/>
              <a:gd name="T30" fmla="*/ 2147483646 w 152"/>
              <a:gd name="T31" fmla="*/ 2147483646 h 374"/>
              <a:gd name="T32" fmla="*/ 2147483646 w 152"/>
              <a:gd name="T33" fmla="*/ 2147483646 h 374"/>
              <a:gd name="T34" fmla="*/ 2147483646 w 152"/>
              <a:gd name="T35" fmla="*/ 2147483646 h 374"/>
              <a:gd name="T36" fmla="*/ 2147483646 w 152"/>
              <a:gd name="T37" fmla="*/ 2147483646 h 374"/>
              <a:gd name="T38" fmla="*/ 2147483646 w 152"/>
              <a:gd name="T39" fmla="*/ 2147483646 h 374"/>
              <a:gd name="T40" fmla="*/ 2147483646 w 152"/>
              <a:gd name="T41" fmla="*/ 2147483646 h 374"/>
              <a:gd name="T42" fmla="*/ 2147483646 w 152"/>
              <a:gd name="T43" fmla="*/ 2147483646 h 374"/>
              <a:gd name="T44" fmla="*/ 2147483646 w 152"/>
              <a:gd name="T45" fmla="*/ 2147483646 h 374"/>
              <a:gd name="T46" fmla="*/ 2147483646 w 152"/>
              <a:gd name="T47" fmla="*/ 2147483646 h 374"/>
              <a:gd name="T48" fmla="*/ 2147483646 w 152"/>
              <a:gd name="T49" fmla="*/ 2147483646 h 374"/>
              <a:gd name="T50" fmla="*/ 2147483646 w 152"/>
              <a:gd name="T51" fmla="*/ 2147483646 h 374"/>
              <a:gd name="T52" fmla="*/ 2147483646 w 152"/>
              <a:gd name="T53" fmla="*/ 2147483646 h 374"/>
              <a:gd name="T54" fmla="*/ 2147483646 w 152"/>
              <a:gd name="T55" fmla="*/ 2147483646 h 374"/>
              <a:gd name="T56" fmla="*/ 2147483646 w 152"/>
              <a:gd name="T57" fmla="*/ 2147483646 h 374"/>
              <a:gd name="T58" fmla="*/ 2147483646 w 152"/>
              <a:gd name="T59" fmla="*/ 2147483646 h 374"/>
              <a:gd name="T60" fmla="*/ 2147483646 w 152"/>
              <a:gd name="T61" fmla="*/ 2147483646 h 374"/>
              <a:gd name="T62" fmla="*/ 2147483646 w 152"/>
              <a:gd name="T63" fmla="*/ 2147483646 h 374"/>
              <a:gd name="T64" fmla="*/ 2147483646 w 152"/>
              <a:gd name="T65" fmla="*/ 2147483646 h 374"/>
              <a:gd name="T66" fmla="*/ 2147483646 w 152"/>
              <a:gd name="T67" fmla="*/ 2147483646 h 374"/>
              <a:gd name="T68" fmla="*/ 2147483646 w 152"/>
              <a:gd name="T69" fmla="*/ 2147483646 h 374"/>
              <a:gd name="T70" fmla="*/ 2147483646 w 152"/>
              <a:gd name="T71" fmla="*/ 2147483646 h 374"/>
              <a:gd name="T72" fmla="*/ 2147483646 w 152"/>
              <a:gd name="T73" fmla="*/ 2147483646 h 374"/>
              <a:gd name="T74" fmla="*/ 2147483646 w 152"/>
              <a:gd name="T75" fmla="*/ 2147483646 h 374"/>
              <a:gd name="T76" fmla="*/ 2147483646 w 152"/>
              <a:gd name="T77" fmla="*/ 2147483646 h 374"/>
              <a:gd name="T78" fmla="*/ 2147483646 w 152"/>
              <a:gd name="T79" fmla="*/ 2147483646 h 374"/>
              <a:gd name="T80" fmla="*/ 2147483646 w 152"/>
              <a:gd name="T81" fmla="*/ 2147483646 h 374"/>
              <a:gd name="T82" fmla="*/ 2147483646 w 152"/>
              <a:gd name="T83" fmla="*/ 2147483646 h 374"/>
              <a:gd name="T84" fmla="*/ 2147483646 w 152"/>
              <a:gd name="T85" fmla="*/ 2147483646 h 374"/>
              <a:gd name="T86" fmla="*/ 2147483646 w 152"/>
              <a:gd name="T87" fmla="*/ 2147483646 h 374"/>
              <a:gd name="T88" fmla="*/ 2147483646 w 152"/>
              <a:gd name="T89" fmla="*/ 2147483646 h 374"/>
              <a:gd name="T90" fmla="*/ 2147483646 w 152"/>
              <a:gd name="T91" fmla="*/ 2147483646 h 374"/>
              <a:gd name="T92" fmla="*/ 2147483646 w 152"/>
              <a:gd name="T93" fmla="*/ 2147483646 h 374"/>
              <a:gd name="T94" fmla="*/ 2147483646 w 152"/>
              <a:gd name="T95" fmla="*/ 2147483646 h 374"/>
              <a:gd name="T96" fmla="*/ 2147483646 w 152"/>
              <a:gd name="T97" fmla="*/ 2147483646 h 374"/>
              <a:gd name="T98" fmla="*/ 2147483646 w 152"/>
              <a:gd name="T99" fmla="*/ 2147483646 h 374"/>
              <a:gd name="T100" fmla="*/ 2147483646 w 152"/>
              <a:gd name="T101" fmla="*/ 2147483646 h 374"/>
              <a:gd name="T102" fmla="*/ 2147483646 w 152"/>
              <a:gd name="T103" fmla="*/ 2147483646 h 374"/>
              <a:gd name="T104" fmla="*/ 2147483646 w 152"/>
              <a:gd name="T105" fmla="*/ 2147483646 h 374"/>
              <a:gd name="T106" fmla="*/ 2147483646 w 152"/>
              <a:gd name="T107" fmla="*/ 2147483646 h 374"/>
              <a:gd name="T108" fmla="*/ 2147483646 w 152"/>
              <a:gd name="T109" fmla="*/ 2147483646 h 374"/>
              <a:gd name="T110" fmla="*/ 2147483646 w 152"/>
              <a:gd name="T111" fmla="*/ 2147483646 h 37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52" h="374">
                <a:moveTo>
                  <a:pt x="86" y="13"/>
                </a:moveTo>
                <a:lnTo>
                  <a:pt x="85" y="13"/>
                </a:lnTo>
                <a:lnTo>
                  <a:pt x="82" y="13"/>
                </a:lnTo>
                <a:lnTo>
                  <a:pt x="82" y="12"/>
                </a:lnTo>
                <a:lnTo>
                  <a:pt x="81" y="10"/>
                </a:lnTo>
                <a:lnTo>
                  <a:pt x="78" y="10"/>
                </a:lnTo>
                <a:lnTo>
                  <a:pt x="78" y="7"/>
                </a:lnTo>
                <a:lnTo>
                  <a:pt x="77" y="6"/>
                </a:lnTo>
                <a:lnTo>
                  <a:pt x="74" y="1"/>
                </a:lnTo>
                <a:lnTo>
                  <a:pt x="72" y="0"/>
                </a:lnTo>
                <a:lnTo>
                  <a:pt x="70" y="1"/>
                </a:lnTo>
                <a:lnTo>
                  <a:pt x="67" y="1"/>
                </a:lnTo>
                <a:lnTo>
                  <a:pt x="67" y="3"/>
                </a:lnTo>
                <a:lnTo>
                  <a:pt x="68" y="5"/>
                </a:lnTo>
                <a:lnTo>
                  <a:pt x="68" y="6"/>
                </a:lnTo>
                <a:lnTo>
                  <a:pt x="67" y="8"/>
                </a:lnTo>
                <a:lnTo>
                  <a:pt x="70" y="9"/>
                </a:lnTo>
                <a:lnTo>
                  <a:pt x="71" y="14"/>
                </a:lnTo>
                <a:lnTo>
                  <a:pt x="73" y="20"/>
                </a:lnTo>
                <a:lnTo>
                  <a:pt x="76" y="22"/>
                </a:lnTo>
                <a:lnTo>
                  <a:pt x="81" y="23"/>
                </a:lnTo>
                <a:lnTo>
                  <a:pt x="86" y="24"/>
                </a:lnTo>
                <a:lnTo>
                  <a:pt x="89" y="27"/>
                </a:lnTo>
                <a:lnTo>
                  <a:pt x="89" y="35"/>
                </a:lnTo>
                <a:lnTo>
                  <a:pt x="88" y="39"/>
                </a:lnTo>
                <a:lnTo>
                  <a:pt x="92" y="40"/>
                </a:lnTo>
                <a:lnTo>
                  <a:pt x="91" y="47"/>
                </a:lnTo>
                <a:lnTo>
                  <a:pt x="97" y="52"/>
                </a:lnTo>
                <a:lnTo>
                  <a:pt x="102" y="58"/>
                </a:lnTo>
                <a:lnTo>
                  <a:pt x="106" y="70"/>
                </a:lnTo>
                <a:lnTo>
                  <a:pt x="108" y="78"/>
                </a:lnTo>
                <a:lnTo>
                  <a:pt x="106" y="78"/>
                </a:lnTo>
                <a:lnTo>
                  <a:pt x="103" y="80"/>
                </a:lnTo>
                <a:lnTo>
                  <a:pt x="100" y="76"/>
                </a:lnTo>
                <a:lnTo>
                  <a:pt x="97" y="74"/>
                </a:lnTo>
                <a:lnTo>
                  <a:pt x="85" y="79"/>
                </a:lnTo>
                <a:lnTo>
                  <a:pt x="75" y="81"/>
                </a:lnTo>
                <a:lnTo>
                  <a:pt x="70" y="78"/>
                </a:lnTo>
                <a:lnTo>
                  <a:pt x="60" y="76"/>
                </a:lnTo>
                <a:lnTo>
                  <a:pt x="63" y="98"/>
                </a:lnTo>
                <a:lnTo>
                  <a:pt x="66" y="104"/>
                </a:lnTo>
                <a:lnTo>
                  <a:pt x="69" y="120"/>
                </a:lnTo>
                <a:lnTo>
                  <a:pt x="82" y="140"/>
                </a:lnTo>
                <a:lnTo>
                  <a:pt x="69" y="152"/>
                </a:lnTo>
                <a:lnTo>
                  <a:pt x="41" y="160"/>
                </a:lnTo>
                <a:lnTo>
                  <a:pt x="26" y="168"/>
                </a:lnTo>
                <a:lnTo>
                  <a:pt x="16" y="183"/>
                </a:lnTo>
                <a:lnTo>
                  <a:pt x="15" y="198"/>
                </a:lnTo>
                <a:lnTo>
                  <a:pt x="7" y="200"/>
                </a:lnTo>
                <a:lnTo>
                  <a:pt x="3" y="201"/>
                </a:lnTo>
                <a:lnTo>
                  <a:pt x="0" y="201"/>
                </a:lnTo>
                <a:lnTo>
                  <a:pt x="0" y="203"/>
                </a:lnTo>
                <a:lnTo>
                  <a:pt x="2" y="203"/>
                </a:lnTo>
                <a:lnTo>
                  <a:pt x="19" y="211"/>
                </a:lnTo>
                <a:lnTo>
                  <a:pt x="21" y="212"/>
                </a:lnTo>
                <a:lnTo>
                  <a:pt x="22" y="213"/>
                </a:lnTo>
                <a:lnTo>
                  <a:pt x="21" y="213"/>
                </a:lnTo>
                <a:lnTo>
                  <a:pt x="22" y="216"/>
                </a:lnTo>
                <a:lnTo>
                  <a:pt x="22" y="217"/>
                </a:lnTo>
                <a:lnTo>
                  <a:pt x="24" y="216"/>
                </a:lnTo>
                <a:lnTo>
                  <a:pt x="26" y="216"/>
                </a:lnTo>
                <a:lnTo>
                  <a:pt x="27" y="217"/>
                </a:lnTo>
                <a:lnTo>
                  <a:pt x="29" y="216"/>
                </a:lnTo>
                <a:lnTo>
                  <a:pt x="31" y="217"/>
                </a:lnTo>
                <a:lnTo>
                  <a:pt x="32" y="217"/>
                </a:lnTo>
                <a:lnTo>
                  <a:pt x="34" y="217"/>
                </a:lnTo>
                <a:lnTo>
                  <a:pt x="34" y="218"/>
                </a:lnTo>
                <a:lnTo>
                  <a:pt x="35" y="217"/>
                </a:lnTo>
                <a:lnTo>
                  <a:pt x="41" y="216"/>
                </a:lnTo>
                <a:lnTo>
                  <a:pt x="42" y="215"/>
                </a:lnTo>
                <a:lnTo>
                  <a:pt x="47" y="217"/>
                </a:lnTo>
                <a:lnTo>
                  <a:pt x="49" y="218"/>
                </a:lnTo>
                <a:lnTo>
                  <a:pt x="49" y="220"/>
                </a:lnTo>
                <a:lnTo>
                  <a:pt x="50" y="221"/>
                </a:lnTo>
                <a:lnTo>
                  <a:pt x="48" y="222"/>
                </a:lnTo>
                <a:lnTo>
                  <a:pt x="48" y="223"/>
                </a:lnTo>
                <a:lnTo>
                  <a:pt x="50" y="223"/>
                </a:lnTo>
                <a:lnTo>
                  <a:pt x="50" y="224"/>
                </a:lnTo>
                <a:lnTo>
                  <a:pt x="50" y="225"/>
                </a:lnTo>
                <a:lnTo>
                  <a:pt x="49" y="227"/>
                </a:lnTo>
                <a:lnTo>
                  <a:pt x="50" y="228"/>
                </a:lnTo>
                <a:lnTo>
                  <a:pt x="51" y="228"/>
                </a:lnTo>
                <a:lnTo>
                  <a:pt x="53" y="226"/>
                </a:lnTo>
                <a:lnTo>
                  <a:pt x="55" y="226"/>
                </a:lnTo>
                <a:lnTo>
                  <a:pt x="56" y="224"/>
                </a:lnTo>
                <a:lnTo>
                  <a:pt x="59" y="225"/>
                </a:lnTo>
                <a:lnTo>
                  <a:pt x="60" y="222"/>
                </a:lnTo>
                <a:lnTo>
                  <a:pt x="61" y="223"/>
                </a:lnTo>
                <a:lnTo>
                  <a:pt x="63" y="225"/>
                </a:lnTo>
                <a:lnTo>
                  <a:pt x="63" y="226"/>
                </a:lnTo>
                <a:lnTo>
                  <a:pt x="63" y="228"/>
                </a:lnTo>
                <a:lnTo>
                  <a:pt x="67" y="230"/>
                </a:lnTo>
                <a:lnTo>
                  <a:pt x="67" y="231"/>
                </a:lnTo>
                <a:lnTo>
                  <a:pt x="66" y="233"/>
                </a:lnTo>
                <a:lnTo>
                  <a:pt x="64" y="236"/>
                </a:lnTo>
                <a:lnTo>
                  <a:pt x="61" y="237"/>
                </a:lnTo>
                <a:lnTo>
                  <a:pt x="59" y="238"/>
                </a:lnTo>
                <a:lnTo>
                  <a:pt x="58" y="240"/>
                </a:lnTo>
                <a:lnTo>
                  <a:pt x="57" y="242"/>
                </a:lnTo>
                <a:lnTo>
                  <a:pt x="57" y="244"/>
                </a:lnTo>
                <a:lnTo>
                  <a:pt x="62" y="245"/>
                </a:lnTo>
                <a:lnTo>
                  <a:pt x="63" y="247"/>
                </a:lnTo>
                <a:lnTo>
                  <a:pt x="62" y="249"/>
                </a:lnTo>
                <a:lnTo>
                  <a:pt x="60" y="250"/>
                </a:lnTo>
                <a:lnTo>
                  <a:pt x="58" y="249"/>
                </a:lnTo>
                <a:lnTo>
                  <a:pt x="57" y="249"/>
                </a:lnTo>
                <a:lnTo>
                  <a:pt x="55" y="249"/>
                </a:lnTo>
                <a:lnTo>
                  <a:pt x="54" y="251"/>
                </a:lnTo>
                <a:lnTo>
                  <a:pt x="56" y="254"/>
                </a:lnTo>
                <a:lnTo>
                  <a:pt x="56" y="255"/>
                </a:lnTo>
                <a:lnTo>
                  <a:pt x="55" y="256"/>
                </a:lnTo>
                <a:lnTo>
                  <a:pt x="54" y="257"/>
                </a:lnTo>
                <a:lnTo>
                  <a:pt x="55" y="260"/>
                </a:lnTo>
                <a:lnTo>
                  <a:pt x="55" y="262"/>
                </a:lnTo>
                <a:lnTo>
                  <a:pt x="53" y="262"/>
                </a:lnTo>
                <a:lnTo>
                  <a:pt x="50" y="261"/>
                </a:lnTo>
                <a:lnTo>
                  <a:pt x="49" y="261"/>
                </a:lnTo>
                <a:lnTo>
                  <a:pt x="48" y="266"/>
                </a:lnTo>
                <a:lnTo>
                  <a:pt x="45" y="271"/>
                </a:lnTo>
                <a:lnTo>
                  <a:pt x="46" y="272"/>
                </a:lnTo>
                <a:lnTo>
                  <a:pt x="49" y="274"/>
                </a:lnTo>
                <a:lnTo>
                  <a:pt x="49" y="276"/>
                </a:lnTo>
                <a:lnTo>
                  <a:pt x="48" y="280"/>
                </a:lnTo>
                <a:lnTo>
                  <a:pt x="48" y="283"/>
                </a:lnTo>
                <a:lnTo>
                  <a:pt x="47" y="285"/>
                </a:lnTo>
                <a:lnTo>
                  <a:pt x="44" y="290"/>
                </a:lnTo>
                <a:lnTo>
                  <a:pt x="41" y="291"/>
                </a:lnTo>
                <a:lnTo>
                  <a:pt x="40" y="294"/>
                </a:lnTo>
                <a:lnTo>
                  <a:pt x="37" y="297"/>
                </a:lnTo>
                <a:lnTo>
                  <a:pt x="37" y="299"/>
                </a:lnTo>
                <a:lnTo>
                  <a:pt x="39" y="300"/>
                </a:lnTo>
                <a:lnTo>
                  <a:pt x="40" y="299"/>
                </a:lnTo>
                <a:lnTo>
                  <a:pt x="42" y="298"/>
                </a:lnTo>
                <a:lnTo>
                  <a:pt x="44" y="298"/>
                </a:lnTo>
                <a:lnTo>
                  <a:pt x="45" y="299"/>
                </a:lnTo>
                <a:lnTo>
                  <a:pt x="46" y="300"/>
                </a:lnTo>
                <a:lnTo>
                  <a:pt x="45" y="301"/>
                </a:lnTo>
                <a:lnTo>
                  <a:pt x="44" y="302"/>
                </a:lnTo>
                <a:lnTo>
                  <a:pt x="43" y="303"/>
                </a:lnTo>
                <a:lnTo>
                  <a:pt x="42" y="307"/>
                </a:lnTo>
                <a:lnTo>
                  <a:pt x="39" y="311"/>
                </a:lnTo>
                <a:lnTo>
                  <a:pt x="38" y="315"/>
                </a:lnTo>
                <a:lnTo>
                  <a:pt x="38" y="316"/>
                </a:lnTo>
                <a:lnTo>
                  <a:pt x="36" y="317"/>
                </a:lnTo>
                <a:lnTo>
                  <a:pt x="34" y="316"/>
                </a:lnTo>
                <a:lnTo>
                  <a:pt x="32" y="316"/>
                </a:lnTo>
                <a:lnTo>
                  <a:pt x="32" y="317"/>
                </a:lnTo>
                <a:lnTo>
                  <a:pt x="31" y="320"/>
                </a:lnTo>
                <a:lnTo>
                  <a:pt x="31" y="322"/>
                </a:lnTo>
                <a:lnTo>
                  <a:pt x="28" y="325"/>
                </a:lnTo>
                <a:lnTo>
                  <a:pt x="27" y="327"/>
                </a:lnTo>
                <a:lnTo>
                  <a:pt x="26" y="326"/>
                </a:lnTo>
                <a:lnTo>
                  <a:pt x="23" y="329"/>
                </a:lnTo>
                <a:lnTo>
                  <a:pt x="20" y="330"/>
                </a:lnTo>
                <a:lnTo>
                  <a:pt x="21" y="331"/>
                </a:lnTo>
                <a:lnTo>
                  <a:pt x="19" y="333"/>
                </a:lnTo>
                <a:lnTo>
                  <a:pt x="20" y="334"/>
                </a:lnTo>
                <a:lnTo>
                  <a:pt x="18" y="337"/>
                </a:lnTo>
                <a:lnTo>
                  <a:pt x="19" y="338"/>
                </a:lnTo>
                <a:lnTo>
                  <a:pt x="18" y="339"/>
                </a:lnTo>
                <a:lnTo>
                  <a:pt x="19" y="341"/>
                </a:lnTo>
                <a:lnTo>
                  <a:pt x="20" y="342"/>
                </a:lnTo>
                <a:lnTo>
                  <a:pt x="20" y="343"/>
                </a:lnTo>
                <a:lnTo>
                  <a:pt x="21" y="345"/>
                </a:lnTo>
                <a:lnTo>
                  <a:pt x="21" y="346"/>
                </a:lnTo>
                <a:lnTo>
                  <a:pt x="22" y="348"/>
                </a:lnTo>
                <a:lnTo>
                  <a:pt x="22" y="349"/>
                </a:lnTo>
                <a:lnTo>
                  <a:pt x="25" y="350"/>
                </a:lnTo>
                <a:lnTo>
                  <a:pt x="26" y="350"/>
                </a:lnTo>
                <a:lnTo>
                  <a:pt x="27" y="351"/>
                </a:lnTo>
                <a:lnTo>
                  <a:pt x="27" y="350"/>
                </a:lnTo>
                <a:lnTo>
                  <a:pt x="28" y="352"/>
                </a:lnTo>
                <a:lnTo>
                  <a:pt x="29" y="352"/>
                </a:lnTo>
                <a:lnTo>
                  <a:pt x="31" y="352"/>
                </a:lnTo>
                <a:lnTo>
                  <a:pt x="32" y="354"/>
                </a:lnTo>
                <a:lnTo>
                  <a:pt x="30" y="358"/>
                </a:lnTo>
                <a:lnTo>
                  <a:pt x="33" y="363"/>
                </a:lnTo>
                <a:lnTo>
                  <a:pt x="31" y="367"/>
                </a:lnTo>
                <a:lnTo>
                  <a:pt x="29" y="369"/>
                </a:lnTo>
                <a:lnTo>
                  <a:pt x="29" y="371"/>
                </a:lnTo>
                <a:lnTo>
                  <a:pt x="30" y="371"/>
                </a:lnTo>
                <a:lnTo>
                  <a:pt x="30" y="372"/>
                </a:lnTo>
                <a:lnTo>
                  <a:pt x="31" y="373"/>
                </a:lnTo>
                <a:lnTo>
                  <a:pt x="33" y="372"/>
                </a:lnTo>
                <a:lnTo>
                  <a:pt x="33" y="371"/>
                </a:lnTo>
                <a:lnTo>
                  <a:pt x="36" y="371"/>
                </a:lnTo>
                <a:lnTo>
                  <a:pt x="37" y="369"/>
                </a:lnTo>
                <a:lnTo>
                  <a:pt x="39" y="371"/>
                </a:lnTo>
                <a:lnTo>
                  <a:pt x="42" y="371"/>
                </a:lnTo>
                <a:lnTo>
                  <a:pt x="42" y="369"/>
                </a:lnTo>
                <a:lnTo>
                  <a:pt x="44" y="366"/>
                </a:lnTo>
                <a:lnTo>
                  <a:pt x="48" y="363"/>
                </a:lnTo>
                <a:lnTo>
                  <a:pt x="50" y="362"/>
                </a:lnTo>
                <a:lnTo>
                  <a:pt x="52" y="367"/>
                </a:lnTo>
                <a:lnTo>
                  <a:pt x="53" y="368"/>
                </a:lnTo>
                <a:lnTo>
                  <a:pt x="54" y="367"/>
                </a:lnTo>
                <a:lnTo>
                  <a:pt x="58" y="371"/>
                </a:lnTo>
                <a:lnTo>
                  <a:pt x="61" y="371"/>
                </a:lnTo>
                <a:lnTo>
                  <a:pt x="63" y="371"/>
                </a:lnTo>
                <a:lnTo>
                  <a:pt x="66" y="369"/>
                </a:lnTo>
                <a:lnTo>
                  <a:pt x="67" y="373"/>
                </a:lnTo>
                <a:lnTo>
                  <a:pt x="70" y="370"/>
                </a:lnTo>
                <a:lnTo>
                  <a:pt x="75" y="367"/>
                </a:lnTo>
                <a:lnTo>
                  <a:pt x="76" y="370"/>
                </a:lnTo>
                <a:lnTo>
                  <a:pt x="76" y="371"/>
                </a:lnTo>
                <a:lnTo>
                  <a:pt x="77" y="372"/>
                </a:lnTo>
                <a:lnTo>
                  <a:pt x="79" y="374"/>
                </a:lnTo>
                <a:lnTo>
                  <a:pt x="80" y="372"/>
                </a:lnTo>
                <a:lnTo>
                  <a:pt x="82" y="372"/>
                </a:lnTo>
                <a:lnTo>
                  <a:pt x="82" y="374"/>
                </a:lnTo>
                <a:lnTo>
                  <a:pt x="87" y="371"/>
                </a:lnTo>
                <a:lnTo>
                  <a:pt x="92" y="370"/>
                </a:lnTo>
                <a:lnTo>
                  <a:pt x="95" y="371"/>
                </a:lnTo>
                <a:lnTo>
                  <a:pt x="96" y="372"/>
                </a:lnTo>
                <a:lnTo>
                  <a:pt x="97" y="373"/>
                </a:lnTo>
                <a:lnTo>
                  <a:pt x="104" y="372"/>
                </a:lnTo>
                <a:lnTo>
                  <a:pt x="107" y="372"/>
                </a:lnTo>
                <a:lnTo>
                  <a:pt x="106" y="369"/>
                </a:lnTo>
                <a:lnTo>
                  <a:pt x="108" y="365"/>
                </a:lnTo>
                <a:lnTo>
                  <a:pt x="107" y="364"/>
                </a:lnTo>
                <a:lnTo>
                  <a:pt x="103" y="363"/>
                </a:lnTo>
                <a:lnTo>
                  <a:pt x="100" y="360"/>
                </a:lnTo>
                <a:lnTo>
                  <a:pt x="96" y="357"/>
                </a:lnTo>
                <a:lnTo>
                  <a:pt x="96" y="356"/>
                </a:lnTo>
                <a:lnTo>
                  <a:pt x="96" y="355"/>
                </a:lnTo>
                <a:lnTo>
                  <a:pt x="97" y="352"/>
                </a:lnTo>
                <a:lnTo>
                  <a:pt x="98" y="352"/>
                </a:lnTo>
                <a:lnTo>
                  <a:pt x="99" y="352"/>
                </a:lnTo>
                <a:lnTo>
                  <a:pt x="102" y="355"/>
                </a:lnTo>
                <a:lnTo>
                  <a:pt x="106" y="351"/>
                </a:lnTo>
                <a:lnTo>
                  <a:pt x="107" y="349"/>
                </a:lnTo>
                <a:lnTo>
                  <a:pt x="107" y="348"/>
                </a:lnTo>
                <a:lnTo>
                  <a:pt x="106" y="347"/>
                </a:lnTo>
                <a:lnTo>
                  <a:pt x="107" y="345"/>
                </a:lnTo>
                <a:lnTo>
                  <a:pt x="105" y="345"/>
                </a:lnTo>
                <a:lnTo>
                  <a:pt x="105" y="341"/>
                </a:lnTo>
                <a:lnTo>
                  <a:pt x="106" y="339"/>
                </a:lnTo>
                <a:lnTo>
                  <a:pt x="108" y="338"/>
                </a:lnTo>
                <a:lnTo>
                  <a:pt x="109" y="337"/>
                </a:lnTo>
                <a:lnTo>
                  <a:pt x="112" y="337"/>
                </a:lnTo>
                <a:lnTo>
                  <a:pt x="113" y="336"/>
                </a:lnTo>
                <a:lnTo>
                  <a:pt x="114" y="335"/>
                </a:lnTo>
                <a:lnTo>
                  <a:pt x="114" y="337"/>
                </a:lnTo>
                <a:lnTo>
                  <a:pt x="116" y="337"/>
                </a:lnTo>
                <a:lnTo>
                  <a:pt x="118" y="338"/>
                </a:lnTo>
                <a:lnTo>
                  <a:pt x="119" y="334"/>
                </a:lnTo>
                <a:lnTo>
                  <a:pt x="121" y="332"/>
                </a:lnTo>
                <a:lnTo>
                  <a:pt x="121" y="329"/>
                </a:lnTo>
                <a:lnTo>
                  <a:pt x="121" y="326"/>
                </a:lnTo>
                <a:lnTo>
                  <a:pt x="120" y="326"/>
                </a:lnTo>
                <a:lnTo>
                  <a:pt x="118" y="322"/>
                </a:lnTo>
                <a:lnTo>
                  <a:pt x="120" y="318"/>
                </a:lnTo>
                <a:lnTo>
                  <a:pt x="119" y="317"/>
                </a:lnTo>
                <a:lnTo>
                  <a:pt x="123" y="312"/>
                </a:lnTo>
                <a:lnTo>
                  <a:pt x="122" y="312"/>
                </a:lnTo>
                <a:lnTo>
                  <a:pt x="118" y="311"/>
                </a:lnTo>
                <a:lnTo>
                  <a:pt x="117" y="311"/>
                </a:lnTo>
                <a:lnTo>
                  <a:pt x="114" y="311"/>
                </a:lnTo>
                <a:lnTo>
                  <a:pt x="114" y="310"/>
                </a:lnTo>
                <a:lnTo>
                  <a:pt x="110" y="308"/>
                </a:lnTo>
                <a:lnTo>
                  <a:pt x="106" y="307"/>
                </a:lnTo>
                <a:lnTo>
                  <a:pt x="104" y="302"/>
                </a:lnTo>
                <a:lnTo>
                  <a:pt x="105" y="300"/>
                </a:lnTo>
                <a:lnTo>
                  <a:pt x="103" y="299"/>
                </a:lnTo>
                <a:lnTo>
                  <a:pt x="103" y="298"/>
                </a:lnTo>
                <a:lnTo>
                  <a:pt x="104" y="297"/>
                </a:lnTo>
                <a:lnTo>
                  <a:pt x="107" y="289"/>
                </a:lnTo>
                <a:lnTo>
                  <a:pt x="105" y="289"/>
                </a:lnTo>
                <a:lnTo>
                  <a:pt x="97" y="289"/>
                </a:lnTo>
                <a:lnTo>
                  <a:pt x="96" y="290"/>
                </a:lnTo>
                <a:lnTo>
                  <a:pt x="93" y="290"/>
                </a:lnTo>
                <a:lnTo>
                  <a:pt x="91" y="289"/>
                </a:lnTo>
                <a:lnTo>
                  <a:pt x="91" y="287"/>
                </a:lnTo>
                <a:lnTo>
                  <a:pt x="88" y="288"/>
                </a:lnTo>
                <a:lnTo>
                  <a:pt x="86" y="289"/>
                </a:lnTo>
                <a:lnTo>
                  <a:pt x="83" y="291"/>
                </a:lnTo>
                <a:lnTo>
                  <a:pt x="81" y="291"/>
                </a:lnTo>
                <a:lnTo>
                  <a:pt x="80" y="292"/>
                </a:lnTo>
                <a:lnTo>
                  <a:pt x="77" y="292"/>
                </a:lnTo>
                <a:lnTo>
                  <a:pt x="77" y="290"/>
                </a:lnTo>
                <a:lnTo>
                  <a:pt x="79" y="288"/>
                </a:lnTo>
                <a:lnTo>
                  <a:pt x="79" y="282"/>
                </a:lnTo>
                <a:lnTo>
                  <a:pt x="77" y="282"/>
                </a:lnTo>
                <a:lnTo>
                  <a:pt x="77" y="279"/>
                </a:lnTo>
                <a:lnTo>
                  <a:pt x="74" y="278"/>
                </a:lnTo>
                <a:lnTo>
                  <a:pt x="72" y="274"/>
                </a:lnTo>
                <a:lnTo>
                  <a:pt x="72" y="273"/>
                </a:lnTo>
                <a:lnTo>
                  <a:pt x="73" y="270"/>
                </a:lnTo>
                <a:lnTo>
                  <a:pt x="72" y="269"/>
                </a:lnTo>
                <a:lnTo>
                  <a:pt x="70" y="266"/>
                </a:lnTo>
                <a:lnTo>
                  <a:pt x="70" y="265"/>
                </a:lnTo>
                <a:lnTo>
                  <a:pt x="76" y="264"/>
                </a:lnTo>
                <a:lnTo>
                  <a:pt x="77" y="263"/>
                </a:lnTo>
                <a:lnTo>
                  <a:pt x="81" y="259"/>
                </a:lnTo>
                <a:lnTo>
                  <a:pt x="82" y="260"/>
                </a:lnTo>
                <a:lnTo>
                  <a:pt x="84" y="266"/>
                </a:lnTo>
                <a:lnTo>
                  <a:pt x="86" y="268"/>
                </a:lnTo>
                <a:lnTo>
                  <a:pt x="87" y="270"/>
                </a:lnTo>
                <a:lnTo>
                  <a:pt x="89" y="270"/>
                </a:lnTo>
                <a:lnTo>
                  <a:pt x="91" y="270"/>
                </a:lnTo>
                <a:lnTo>
                  <a:pt x="92" y="269"/>
                </a:lnTo>
                <a:lnTo>
                  <a:pt x="92" y="268"/>
                </a:lnTo>
                <a:lnTo>
                  <a:pt x="94" y="266"/>
                </a:lnTo>
                <a:lnTo>
                  <a:pt x="94" y="263"/>
                </a:lnTo>
                <a:lnTo>
                  <a:pt x="94" y="261"/>
                </a:lnTo>
                <a:lnTo>
                  <a:pt x="96" y="258"/>
                </a:lnTo>
                <a:lnTo>
                  <a:pt x="96" y="257"/>
                </a:lnTo>
                <a:lnTo>
                  <a:pt x="98" y="256"/>
                </a:lnTo>
                <a:lnTo>
                  <a:pt x="100" y="252"/>
                </a:lnTo>
                <a:lnTo>
                  <a:pt x="103" y="250"/>
                </a:lnTo>
                <a:lnTo>
                  <a:pt x="105" y="249"/>
                </a:lnTo>
                <a:lnTo>
                  <a:pt x="109" y="248"/>
                </a:lnTo>
                <a:lnTo>
                  <a:pt x="111" y="246"/>
                </a:lnTo>
                <a:lnTo>
                  <a:pt x="114" y="242"/>
                </a:lnTo>
                <a:lnTo>
                  <a:pt x="117" y="240"/>
                </a:lnTo>
                <a:lnTo>
                  <a:pt x="118" y="240"/>
                </a:lnTo>
                <a:lnTo>
                  <a:pt x="119" y="237"/>
                </a:lnTo>
                <a:lnTo>
                  <a:pt x="120" y="237"/>
                </a:lnTo>
                <a:lnTo>
                  <a:pt x="121" y="237"/>
                </a:lnTo>
                <a:lnTo>
                  <a:pt x="120" y="237"/>
                </a:lnTo>
                <a:lnTo>
                  <a:pt x="121" y="237"/>
                </a:lnTo>
                <a:lnTo>
                  <a:pt x="122" y="234"/>
                </a:lnTo>
                <a:lnTo>
                  <a:pt x="128" y="232"/>
                </a:lnTo>
                <a:lnTo>
                  <a:pt x="129" y="230"/>
                </a:lnTo>
                <a:lnTo>
                  <a:pt x="132" y="230"/>
                </a:lnTo>
                <a:lnTo>
                  <a:pt x="134" y="229"/>
                </a:lnTo>
                <a:lnTo>
                  <a:pt x="136" y="229"/>
                </a:lnTo>
                <a:lnTo>
                  <a:pt x="138" y="228"/>
                </a:lnTo>
                <a:lnTo>
                  <a:pt x="138" y="227"/>
                </a:lnTo>
                <a:lnTo>
                  <a:pt x="140" y="225"/>
                </a:lnTo>
                <a:lnTo>
                  <a:pt x="134" y="221"/>
                </a:lnTo>
                <a:lnTo>
                  <a:pt x="133" y="220"/>
                </a:lnTo>
                <a:lnTo>
                  <a:pt x="135" y="218"/>
                </a:lnTo>
                <a:lnTo>
                  <a:pt x="142" y="215"/>
                </a:lnTo>
                <a:lnTo>
                  <a:pt x="138" y="212"/>
                </a:lnTo>
                <a:lnTo>
                  <a:pt x="128" y="218"/>
                </a:lnTo>
                <a:lnTo>
                  <a:pt x="127" y="218"/>
                </a:lnTo>
                <a:lnTo>
                  <a:pt x="126" y="219"/>
                </a:lnTo>
                <a:lnTo>
                  <a:pt x="123" y="221"/>
                </a:lnTo>
                <a:lnTo>
                  <a:pt x="119" y="221"/>
                </a:lnTo>
                <a:lnTo>
                  <a:pt x="118" y="218"/>
                </a:lnTo>
                <a:lnTo>
                  <a:pt x="117" y="217"/>
                </a:lnTo>
                <a:lnTo>
                  <a:pt x="116" y="206"/>
                </a:lnTo>
                <a:lnTo>
                  <a:pt x="116" y="203"/>
                </a:lnTo>
                <a:lnTo>
                  <a:pt x="119" y="202"/>
                </a:lnTo>
                <a:lnTo>
                  <a:pt x="120" y="202"/>
                </a:lnTo>
                <a:lnTo>
                  <a:pt x="120" y="201"/>
                </a:lnTo>
                <a:lnTo>
                  <a:pt x="117" y="195"/>
                </a:lnTo>
                <a:lnTo>
                  <a:pt x="120" y="193"/>
                </a:lnTo>
                <a:lnTo>
                  <a:pt x="129" y="183"/>
                </a:lnTo>
                <a:lnTo>
                  <a:pt x="129" y="181"/>
                </a:lnTo>
                <a:lnTo>
                  <a:pt x="129" y="180"/>
                </a:lnTo>
                <a:lnTo>
                  <a:pt x="135" y="172"/>
                </a:lnTo>
                <a:lnTo>
                  <a:pt x="136" y="168"/>
                </a:lnTo>
                <a:lnTo>
                  <a:pt x="137" y="166"/>
                </a:lnTo>
                <a:lnTo>
                  <a:pt x="139" y="163"/>
                </a:lnTo>
                <a:lnTo>
                  <a:pt x="138" y="162"/>
                </a:lnTo>
                <a:lnTo>
                  <a:pt x="141" y="162"/>
                </a:lnTo>
                <a:lnTo>
                  <a:pt x="144" y="161"/>
                </a:lnTo>
                <a:lnTo>
                  <a:pt x="144" y="159"/>
                </a:lnTo>
                <a:lnTo>
                  <a:pt x="152" y="151"/>
                </a:lnTo>
                <a:lnTo>
                  <a:pt x="151" y="149"/>
                </a:lnTo>
                <a:lnTo>
                  <a:pt x="149" y="142"/>
                </a:lnTo>
                <a:lnTo>
                  <a:pt x="149" y="141"/>
                </a:lnTo>
                <a:lnTo>
                  <a:pt x="152" y="137"/>
                </a:lnTo>
                <a:lnTo>
                  <a:pt x="148" y="137"/>
                </a:lnTo>
                <a:lnTo>
                  <a:pt x="147" y="137"/>
                </a:lnTo>
                <a:lnTo>
                  <a:pt x="147" y="135"/>
                </a:lnTo>
                <a:lnTo>
                  <a:pt x="149" y="125"/>
                </a:lnTo>
                <a:lnTo>
                  <a:pt x="148" y="121"/>
                </a:lnTo>
                <a:lnTo>
                  <a:pt x="150" y="121"/>
                </a:lnTo>
                <a:lnTo>
                  <a:pt x="150" y="117"/>
                </a:lnTo>
                <a:lnTo>
                  <a:pt x="151" y="110"/>
                </a:lnTo>
                <a:lnTo>
                  <a:pt x="149" y="106"/>
                </a:lnTo>
                <a:lnTo>
                  <a:pt x="148" y="104"/>
                </a:lnTo>
                <a:lnTo>
                  <a:pt x="148" y="100"/>
                </a:lnTo>
                <a:lnTo>
                  <a:pt x="148" y="98"/>
                </a:lnTo>
                <a:lnTo>
                  <a:pt x="148" y="96"/>
                </a:lnTo>
                <a:lnTo>
                  <a:pt x="145" y="92"/>
                </a:lnTo>
                <a:lnTo>
                  <a:pt x="140" y="87"/>
                </a:lnTo>
                <a:lnTo>
                  <a:pt x="136" y="80"/>
                </a:lnTo>
                <a:lnTo>
                  <a:pt x="136" y="79"/>
                </a:lnTo>
                <a:lnTo>
                  <a:pt x="135" y="77"/>
                </a:lnTo>
                <a:lnTo>
                  <a:pt x="134" y="76"/>
                </a:lnTo>
                <a:lnTo>
                  <a:pt x="132" y="75"/>
                </a:lnTo>
                <a:lnTo>
                  <a:pt x="130" y="73"/>
                </a:lnTo>
                <a:lnTo>
                  <a:pt x="129" y="72"/>
                </a:lnTo>
                <a:lnTo>
                  <a:pt x="128" y="70"/>
                </a:lnTo>
                <a:lnTo>
                  <a:pt x="127" y="69"/>
                </a:lnTo>
                <a:lnTo>
                  <a:pt x="127" y="68"/>
                </a:lnTo>
                <a:lnTo>
                  <a:pt x="126" y="68"/>
                </a:lnTo>
                <a:lnTo>
                  <a:pt x="125" y="67"/>
                </a:lnTo>
                <a:lnTo>
                  <a:pt x="123" y="63"/>
                </a:lnTo>
                <a:lnTo>
                  <a:pt x="122" y="62"/>
                </a:lnTo>
                <a:lnTo>
                  <a:pt x="122" y="59"/>
                </a:lnTo>
                <a:lnTo>
                  <a:pt x="123" y="57"/>
                </a:lnTo>
                <a:lnTo>
                  <a:pt x="123" y="52"/>
                </a:lnTo>
                <a:lnTo>
                  <a:pt x="124" y="50"/>
                </a:lnTo>
                <a:lnTo>
                  <a:pt x="124" y="49"/>
                </a:lnTo>
                <a:lnTo>
                  <a:pt x="124" y="48"/>
                </a:lnTo>
                <a:lnTo>
                  <a:pt x="126" y="47"/>
                </a:lnTo>
                <a:lnTo>
                  <a:pt x="126" y="46"/>
                </a:lnTo>
                <a:lnTo>
                  <a:pt x="126" y="45"/>
                </a:lnTo>
                <a:lnTo>
                  <a:pt x="122" y="43"/>
                </a:lnTo>
                <a:lnTo>
                  <a:pt x="122" y="44"/>
                </a:lnTo>
                <a:lnTo>
                  <a:pt x="121" y="44"/>
                </a:lnTo>
                <a:lnTo>
                  <a:pt x="119" y="43"/>
                </a:lnTo>
                <a:lnTo>
                  <a:pt x="118" y="43"/>
                </a:lnTo>
                <a:lnTo>
                  <a:pt x="117" y="43"/>
                </a:lnTo>
                <a:lnTo>
                  <a:pt x="117" y="42"/>
                </a:lnTo>
                <a:lnTo>
                  <a:pt x="116" y="42"/>
                </a:lnTo>
                <a:lnTo>
                  <a:pt x="115" y="42"/>
                </a:lnTo>
                <a:lnTo>
                  <a:pt x="108" y="39"/>
                </a:lnTo>
                <a:lnTo>
                  <a:pt x="107" y="38"/>
                </a:lnTo>
                <a:lnTo>
                  <a:pt x="106" y="33"/>
                </a:lnTo>
                <a:lnTo>
                  <a:pt x="107" y="31"/>
                </a:lnTo>
                <a:lnTo>
                  <a:pt x="106" y="28"/>
                </a:lnTo>
                <a:lnTo>
                  <a:pt x="105" y="25"/>
                </a:lnTo>
                <a:lnTo>
                  <a:pt x="107" y="24"/>
                </a:lnTo>
                <a:lnTo>
                  <a:pt x="109" y="24"/>
                </a:lnTo>
                <a:lnTo>
                  <a:pt x="109" y="22"/>
                </a:lnTo>
                <a:lnTo>
                  <a:pt x="107" y="22"/>
                </a:lnTo>
                <a:lnTo>
                  <a:pt x="106" y="20"/>
                </a:lnTo>
                <a:lnTo>
                  <a:pt x="101" y="17"/>
                </a:lnTo>
                <a:lnTo>
                  <a:pt x="98" y="15"/>
                </a:lnTo>
                <a:lnTo>
                  <a:pt x="96" y="14"/>
                </a:lnTo>
                <a:lnTo>
                  <a:pt x="89" y="15"/>
                </a:lnTo>
                <a:lnTo>
                  <a:pt x="88" y="13"/>
                </a:lnTo>
                <a:lnTo>
                  <a:pt x="89" y="12"/>
                </a:lnTo>
                <a:lnTo>
                  <a:pt x="86" y="12"/>
                </a:lnTo>
                <a:lnTo>
                  <a:pt x="86" y="13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5" name="Freeform 26"/>
          <p:cNvSpPr>
            <a:spLocks/>
          </p:cNvSpPr>
          <p:nvPr/>
        </p:nvSpPr>
        <p:spPr bwMode="auto">
          <a:xfrm>
            <a:off x="3270250" y="3738563"/>
            <a:ext cx="1133475" cy="658812"/>
          </a:xfrm>
          <a:custGeom>
            <a:avLst/>
            <a:gdLst>
              <a:gd name="T0" fmla="*/ 2147483646 w 191"/>
              <a:gd name="T1" fmla="*/ 2147483646 h 131"/>
              <a:gd name="T2" fmla="*/ 2147483646 w 191"/>
              <a:gd name="T3" fmla="*/ 2147483646 h 131"/>
              <a:gd name="T4" fmla="*/ 2147483646 w 191"/>
              <a:gd name="T5" fmla="*/ 2147483646 h 131"/>
              <a:gd name="T6" fmla="*/ 2147483646 w 191"/>
              <a:gd name="T7" fmla="*/ 2147483646 h 131"/>
              <a:gd name="T8" fmla="*/ 2147483646 w 191"/>
              <a:gd name="T9" fmla="*/ 2147483646 h 131"/>
              <a:gd name="T10" fmla="*/ 2147483646 w 191"/>
              <a:gd name="T11" fmla="*/ 2147483646 h 131"/>
              <a:gd name="T12" fmla="*/ 2147483646 w 191"/>
              <a:gd name="T13" fmla="*/ 2147483646 h 131"/>
              <a:gd name="T14" fmla="*/ 2147483646 w 191"/>
              <a:gd name="T15" fmla="*/ 2147483646 h 131"/>
              <a:gd name="T16" fmla="*/ 2147483646 w 191"/>
              <a:gd name="T17" fmla="*/ 2147483646 h 131"/>
              <a:gd name="T18" fmla="*/ 2147483646 w 191"/>
              <a:gd name="T19" fmla="*/ 2147483646 h 131"/>
              <a:gd name="T20" fmla="*/ 2147483646 w 191"/>
              <a:gd name="T21" fmla="*/ 2147483646 h 131"/>
              <a:gd name="T22" fmla="*/ 2147483646 w 191"/>
              <a:gd name="T23" fmla="*/ 2147483646 h 131"/>
              <a:gd name="T24" fmla="*/ 2147483646 w 191"/>
              <a:gd name="T25" fmla="*/ 2147483646 h 131"/>
              <a:gd name="T26" fmla="*/ 2147483646 w 191"/>
              <a:gd name="T27" fmla="*/ 2147483646 h 131"/>
              <a:gd name="T28" fmla="*/ 2147483646 w 191"/>
              <a:gd name="T29" fmla="*/ 2147483646 h 131"/>
              <a:gd name="T30" fmla="*/ 2147483646 w 191"/>
              <a:gd name="T31" fmla="*/ 2147483646 h 131"/>
              <a:gd name="T32" fmla="*/ 2147483646 w 191"/>
              <a:gd name="T33" fmla="*/ 2147483646 h 131"/>
              <a:gd name="T34" fmla="*/ 2147483646 w 191"/>
              <a:gd name="T35" fmla="*/ 2147483646 h 131"/>
              <a:gd name="T36" fmla="*/ 2147483646 w 191"/>
              <a:gd name="T37" fmla="*/ 2147483646 h 131"/>
              <a:gd name="T38" fmla="*/ 2147483646 w 191"/>
              <a:gd name="T39" fmla="*/ 2147483646 h 131"/>
              <a:gd name="T40" fmla="*/ 2147483646 w 191"/>
              <a:gd name="T41" fmla="*/ 2147483646 h 131"/>
              <a:gd name="T42" fmla="*/ 2147483646 w 191"/>
              <a:gd name="T43" fmla="*/ 2147483646 h 131"/>
              <a:gd name="T44" fmla="*/ 2147483646 w 191"/>
              <a:gd name="T45" fmla="*/ 2147483646 h 131"/>
              <a:gd name="T46" fmla="*/ 2147483646 w 191"/>
              <a:gd name="T47" fmla="*/ 2147483646 h 131"/>
              <a:gd name="T48" fmla="*/ 2147483646 w 191"/>
              <a:gd name="T49" fmla="*/ 2147483646 h 131"/>
              <a:gd name="T50" fmla="*/ 2147483646 w 191"/>
              <a:gd name="T51" fmla="*/ 2147483646 h 131"/>
              <a:gd name="T52" fmla="*/ 2147483646 w 191"/>
              <a:gd name="T53" fmla="*/ 2147483646 h 131"/>
              <a:gd name="T54" fmla="*/ 2147483646 w 191"/>
              <a:gd name="T55" fmla="*/ 2147483646 h 131"/>
              <a:gd name="T56" fmla="*/ 2147483646 w 191"/>
              <a:gd name="T57" fmla="*/ 2147483646 h 131"/>
              <a:gd name="T58" fmla="*/ 2147483646 w 191"/>
              <a:gd name="T59" fmla="*/ 2147483646 h 131"/>
              <a:gd name="T60" fmla="*/ 2147483646 w 191"/>
              <a:gd name="T61" fmla="*/ 2147483646 h 131"/>
              <a:gd name="T62" fmla="*/ 2147483646 w 191"/>
              <a:gd name="T63" fmla="*/ 2147483646 h 131"/>
              <a:gd name="T64" fmla="*/ 2147483646 w 191"/>
              <a:gd name="T65" fmla="*/ 2147483646 h 131"/>
              <a:gd name="T66" fmla="*/ 2147483646 w 191"/>
              <a:gd name="T67" fmla="*/ 2147483646 h 131"/>
              <a:gd name="T68" fmla="*/ 2147483646 w 191"/>
              <a:gd name="T69" fmla="*/ 2147483646 h 131"/>
              <a:gd name="T70" fmla="*/ 2147483646 w 191"/>
              <a:gd name="T71" fmla="*/ 2147483646 h 131"/>
              <a:gd name="T72" fmla="*/ 2147483646 w 191"/>
              <a:gd name="T73" fmla="*/ 2147483646 h 131"/>
              <a:gd name="T74" fmla="*/ 2147483646 w 191"/>
              <a:gd name="T75" fmla="*/ 2147483646 h 131"/>
              <a:gd name="T76" fmla="*/ 2147483646 w 191"/>
              <a:gd name="T77" fmla="*/ 2147483646 h 131"/>
              <a:gd name="T78" fmla="*/ 2147483646 w 191"/>
              <a:gd name="T79" fmla="*/ 2147483646 h 131"/>
              <a:gd name="T80" fmla="*/ 2147483646 w 191"/>
              <a:gd name="T81" fmla="*/ 2147483646 h 131"/>
              <a:gd name="T82" fmla="*/ 2147483646 w 191"/>
              <a:gd name="T83" fmla="*/ 2147483646 h 131"/>
              <a:gd name="T84" fmla="*/ 2147483646 w 191"/>
              <a:gd name="T85" fmla="*/ 2147483646 h 131"/>
              <a:gd name="T86" fmla="*/ 2147483646 w 191"/>
              <a:gd name="T87" fmla="*/ 2147483646 h 131"/>
              <a:gd name="T88" fmla="*/ 2147483646 w 191"/>
              <a:gd name="T89" fmla="*/ 2147483646 h 131"/>
              <a:gd name="T90" fmla="*/ 2147483646 w 191"/>
              <a:gd name="T91" fmla="*/ 2147483646 h 131"/>
              <a:gd name="T92" fmla="*/ 2147483646 w 191"/>
              <a:gd name="T93" fmla="*/ 2147483646 h 131"/>
              <a:gd name="T94" fmla="*/ 2147483646 w 191"/>
              <a:gd name="T95" fmla="*/ 2147483646 h 131"/>
              <a:gd name="T96" fmla="*/ 2147483646 w 191"/>
              <a:gd name="T97" fmla="*/ 2147483646 h 131"/>
              <a:gd name="T98" fmla="*/ 2147483646 w 191"/>
              <a:gd name="T99" fmla="*/ 2147483646 h 131"/>
              <a:gd name="T100" fmla="*/ 2147483646 w 191"/>
              <a:gd name="T101" fmla="*/ 2147483646 h 131"/>
              <a:gd name="T102" fmla="*/ 2147483646 w 191"/>
              <a:gd name="T103" fmla="*/ 2147483646 h 131"/>
              <a:gd name="T104" fmla="*/ 2147483646 w 191"/>
              <a:gd name="T105" fmla="*/ 2147483646 h 131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191" h="131">
                <a:moveTo>
                  <a:pt x="191" y="118"/>
                </a:moveTo>
                <a:lnTo>
                  <a:pt x="188" y="115"/>
                </a:lnTo>
                <a:lnTo>
                  <a:pt x="187" y="111"/>
                </a:lnTo>
                <a:lnTo>
                  <a:pt x="186" y="110"/>
                </a:lnTo>
                <a:lnTo>
                  <a:pt x="183" y="108"/>
                </a:lnTo>
                <a:lnTo>
                  <a:pt x="182" y="106"/>
                </a:lnTo>
                <a:lnTo>
                  <a:pt x="180" y="103"/>
                </a:lnTo>
                <a:lnTo>
                  <a:pt x="180" y="96"/>
                </a:lnTo>
                <a:lnTo>
                  <a:pt x="176" y="94"/>
                </a:lnTo>
                <a:lnTo>
                  <a:pt x="175" y="91"/>
                </a:lnTo>
                <a:lnTo>
                  <a:pt x="176" y="86"/>
                </a:lnTo>
                <a:lnTo>
                  <a:pt x="176" y="78"/>
                </a:lnTo>
                <a:lnTo>
                  <a:pt x="175" y="79"/>
                </a:lnTo>
                <a:lnTo>
                  <a:pt x="174" y="72"/>
                </a:lnTo>
                <a:lnTo>
                  <a:pt x="173" y="71"/>
                </a:lnTo>
                <a:lnTo>
                  <a:pt x="172" y="71"/>
                </a:lnTo>
                <a:lnTo>
                  <a:pt x="170" y="72"/>
                </a:lnTo>
                <a:lnTo>
                  <a:pt x="170" y="74"/>
                </a:lnTo>
                <a:lnTo>
                  <a:pt x="171" y="74"/>
                </a:lnTo>
                <a:lnTo>
                  <a:pt x="171" y="77"/>
                </a:lnTo>
                <a:lnTo>
                  <a:pt x="169" y="77"/>
                </a:lnTo>
                <a:lnTo>
                  <a:pt x="169" y="78"/>
                </a:lnTo>
                <a:lnTo>
                  <a:pt x="170" y="79"/>
                </a:lnTo>
                <a:lnTo>
                  <a:pt x="168" y="81"/>
                </a:lnTo>
                <a:lnTo>
                  <a:pt x="165" y="81"/>
                </a:lnTo>
                <a:lnTo>
                  <a:pt x="164" y="83"/>
                </a:lnTo>
                <a:lnTo>
                  <a:pt x="157" y="84"/>
                </a:lnTo>
                <a:lnTo>
                  <a:pt x="154" y="80"/>
                </a:lnTo>
                <a:lnTo>
                  <a:pt x="156" y="77"/>
                </a:lnTo>
                <a:lnTo>
                  <a:pt x="157" y="77"/>
                </a:lnTo>
                <a:lnTo>
                  <a:pt x="159" y="75"/>
                </a:lnTo>
                <a:lnTo>
                  <a:pt x="159" y="71"/>
                </a:lnTo>
                <a:lnTo>
                  <a:pt x="161" y="70"/>
                </a:lnTo>
                <a:lnTo>
                  <a:pt x="160" y="69"/>
                </a:lnTo>
                <a:lnTo>
                  <a:pt x="160" y="68"/>
                </a:lnTo>
                <a:lnTo>
                  <a:pt x="164" y="67"/>
                </a:lnTo>
                <a:lnTo>
                  <a:pt x="163" y="66"/>
                </a:lnTo>
                <a:lnTo>
                  <a:pt x="161" y="66"/>
                </a:lnTo>
                <a:lnTo>
                  <a:pt x="162" y="63"/>
                </a:lnTo>
                <a:lnTo>
                  <a:pt x="164" y="62"/>
                </a:lnTo>
                <a:lnTo>
                  <a:pt x="165" y="61"/>
                </a:lnTo>
                <a:lnTo>
                  <a:pt x="163" y="59"/>
                </a:lnTo>
                <a:lnTo>
                  <a:pt x="162" y="58"/>
                </a:lnTo>
                <a:lnTo>
                  <a:pt x="162" y="56"/>
                </a:lnTo>
                <a:lnTo>
                  <a:pt x="158" y="55"/>
                </a:lnTo>
                <a:lnTo>
                  <a:pt x="158" y="52"/>
                </a:lnTo>
                <a:lnTo>
                  <a:pt x="156" y="51"/>
                </a:lnTo>
                <a:lnTo>
                  <a:pt x="153" y="50"/>
                </a:lnTo>
                <a:lnTo>
                  <a:pt x="150" y="49"/>
                </a:lnTo>
                <a:lnTo>
                  <a:pt x="145" y="48"/>
                </a:lnTo>
                <a:lnTo>
                  <a:pt x="147" y="45"/>
                </a:lnTo>
                <a:lnTo>
                  <a:pt x="148" y="42"/>
                </a:lnTo>
                <a:lnTo>
                  <a:pt x="149" y="39"/>
                </a:lnTo>
                <a:lnTo>
                  <a:pt x="138" y="30"/>
                </a:lnTo>
                <a:lnTo>
                  <a:pt x="141" y="18"/>
                </a:lnTo>
                <a:lnTo>
                  <a:pt x="140" y="17"/>
                </a:lnTo>
                <a:lnTo>
                  <a:pt x="138" y="15"/>
                </a:lnTo>
                <a:lnTo>
                  <a:pt x="136" y="15"/>
                </a:lnTo>
                <a:lnTo>
                  <a:pt x="136" y="13"/>
                </a:lnTo>
                <a:lnTo>
                  <a:pt x="134" y="11"/>
                </a:lnTo>
                <a:lnTo>
                  <a:pt x="132" y="11"/>
                </a:lnTo>
                <a:lnTo>
                  <a:pt x="127" y="10"/>
                </a:lnTo>
                <a:lnTo>
                  <a:pt x="123" y="10"/>
                </a:lnTo>
                <a:lnTo>
                  <a:pt x="111" y="8"/>
                </a:lnTo>
                <a:lnTo>
                  <a:pt x="101" y="28"/>
                </a:lnTo>
                <a:lnTo>
                  <a:pt x="99" y="34"/>
                </a:lnTo>
                <a:lnTo>
                  <a:pt x="94" y="45"/>
                </a:lnTo>
                <a:lnTo>
                  <a:pt x="79" y="44"/>
                </a:lnTo>
                <a:lnTo>
                  <a:pt x="80" y="42"/>
                </a:lnTo>
                <a:lnTo>
                  <a:pt x="84" y="38"/>
                </a:lnTo>
                <a:lnTo>
                  <a:pt x="84" y="36"/>
                </a:lnTo>
                <a:lnTo>
                  <a:pt x="82" y="34"/>
                </a:lnTo>
                <a:lnTo>
                  <a:pt x="80" y="30"/>
                </a:lnTo>
                <a:lnTo>
                  <a:pt x="69" y="32"/>
                </a:lnTo>
                <a:lnTo>
                  <a:pt x="67" y="31"/>
                </a:lnTo>
                <a:lnTo>
                  <a:pt x="61" y="29"/>
                </a:lnTo>
                <a:lnTo>
                  <a:pt x="61" y="26"/>
                </a:lnTo>
                <a:lnTo>
                  <a:pt x="65" y="24"/>
                </a:lnTo>
                <a:lnTo>
                  <a:pt x="61" y="22"/>
                </a:lnTo>
                <a:lnTo>
                  <a:pt x="61" y="19"/>
                </a:lnTo>
                <a:lnTo>
                  <a:pt x="62" y="18"/>
                </a:lnTo>
                <a:lnTo>
                  <a:pt x="61" y="16"/>
                </a:lnTo>
                <a:lnTo>
                  <a:pt x="59" y="17"/>
                </a:lnTo>
                <a:lnTo>
                  <a:pt x="59" y="16"/>
                </a:lnTo>
                <a:lnTo>
                  <a:pt x="58" y="14"/>
                </a:lnTo>
                <a:lnTo>
                  <a:pt x="58" y="11"/>
                </a:lnTo>
                <a:lnTo>
                  <a:pt x="58" y="10"/>
                </a:lnTo>
                <a:lnTo>
                  <a:pt x="60" y="10"/>
                </a:lnTo>
                <a:lnTo>
                  <a:pt x="61" y="9"/>
                </a:lnTo>
                <a:lnTo>
                  <a:pt x="63" y="9"/>
                </a:lnTo>
                <a:lnTo>
                  <a:pt x="63" y="8"/>
                </a:lnTo>
                <a:lnTo>
                  <a:pt x="65" y="7"/>
                </a:lnTo>
                <a:lnTo>
                  <a:pt x="66" y="7"/>
                </a:lnTo>
                <a:lnTo>
                  <a:pt x="65" y="5"/>
                </a:lnTo>
                <a:lnTo>
                  <a:pt x="64" y="5"/>
                </a:lnTo>
                <a:lnTo>
                  <a:pt x="62" y="7"/>
                </a:lnTo>
                <a:lnTo>
                  <a:pt x="59" y="5"/>
                </a:lnTo>
                <a:lnTo>
                  <a:pt x="58" y="5"/>
                </a:lnTo>
                <a:lnTo>
                  <a:pt x="57" y="7"/>
                </a:lnTo>
                <a:lnTo>
                  <a:pt x="57" y="0"/>
                </a:lnTo>
                <a:lnTo>
                  <a:pt x="55" y="0"/>
                </a:lnTo>
                <a:lnTo>
                  <a:pt x="54" y="3"/>
                </a:lnTo>
                <a:lnTo>
                  <a:pt x="53" y="4"/>
                </a:lnTo>
                <a:lnTo>
                  <a:pt x="48" y="4"/>
                </a:lnTo>
                <a:lnTo>
                  <a:pt x="46" y="6"/>
                </a:lnTo>
                <a:lnTo>
                  <a:pt x="44" y="8"/>
                </a:lnTo>
                <a:lnTo>
                  <a:pt x="36" y="8"/>
                </a:lnTo>
                <a:lnTo>
                  <a:pt x="36" y="10"/>
                </a:lnTo>
                <a:lnTo>
                  <a:pt x="35" y="12"/>
                </a:lnTo>
                <a:lnTo>
                  <a:pt x="34" y="14"/>
                </a:lnTo>
                <a:lnTo>
                  <a:pt x="34" y="16"/>
                </a:lnTo>
                <a:lnTo>
                  <a:pt x="31" y="18"/>
                </a:lnTo>
                <a:lnTo>
                  <a:pt x="28" y="18"/>
                </a:lnTo>
                <a:lnTo>
                  <a:pt x="25" y="18"/>
                </a:lnTo>
                <a:lnTo>
                  <a:pt x="23" y="18"/>
                </a:lnTo>
                <a:lnTo>
                  <a:pt x="20" y="20"/>
                </a:lnTo>
                <a:lnTo>
                  <a:pt x="18" y="22"/>
                </a:lnTo>
                <a:lnTo>
                  <a:pt x="16" y="25"/>
                </a:lnTo>
                <a:lnTo>
                  <a:pt x="14" y="26"/>
                </a:lnTo>
                <a:lnTo>
                  <a:pt x="12" y="27"/>
                </a:lnTo>
                <a:lnTo>
                  <a:pt x="3" y="26"/>
                </a:lnTo>
                <a:lnTo>
                  <a:pt x="0" y="29"/>
                </a:lnTo>
                <a:lnTo>
                  <a:pt x="4" y="37"/>
                </a:lnTo>
                <a:lnTo>
                  <a:pt x="7" y="36"/>
                </a:lnTo>
                <a:lnTo>
                  <a:pt x="11" y="36"/>
                </a:lnTo>
                <a:lnTo>
                  <a:pt x="16" y="43"/>
                </a:lnTo>
                <a:lnTo>
                  <a:pt x="20" y="45"/>
                </a:lnTo>
                <a:lnTo>
                  <a:pt x="29" y="51"/>
                </a:lnTo>
                <a:lnTo>
                  <a:pt x="23" y="53"/>
                </a:lnTo>
                <a:lnTo>
                  <a:pt x="24" y="59"/>
                </a:lnTo>
                <a:lnTo>
                  <a:pt x="24" y="60"/>
                </a:lnTo>
                <a:lnTo>
                  <a:pt x="21" y="62"/>
                </a:lnTo>
                <a:lnTo>
                  <a:pt x="20" y="61"/>
                </a:lnTo>
                <a:lnTo>
                  <a:pt x="21" y="60"/>
                </a:lnTo>
                <a:lnTo>
                  <a:pt x="18" y="58"/>
                </a:lnTo>
                <a:lnTo>
                  <a:pt x="17" y="58"/>
                </a:lnTo>
                <a:lnTo>
                  <a:pt x="16" y="57"/>
                </a:lnTo>
                <a:lnTo>
                  <a:pt x="12" y="59"/>
                </a:lnTo>
                <a:lnTo>
                  <a:pt x="11" y="58"/>
                </a:lnTo>
                <a:lnTo>
                  <a:pt x="10" y="59"/>
                </a:lnTo>
                <a:lnTo>
                  <a:pt x="10" y="60"/>
                </a:lnTo>
                <a:lnTo>
                  <a:pt x="9" y="63"/>
                </a:lnTo>
                <a:lnTo>
                  <a:pt x="7" y="64"/>
                </a:lnTo>
                <a:lnTo>
                  <a:pt x="12" y="69"/>
                </a:lnTo>
                <a:lnTo>
                  <a:pt x="13" y="70"/>
                </a:lnTo>
                <a:lnTo>
                  <a:pt x="14" y="82"/>
                </a:lnTo>
                <a:lnTo>
                  <a:pt x="15" y="85"/>
                </a:lnTo>
                <a:lnTo>
                  <a:pt x="24" y="84"/>
                </a:lnTo>
                <a:lnTo>
                  <a:pt x="20" y="88"/>
                </a:lnTo>
                <a:lnTo>
                  <a:pt x="15" y="90"/>
                </a:lnTo>
                <a:lnTo>
                  <a:pt x="12" y="95"/>
                </a:lnTo>
                <a:lnTo>
                  <a:pt x="11" y="97"/>
                </a:lnTo>
                <a:lnTo>
                  <a:pt x="10" y="97"/>
                </a:lnTo>
                <a:lnTo>
                  <a:pt x="9" y="100"/>
                </a:lnTo>
                <a:lnTo>
                  <a:pt x="8" y="101"/>
                </a:lnTo>
                <a:lnTo>
                  <a:pt x="9" y="104"/>
                </a:lnTo>
                <a:lnTo>
                  <a:pt x="11" y="103"/>
                </a:lnTo>
                <a:lnTo>
                  <a:pt x="16" y="103"/>
                </a:lnTo>
                <a:lnTo>
                  <a:pt x="19" y="102"/>
                </a:lnTo>
                <a:lnTo>
                  <a:pt x="20" y="106"/>
                </a:lnTo>
                <a:lnTo>
                  <a:pt x="16" y="108"/>
                </a:lnTo>
                <a:lnTo>
                  <a:pt x="12" y="109"/>
                </a:lnTo>
                <a:lnTo>
                  <a:pt x="18" y="118"/>
                </a:lnTo>
                <a:lnTo>
                  <a:pt x="19" y="118"/>
                </a:lnTo>
                <a:lnTo>
                  <a:pt x="22" y="122"/>
                </a:lnTo>
                <a:lnTo>
                  <a:pt x="25" y="130"/>
                </a:lnTo>
                <a:lnTo>
                  <a:pt x="28" y="131"/>
                </a:lnTo>
                <a:lnTo>
                  <a:pt x="32" y="130"/>
                </a:lnTo>
                <a:lnTo>
                  <a:pt x="35" y="129"/>
                </a:lnTo>
                <a:lnTo>
                  <a:pt x="38" y="123"/>
                </a:lnTo>
                <a:lnTo>
                  <a:pt x="41" y="122"/>
                </a:lnTo>
                <a:lnTo>
                  <a:pt x="42" y="123"/>
                </a:lnTo>
                <a:lnTo>
                  <a:pt x="46" y="123"/>
                </a:lnTo>
                <a:lnTo>
                  <a:pt x="48" y="121"/>
                </a:lnTo>
                <a:lnTo>
                  <a:pt x="50" y="118"/>
                </a:lnTo>
                <a:lnTo>
                  <a:pt x="52" y="117"/>
                </a:lnTo>
                <a:lnTo>
                  <a:pt x="55" y="118"/>
                </a:lnTo>
                <a:lnTo>
                  <a:pt x="59" y="120"/>
                </a:lnTo>
                <a:lnTo>
                  <a:pt x="61" y="120"/>
                </a:lnTo>
                <a:lnTo>
                  <a:pt x="61" y="117"/>
                </a:lnTo>
                <a:lnTo>
                  <a:pt x="66" y="113"/>
                </a:lnTo>
                <a:lnTo>
                  <a:pt x="67" y="112"/>
                </a:lnTo>
                <a:lnTo>
                  <a:pt x="71" y="109"/>
                </a:lnTo>
                <a:lnTo>
                  <a:pt x="75" y="108"/>
                </a:lnTo>
                <a:lnTo>
                  <a:pt x="79" y="109"/>
                </a:lnTo>
                <a:lnTo>
                  <a:pt x="82" y="112"/>
                </a:lnTo>
                <a:lnTo>
                  <a:pt x="85" y="116"/>
                </a:lnTo>
                <a:lnTo>
                  <a:pt x="88" y="119"/>
                </a:lnTo>
                <a:lnTo>
                  <a:pt x="92" y="121"/>
                </a:lnTo>
                <a:lnTo>
                  <a:pt x="97" y="124"/>
                </a:lnTo>
                <a:lnTo>
                  <a:pt x="100" y="123"/>
                </a:lnTo>
                <a:lnTo>
                  <a:pt x="104" y="118"/>
                </a:lnTo>
                <a:lnTo>
                  <a:pt x="107" y="117"/>
                </a:lnTo>
                <a:lnTo>
                  <a:pt x="112" y="120"/>
                </a:lnTo>
                <a:lnTo>
                  <a:pt x="121" y="125"/>
                </a:lnTo>
                <a:lnTo>
                  <a:pt x="125" y="125"/>
                </a:lnTo>
                <a:lnTo>
                  <a:pt x="128" y="124"/>
                </a:lnTo>
                <a:lnTo>
                  <a:pt x="129" y="122"/>
                </a:lnTo>
                <a:lnTo>
                  <a:pt x="133" y="120"/>
                </a:lnTo>
                <a:lnTo>
                  <a:pt x="139" y="120"/>
                </a:lnTo>
                <a:lnTo>
                  <a:pt x="144" y="118"/>
                </a:lnTo>
                <a:lnTo>
                  <a:pt x="147" y="116"/>
                </a:lnTo>
                <a:lnTo>
                  <a:pt x="151" y="114"/>
                </a:lnTo>
                <a:lnTo>
                  <a:pt x="159" y="115"/>
                </a:lnTo>
                <a:lnTo>
                  <a:pt x="164" y="117"/>
                </a:lnTo>
                <a:lnTo>
                  <a:pt x="172" y="121"/>
                </a:lnTo>
                <a:lnTo>
                  <a:pt x="181" y="126"/>
                </a:lnTo>
                <a:lnTo>
                  <a:pt x="186" y="128"/>
                </a:lnTo>
                <a:lnTo>
                  <a:pt x="190" y="125"/>
                </a:lnTo>
                <a:lnTo>
                  <a:pt x="189" y="122"/>
                </a:lnTo>
                <a:lnTo>
                  <a:pt x="191" y="118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6" name="Freeform 27"/>
          <p:cNvSpPr>
            <a:spLocks/>
          </p:cNvSpPr>
          <p:nvPr/>
        </p:nvSpPr>
        <p:spPr bwMode="auto">
          <a:xfrm>
            <a:off x="4392613" y="1603375"/>
            <a:ext cx="452437" cy="77788"/>
          </a:xfrm>
          <a:custGeom>
            <a:avLst/>
            <a:gdLst>
              <a:gd name="T0" fmla="*/ 2147483646 w 77"/>
              <a:gd name="T1" fmla="*/ 2147483646 h 16"/>
              <a:gd name="T2" fmla="*/ 2147483646 w 77"/>
              <a:gd name="T3" fmla="*/ 2147483646 h 16"/>
              <a:gd name="T4" fmla="*/ 2147483646 w 77"/>
              <a:gd name="T5" fmla="*/ 2147483646 h 16"/>
              <a:gd name="T6" fmla="*/ 2147483646 w 77"/>
              <a:gd name="T7" fmla="*/ 2147483646 h 16"/>
              <a:gd name="T8" fmla="*/ 2147483646 w 77"/>
              <a:gd name="T9" fmla="*/ 2147483646 h 16"/>
              <a:gd name="T10" fmla="*/ 2147483646 w 77"/>
              <a:gd name="T11" fmla="*/ 2147483646 h 16"/>
              <a:gd name="T12" fmla="*/ 2147483646 w 77"/>
              <a:gd name="T13" fmla="*/ 2147483646 h 16"/>
              <a:gd name="T14" fmla="*/ 2147483646 w 77"/>
              <a:gd name="T15" fmla="*/ 2147483646 h 16"/>
              <a:gd name="T16" fmla="*/ 2147483646 w 77"/>
              <a:gd name="T17" fmla="*/ 2147483646 h 16"/>
              <a:gd name="T18" fmla="*/ 2147483646 w 77"/>
              <a:gd name="T19" fmla="*/ 2147483646 h 16"/>
              <a:gd name="T20" fmla="*/ 2147483646 w 77"/>
              <a:gd name="T21" fmla="*/ 2147483646 h 16"/>
              <a:gd name="T22" fmla="*/ 2147483646 w 77"/>
              <a:gd name="T23" fmla="*/ 2147483646 h 16"/>
              <a:gd name="T24" fmla="*/ 2147483646 w 77"/>
              <a:gd name="T25" fmla="*/ 2147483646 h 16"/>
              <a:gd name="T26" fmla="*/ 2147483646 w 77"/>
              <a:gd name="T27" fmla="*/ 2147483646 h 16"/>
              <a:gd name="T28" fmla="*/ 2147483646 w 77"/>
              <a:gd name="T29" fmla="*/ 2147483646 h 16"/>
              <a:gd name="T30" fmla="*/ 2147483646 w 77"/>
              <a:gd name="T31" fmla="*/ 2147483646 h 16"/>
              <a:gd name="T32" fmla="*/ 2147483646 w 77"/>
              <a:gd name="T33" fmla="*/ 2147483646 h 16"/>
              <a:gd name="T34" fmla="*/ 2147483646 w 77"/>
              <a:gd name="T35" fmla="*/ 2147483646 h 16"/>
              <a:gd name="T36" fmla="*/ 2147483646 w 77"/>
              <a:gd name="T37" fmla="*/ 2147483646 h 16"/>
              <a:gd name="T38" fmla="*/ 2147483646 w 77"/>
              <a:gd name="T39" fmla="*/ 2147483646 h 16"/>
              <a:gd name="T40" fmla="*/ 2147483646 w 77"/>
              <a:gd name="T41" fmla="*/ 2147483646 h 16"/>
              <a:gd name="T42" fmla="*/ 2147483646 w 77"/>
              <a:gd name="T43" fmla="*/ 0 h 16"/>
              <a:gd name="T44" fmla="*/ 2147483646 w 77"/>
              <a:gd name="T45" fmla="*/ 0 h 16"/>
              <a:gd name="T46" fmla="*/ 2147483646 w 77"/>
              <a:gd name="T47" fmla="*/ 2147483646 h 16"/>
              <a:gd name="T48" fmla="*/ 2147483646 w 77"/>
              <a:gd name="T49" fmla="*/ 2147483646 h 16"/>
              <a:gd name="T50" fmla="*/ 2147483646 w 77"/>
              <a:gd name="T51" fmla="*/ 2147483646 h 16"/>
              <a:gd name="T52" fmla="*/ 2147483646 w 77"/>
              <a:gd name="T53" fmla="*/ 0 h 16"/>
              <a:gd name="T54" fmla="*/ 2147483646 w 77"/>
              <a:gd name="T55" fmla="*/ 2147483646 h 16"/>
              <a:gd name="T56" fmla="*/ 2147483646 w 77"/>
              <a:gd name="T57" fmla="*/ 2147483646 h 16"/>
              <a:gd name="T58" fmla="*/ 2147483646 w 77"/>
              <a:gd name="T59" fmla="*/ 2147483646 h 16"/>
              <a:gd name="T60" fmla="*/ 0 w 77"/>
              <a:gd name="T61" fmla="*/ 2147483646 h 16"/>
              <a:gd name="T62" fmla="*/ 2147483646 w 77"/>
              <a:gd name="T63" fmla="*/ 2147483646 h 1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0" t="0" r="r" b="b"/>
            <a:pathLst>
              <a:path w="77" h="16">
                <a:moveTo>
                  <a:pt x="1" y="10"/>
                </a:moveTo>
                <a:lnTo>
                  <a:pt x="4" y="14"/>
                </a:lnTo>
                <a:lnTo>
                  <a:pt x="8" y="16"/>
                </a:lnTo>
                <a:lnTo>
                  <a:pt x="14" y="16"/>
                </a:lnTo>
                <a:lnTo>
                  <a:pt x="16" y="16"/>
                </a:lnTo>
                <a:lnTo>
                  <a:pt x="17" y="15"/>
                </a:lnTo>
                <a:lnTo>
                  <a:pt x="20" y="14"/>
                </a:lnTo>
                <a:lnTo>
                  <a:pt x="19" y="14"/>
                </a:lnTo>
                <a:lnTo>
                  <a:pt x="22" y="12"/>
                </a:lnTo>
                <a:lnTo>
                  <a:pt x="23" y="10"/>
                </a:lnTo>
                <a:lnTo>
                  <a:pt x="25" y="10"/>
                </a:lnTo>
                <a:lnTo>
                  <a:pt x="33" y="10"/>
                </a:lnTo>
                <a:lnTo>
                  <a:pt x="35" y="11"/>
                </a:lnTo>
                <a:lnTo>
                  <a:pt x="42" y="11"/>
                </a:lnTo>
                <a:lnTo>
                  <a:pt x="56" y="7"/>
                </a:lnTo>
                <a:lnTo>
                  <a:pt x="60" y="6"/>
                </a:lnTo>
                <a:lnTo>
                  <a:pt x="61" y="5"/>
                </a:lnTo>
                <a:lnTo>
                  <a:pt x="62" y="5"/>
                </a:lnTo>
                <a:lnTo>
                  <a:pt x="65" y="4"/>
                </a:lnTo>
                <a:lnTo>
                  <a:pt x="74" y="4"/>
                </a:lnTo>
                <a:lnTo>
                  <a:pt x="77" y="2"/>
                </a:lnTo>
                <a:lnTo>
                  <a:pt x="74" y="0"/>
                </a:lnTo>
                <a:lnTo>
                  <a:pt x="66" y="0"/>
                </a:lnTo>
                <a:lnTo>
                  <a:pt x="35" y="3"/>
                </a:lnTo>
                <a:lnTo>
                  <a:pt x="24" y="3"/>
                </a:lnTo>
                <a:lnTo>
                  <a:pt x="18" y="3"/>
                </a:lnTo>
                <a:lnTo>
                  <a:pt x="4" y="0"/>
                </a:lnTo>
                <a:lnTo>
                  <a:pt x="1" y="2"/>
                </a:lnTo>
                <a:lnTo>
                  <a:pt x="1" y="4"/>
                </a:lnTo>
                <a:lnTo>
                  <a:pt x="1" y="6"/>
                </a:lnTo>
                <a:lnTo>
                  <a:pt x="0" y="8"/>
                </a:lnTo>
                <a:lnTo>
                  <a:pt x="1" y="10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7" name="Freeform 28"/>
          <p:cNvSpPr>
            <a:spLocks/>
          </p:cNvSpPr>
          <p:nvPr/>
        </p:nvSpPr>
        <p:spPr bwMode="auto">
          <a:xfrm>
            <a:off x="3805238" y="1631950"/>
            <a:ext cx="538162" cy="203200"/>
          </a:xfrm>
          <a:custGeom>
            <a:avLst/>
            <a:gdLst>
              <a:gd name="T0" fmla="*/ 2147483646 w 91"/>
              <a:gd name="T1" fmla="*/ 2147483646 h 40"/>
              <a:gd name="T2" fmla="*/ 2147483646 w 91"/>
              <a:gd name="T3" fmla="*/ 2147483646 h 40"/>
              <a:gd name="T4" fmla="*/ 2147483646 w 91"/>
              <a:gd name="T5" fmla="*/ 2147483646 h 40"/>
              <a:gd name="T6" fmla="*/ 2147483646 w 91"/>
              <a:gd name="T7" fmla="*/ 2147483646 h 40"/>
              <a:gd name="T8" fmla="*/ 2147483646 w 91"/>
              <a:gd name="T9" fmla="*/ 2147483646 h 40"/>
              <a:gd name="T10" fmla="*/ 2147483646 w 91"/>
              <a:gd name="T11" fmla="*/ 2147483646 h 40"/>
              <a:gd name="T12" fmla="*/ 2147483646 w 91"/>
              <a:gd name="T13" fmla="*/ 2147483646 h 40"/>
              <a:gd name="T14" fmla="*/ 2147483646 w 91"/>
              <a:gd name="T15" fmla="*/ 2147483646 h 40"/>
              <a:gd name="T16" fmla="*/ 2147483646 w 91"/>
              <a:gd name="T17" fmla="*/ 2147483646 h 40"/>
              <a:gd name="T18" fmla="*/ 2147483646 w 91"/>
              <a:gd name="T19" fmla="*/ 2147483646 h 40"/>
              <a:gd name="T20" fmla="*/ 2147483646 w 91"/>
              <a:gd name="T21" fmla="*/ 2147483646 h 40"/>
              <a:gd name="T22" fmla="*/ 2147483646 w 91"/>
              <a:gd name="T23" fmla="*/ 2147483646 h 40"/>
              <a:gd name="T24" fmla="*/ 2147483646 w 91"/>
              <a:gd name="T25" fmla="*/ 2147483646 h 40"/>
              <a:gd name="T26" fmla="*/ 2147483646 w 91"/>
              <a:gd name="T27" fmla="*/ 2147483646 h 40"/>
              <a:gd name="T28" fmla="*/ 2147483646 w 91"/>
              <a:gd name="T29" fmla="*/ 2147483646 h 40"/>
              <a:gd name="T30" fmla="*/ 2147483646 w 91"/>
              <a:gd name="T31" fmla="*/ 2147483646 h 40"/>
              <a:gd name="T32" fmla="*/ 2147483646 w 91"/>
              <a:gd name="T33" fmla="*/ 2147483646 h 40"/>
              <a:gd name="T34" fmla="*/ 2147483646 w 91"/>
              <a:gd name="T35" fmla="*/ 2147483646 h 40"/>
              <a:gd name="T36" fmla="*/ 2147483646 w 91"/>
              <a:gd name="T37" fmla="*/ 2147483646 h 40"/>
              <a:gd name="T38" fmla="*/ 2147483646 w 91"/>
              <a:gd name="T39" fmla="*/ 2147483646 h 40"/>
              <a:gd name="T40" fmla="*/ 2147483646 w 91"/>
              <a:gd name="T41" fmla="*/ 2147483646 h 40"/>
              <a:gd name="T42" fmla="*/ 2147483646 w 91"/>
              <a:gd name="T43" fmla="*/ 2147483646 h 40"/>
              <a:gd name="T44" fmla="*/ 2147483646 w 91"/>
              <a:gd name="T45" fmla="*/ 2147483646 h 40"/>
              <a:gd name="T46" fmla="*/ 2147483646 w 91"/>
              <a:gd name="T47" fmla="*/ 2147483646 h 40"/>
              <a:gd name="T48" fmla="*/ 2147483646 w 91"/>
              <a:gd name="T49" fmla="*/ 2147483646 h 40"/>
              <a:gd name="T50" fmla="*/ 2147483646 w 91"/>
              <a:gd name="T51" fmla="*/ 2147483646 h 40"/>
              <a:gd name="T52" fmla="*/ 2147483646 w 91"/>
              <a:gd name="T53" fmla="*/ 2147483646 h 40"/>
              <a:gd name="T54" fmla="*/ 2147483646 w 91"/>
              <a:gd name="T55" fmla="*/ 2147483646 h 40"/>
              <a:gd name="T56" fmla="*/ 2147483646 w 91"/>
              <a:gd name="T57" fmla="*/ 2147483646 h 40"/>
              <a:gd name="T58" fmla="*/ 2147483646 w 91"/>
              <a:gd name="T59" fmla="*/ 2147483646 h 40"/>
              <a:gd name="T60" fmla="*/ 2147483646 w 91"/>
              <a:gd name="T61" fmla="*/ 2147483646 h 40"/>
              <a:gd name="T62" fmla="*/ 2147483646 w 91"/>
              <a:gd name="T63" fmla="*/ 2147483646 h 40"/>
              <a:gd name="T64" fmla="*/ 2147483646 w 91"/>
              <a:gd name="T65" fmla="*/ 2147483646 h 40"/>
              <a:gd name="T66" fmla="*/ 2147483646 w 91"/>
              <a:gd name="T67" fmla="*/ 2147483646 h 40"/>
              <a:gd name="T68" fmla="*/ 2147483646 w 91"/>
              <a:gd name="T69" fmla="*/ 2147483646 h 40"/>
              <a:gd name="T70" fmla="*/ 2147483646 w 91"/>
              <a:gd name="T71" fmla="*/ 2147483646 h 40"/>
              <a:gd name="T72" fmla="*/ 2147483646 w 91"/>
              <a:gd name="T73" fmla="*/ 2147483646 h 40"/>
              <a:gd name="T74" fmla="*/ 2147483646 w 91"/>
              <a:gd name="T75" fmla="*/ 2147483646 h 40"/>
              <a:gd name="T76" fmla="*/ 2147483646 w 91"/>
              <a:gd name="T77" fmla="*/ 2147483646 h 40"/>
              <a:gd name="T78" fmla="*/ 2147483646 w 91"/>
              <a:gd name="T79" fmla="*/ 2147483646 h 40"/>
              <a:gd name="T80" fmla="*/ 2147483646 w 91"/>
              <a:gd name="T81" fmla="*/ 2147483646 h 40"/>
              <a:gd name="T82" fmla="*/ 2147483646 w 91"/>
              <a:gd name="T83" fmla="*/ 2147483646 h 40"/>
              <a:gd name="T84" fmla="*/ 2147483646 w 91"/>
              <a:gd name="T85" fmla="*/ 2147483646 h 40"/>
              <a:gd name="T86" fmla="*/ 2147483646 w 91"/>
              <a:gd name="T87" fmla="*/ 2147483646 h 40"/>
              <a:gd name="T88" fmla="*/ 2147483646 w 91"/>
              <a:gd name="T89" fmla="*/ 2147483646 h 40"/>
              <a:gd name="T90" fmla="*/ 2147483646 w 91"/>
              <a:gd name="T91" fmla="*/ 2147483646 h 40"/>
              <a:gd name="T92" fmla="*/ 2147483646 w 91"/>
              <a:gd name="T93" fmla="*/ 2147483646 h 40"/>
              <a:gd name="T94" fmla="*/ 2147483646 w 91"/>
              <a:gd name="T95" fmla="*/ 2147483646 h 40"/>
              <a:gd name="T96" fmla="*/ 2147483646 w 91"/>
              <a:gd name="T97" fmla="*/ 0 h 40"/>
              <a:gd name="T98" fmla="*/ 2147483646 w 91"/>
              <a:gd name="T99" fmla="*/ 0 h 40"/>
              <a:gd name="T100" fmla="*/ 2147483646 w 91"/>
              <a:gd name="T101" fmla="*/ 2147483646 h 40"/>
              <a:gd name="T102" fmla="*/ 2147483646 w 91"/>
              <a:gd name="T103" fmla="*/ 2147483646 h 40"/>
              <a:gd name="T104" fmla="*/ 2147483646 w 91"/>
              <a:gd name="T105" fmla="*/ 2147483646 h 40"/>
              <a:gd name="T106" fmla="*/ 2147483646 w 91"/>
              <a:gd name="T107" fmla="*/ 2147483646 h 40"/>
              <a:gd name="T108" fmla="*/ 2147483646 w 91"/>
              <a:gd name="T109" fmla="*/ 2147483646 h 40"/>
              <a:gd name="T110" fmla="*/ 2147483646 w 91"/>
              <a:gd name="T111" fmla="*/ 2147483646 h 40"/>
              <a:gd name="T112" fmla="*/ 2147483646 w 91"/>
              <a:gd name="T113" fmla="*/ 2147483646 h 40"/>
              <a:gd name="T114" fmla="*/ 2147483646 w 91"/>
              <a:gd name="T115" fmla="*/ 2147483646 h 40"/>
              <a:gd name="T116" fmla="*/ 0 w 91"/>
              <a:gd name="T117" fmla="*/ 2147483646 h 40"/>
              <a:gd name="T118" fmla="*/ 0 w 91"/>
              <a:gd name="T119" fmla="*/ 2147483646 h 40"/>
              <a:gd name="T120" fmla="*/ 2147483646 w 91"/>
              <a:gd name="T121" fmla="*/ 2147483646 h 4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1" h="40">
                <a:moveTo>
                  <a:pt x="1" y="37"/>
                </a:moveTo>
                <a:lnTo>
                  <a:pt x="4" y="40"/>
                </a:lnTo>
                <a:lnTo>
                  <a:pt x="6" y="40"/>
                </a:lnTo>
                <a:lnTo>
                  <a:pt x="10" y="37"/>
                </a:lnTo>
                <a:lnTo>
                  <a:pt x="10" y="36"/>
                </a:lnTo>
                <a:lnTo>
                  <a:pt x="12" y="35"/>
                </a:lnTo>
                <a:lnTo>
                  <a:pt x="13" y="36"/>
                </a:lnTo>
                <a:lnTo>
                  <a:pt x="14" y="35"/>
                </a:lnTo>
                <a:lnTo>
                  <a:pt x="22" y="29"/>
                </a:lnTo>
                <a:lnTo>
                  <a:pt x="25" y="30"/>
                </a:lnTo>
                <a:lnTo>
                  <a:pt x="26" y="29"/>
                </a:lnTo>
                <a:lnTo>
                  <a:pt x="29" y="30"/>
                </a:lnTo>
                <a:lnTo>
                  <a:pt x="33" y="29"/>
                </a:lnTo>
                <a:lnTo>
                  <a:pt x="33" y="27"/>
                </a:lnTo>
                <a:lnTo>
                  <a:pt x="33" y="28"/>
                </a:lnTo>
                <a:lnTo>
                  <a:pt x="34" y="26"/>
                </a:lnTo>
                <a:lnTo>
                  <a:pt x="37" y="27"/>
                </a:lnTo>
                <a:lnTo>
                  <a:pt x="38" y="26"/>
                </a:lnTo>
                <a:lnTo>
                  <a:pt x="40" y="26"/>
                </a:lnTo>
                <a:lnTo>
                  <a:pt x="49" y="19"/>
                </a:lnTo>
                <a:lnTo>
                  <a:pt x="53" y="18"/>
                </a:lnTo>
                <a:lnTo>
                  <a:pt x="63" y="18"/>
                </a:lnTo>
                <a:lnTo>
                  <a:pt x="65" y="18"/>
                </a:lnTo>
                <a:lnTo>
                  <a:pt x="66" y="17"/>
                </a:lnTo>
                <a:lnTo>
                  <a:pt x="67" y="17"/>
                </a:lnTo>
                <a:lnTo>
                  <a:pt x="67" y="15"/>
                </a:lnTo>
                <a:lnTo>
                  <a:pt x="65" y="14"/>
                </a:lnTo>
                <a:lnTo>
                  <a:pt x="63" y="12"/>
                </a:lnTo>
                <a:lnTo>
                  <a:pt x="64" y="12"/>
                </a:lnTo>
                <a:lnTo>
                  <a:pt x="66" y="14"/>
                </a:lnTo>
                <a:lnTo>
                  <a:pt x="69" y="14"/>
                </a:lnTo>
                <a:lnTo>
                  <a:pt x="67" y="11"/>
                </a:lnTo>
                <a:lnTo>
                  <a:pt x="68" y="12"/>
                </a:lnTo>
                <a:lnTo>
                  <a:pt x="71" y="12"/>
                </a:lnTo>
                <a:lnTo>
                  <a:pt x="72" y="12"/>
                </a:lnTo>
                <a:lnTo>
                  <a:pt x="76" y="9"/>
                </a:lnTo>
                <a:lnTo>
                  <a:pt x="79" y="9"/>
                </a:lnTo>
                <a:lnTo>
                  <a:pt x="82" y="8"/>
                </a:lnTo>
                <a:lnTo>
                  <a:pt x="84" y="6"/>
                </a:lnTo>
                <a:lnTo>
                  <a:pt x="84" y="5"/>
                </a:lnTo>
                <a:lnTo>
                  <a:pt x="85" y="4"/>
                </a:lnTo>
                <a:lnTo>
                  <a:pt x="87" y="4"/>
                </a:lnTo>
                <a:lnTo>
                  <a:pt x="87" y="3"/>
                </a:lnTo>
                <a:lnTo>
                  <a:pt x="91" y="2"/>
                </a:lnTo>
                <a:lnTo>
                  <a:pt x="91" y="1"/>
                </a:lnTo>
                <a:lnTo>
                  <a:pt x="85" y="0"/>
                </a:lnTo>
                <a:lnTo>
                  <a:pt x="80" y="0"/>
                </a:lnTo>
                <a:lnTo>
                  <a:pt x="66" y="5"/>
                </a:lnTo>
                <a:lnTo>
                  <a:pt x="36" y="14"/>
                </a:lnTo>
                <a:lnTo>
                  <a:pt x="28" y="16"/>
                </a:lnTo>
                <a:lnTo>
                  <a:pt x="21" y="18"/>
                </a:lnTo>
                <a:lnTo>
                  <a:pt x="14" y="19"/>
                </a:lnTo>
                <a:lnTo>
                  <a:pt x="10" y="19"/>
                </a:lnTo>
                <a:lnTo>
                  <a:pt x="5" y="26"/>
                </a:lnTo>
                <a:lnTo>
                  <a:pt x="1" y="30"/>
                </a:lnTo>
                <a:lnTo>
                  <a:pt x="0" y="32"/>
                </a:lnTo>
                <a:lnTo>
                  <a:pt x="0" y="37"/>
                </a:lnTo>
                <a:lnTo>
                  <a:pt x="1" y="37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8" name="Freeform 29"/>
          <p:cNvSpPr>
            <a:spLocks/>
          </p:cNvSpPr>
          <p:nvPr/>
        </p:nvSpPr>
        <p:spPr bwMode="auto">
          <a:xfrm>
            <a:off x="4060825" y="1703388"/>
            <a:ext cx="1385888" cy="1138237"/>
          </a:xfrm>
          <a:custGeom>
            <a:avLst/>
            <a:gdLst>
              <a:gd name="T0" fmla="*/ 2147483646 w 234"/>
              <a:gd name="T1" fmla="*/ 2147483646 h 226"/>
              <a:gd name="T2" fmla="*/ 2147483646 w 234"/>
              <a:gd name="T3" fmla="*/ 2147483646 h 226"/>
              <a:gd name="T4" fmla="*/ 2147483646 w 234"/>
              <a:gd name="T5" fmla="*/ 2147483646 h 226"/>
              <a:gd name="T6" fmla="*/ 2147483646 w 234"/>
              <a:gd name="T7" fmla="*/ 2147483646 h 226"/>
              <a:gd name="T8" fmla="*/ 2147483646 w 234"/>
              <a:gd name="T9" fmla="*/ 2147483646 h 226"/>
              <a:gd name="T10" fmla="*/ 2147483646 w 234"/>
              <a:gd name="T11" fmla="*/ 2147483646 h 226"/>
              <a:gd name="T12" fmla="*/ 2147483646 w 234"/>
              <a:gd name="T13" fmla="*/ 2147483646 h 226"/>
              <a:gd name="T14" fmla="*/ 0 w 234"/>
              <a:gd name="T15" fmla="*/ 2147483646 h 226"/>
              <a:gd name="T16" fmla="*/ 2147483646 w 234"/>
              <a:gd name="T17" fmla="*/ 2147483646 h 226"/>
              <a:gd name="T18" fmla="*/ 2147483646 w 234"/>
              <a:gd name="T19" fmla="*/ 2147483646 h 226"/>
              <a:gd name="T20" fmla="*/ 2147483646 w 234"/>
              <a:gd name="T21" fmla="*/ 2147483646 h 226"/>
              <a:gd name="T22" fmla="*/ 2147483646 w 234"/>
              <a:gd name="T23" fmla="*/ 2147483646 h 226"/>
              <a:gd name="T24" fmla="*/ 2147483646 w 234"/>
              <a:gd name="T25" fmla="*/ 2147483646 h 226"/>
              <a:gd name="T26" fmla="*/ 2147483646 w 234"/>
              <a:gd name="T27" fmla="*/ 2147483646 h 226"/>
              <a:gd name="T28" fmla="*/ 2147483646 w 234"/>
              <a:gd name="T29" fmla="*/ 2147483646 h 226"/>
              <a:gd name="T30" fmla="*/ 2147483646 w 234"/>
              <a:gd name="T31" fmla="*/ 2147483646 h 226"/>
              <a:gd name="T32" fmla="*/ 2147483646 w 234"/>
              <a:gd name="T33" fmla="*/ 2147483646 h 226"/>
              <a:gd name="T34" fmla="*/ 2147483646 w 234"/>
              <a:gd name="T35" fmla="*/ 2147483646 h 226"/>
              <a:gd name="T36" fmla="*/ 2147483646 w 234"/>
              <a:gd name="T37" fmla="*/ 2147483646 h 226"/>
              <a:gd name="T38" fmla="*/ 2147483646 w 234"/>
              <a:gd name="T39" fmla="*/ 2147483646 h 226"/>
              <a:gd name="T40" fmla="*/ 2147483646 w 234"/>
              <a:gd name="T41" fmla="*/ 2147483646 h 226"/>
              <a:gd name="T42" fmla="*/ 2147483646 w 234"/>
              <a:gd name="T43" fmla="*/ 2147483646 h 226"/>
              <a:gd name="T44" fmla="*/ 2147483646 w 234"/>
              <a:gd name="T45" fmla="*/ 2147483646 h 226"/>
              <a:gd name="T46" fmla="*/ 2147483646 w 234"/>
              <a:gd name="T47" fmla="*/ 2147483646 h 226"/>
              <a:gd name="T48" fmla="*/ 2147483646 w 234"/>
              <a:gd name="T49" fmla="*/ 2147483646 h 226"/>
              <a:gd name="T50" fmla="*/ 2147483646 w 234"/>
              <a:gd name="T51" fmla="*/ 2147483646 h 226"/>
              <a:gd name="T52" fmla="*/ 2147483646 w 234"/>
              <a:gd name="T53" fmla="*/ 2147483646 h 226"/>
              <a:gd name="T54" fmla="*/ 2147483646 w 234"/>
              <a:gd name="T55" fmla="*/ 2147483646 h 226"/>
              <a:gd name="T56" fmla="*/ 2147483646 w 234"/>
              <a:gd name="T57" fmla="*/ 2147483646 h 226"/>
              <a:gd name="T58" fmla="*/ 2147483646 w 234"/>
              <a:gd name="T59" fmla="*/ 2147483646 h 226"/>
              <a:gd name="T60" fmla="*/ 2147483646 w 234"/>
              <a:gd name="T61" fmla="*/ 2147483646 h 226"/>
              <a:gd name="T62" fmla="*/ 2147483646 w 234"/>
              <a:gd name="T63" fmla="*/ 2147483646 h 226"/>
              <a:gd name="T64" fmla="*/ 2147483646 w 234"/>
              <a:gd name="T65" fmla="*/ 2147483646 h 226"/>
              <a:gd name="T66" fmla="*/ 2147483646 w 234"/>
              <a:gd name="T67" fmla="*/ 2147483646 h 226"/>
              <a:gd name="T68" fmla="*/ 2147483646 w 234"/>
              <a:gd name="T69" fmla="*/ 2147483646 h 226"/>
              <a:gd name="T70" fmla="*/ 2147483646 w 234"/>
              <a:gd name="T71" fmla="*/ 2147483646 h 226"/>
              <a:gd name="T72" fmla="*/ 2147483646 w 234"/>
              <a:gd name="T73" fmla="*/ 2147483646 h 226"/>
              <a:gd name="T74" fmla="*/ 2147483646 w 234"/>
              <a:gd name="T75" fmla="*/ 2147483646 h 226"/>
              <a:gd name="T76" fmla="*/ 2147483646 w 234"/>
              <a:gd name="T77" fmla="*/ 2147483646 h 226"/>
              <a:gd name="T78" fmla="*/ 2147483646 w 234"/>
              <a:gd name="T79" fmla="*/ 2147483646 h 226"/>
              <a:gd name="T80" fmla="*/ 2147483646 w 234"/>
              <a:gd name="T81" fmla="*/ 2147483646 h 226"/>
              <a:gd name="T82" fmla="*/ 2147483646 w 234"/>
              <a:gd name="T83" fmla="*/ 2147483646 h 226"/>
              <a:gd name="T84" fmla="*/ 2147483646 w 234"/>
              <a:gd name="T85" fmla="*/ 2147483646 h 226"/>
              <a:gd name="T86" fmla="*/ 2147483646 w 234"/>
              <a:gd name="T87" fmla="*/ 2147483646 h 226"/>
              <a:gd name="T88" fmla="*/ 2147483646 w 234"/>
              <a:gd name="T89" fmla="*/ 2147483646 h 226"/>
              <a:gd name="T90" fmla="*/ 2147483646 w 234"/>
              <a:gd name="T91" fmla="*/ 2147483646 h 226"/>
              <a:gd name="T92" fmla="*/ 2147483646 w 234"/>
              <a:gd name="T93" fmla="*/ 2147483646 h 226"/>
              <a:gd name="T94" fmla="*/ 2147483646 w 234"/>
              <a:gd name="T95" fmla="*/ 2147483646 h 226"/>
              <a:gd name="T96" fmla="*/ 2147483646 w 234"/>
              <a:gd name="T97" fmla="*/ 2147483646 h 226"/>
              <a:gd name="T98" fmla="*/ 2147483646 w 234"/>
              <a:gd name="T99" fmla="*/ 2147483646 h 226"/>
              <a:gd name="T100" fmla="*/ 2147483646 w 234"/>
              <a:gd name="T101" fmla="*/ 2147483646 h 2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234" h="226">
                <a:moveTo>
                  <a:pt x="4" y="119"/>
                </a:moveTo>
                <a:lnTo>
                  <a:pt x="5" y="120"/>
                </a:lnTo>
                <a:lnTo>
                  <a:pt x="8" y="123"/>
                </a:lnTo>
                <a:lnTo>
                  <a:pt x="8" y="127"/>
                </a:lnTo>
                <a:lnTo>
                  <a:pt x="10" y="129"/>
                </a:lnTo>
                <a:lnTo>
                  <a:pt x="10" y="131"/>
                </a:lnTo>
                <a:lnTo>
                  <a:pt x="9" y="130"/>
                </a:lnTo>
                <a:lnTo>
                  <a:pt x="6" y="131"/>
                </a:lnTo>
                <a:lnTo>
                  <a:pt x="5" y="131"/>
                </a:lnTo>
                <a:lnTo>
                  <a:pt x="9" y="138"/>
                </a:lnTo>
                <a:lnTo>
                  <a:pt x="9" y="139"/>
                </a:lnTo>
                <a:lnTo>
                  <a:pt x="9" y="141"/>
                </a:lnTo>
                <a:lnTo>
                  <a:pt x="9" y="143"/>
                </a:lnTo>
                <a:lnTo>
                  <a:pt x="11" y="143"/>
                </a:lnTo>
                <a:lnTo>
                  <a:pt x="11" y="146"/>
                </a:lnTo>
                <a:lnTo>
                  <a:pt x="9" y="149"/>
                </a:lnTo>
                <a:lnTo>
                  <a:pt x="9" y="152"/>
                </a:lnTo>
                <a:lnTo>
                  <a:pt x="12" y="161"/>
                </a:lnTo>
                <a:lnTo>
                  <a:pt x="12" y="165"/>
                </a:lnTo>
                <a:lnTo>
                  <a:pt x="12" y="166"/>
                </a:lnTo>
                <a:lnTo>
                  <a:pt x="12" y="167"/>
                </a:lnTo>
                <a:lnTo>
                  <a:pt x="12" y="170"/>
                </a:lnTo>
                <a:lnTo>
                  <a:pt x="9" y="170"/>
                </a:lnTo>
                <a:lnTo>
                  <a:pt x="9" y="171"/>
                </a:lnTo>
                <a:lnTo>
                  <a:pt x="10" y="173"/>
                </a:lnTo>
                <a:lnTo>
                  <a:pt x="11" y="177"/>
                </a:lnTo>
                <a:lnTo>
                  <a:pt x="11" y="182"/>
                </a:lnTo>
                <a:lnTo>
                  <a:pt x="11" y="183"/>
                </a:lnTo>
                <a:lnTo>
                  <a:pt x="9" y="184"/>
                </a:lnTo>
                <a:lnTo>
                  <a:pt x="3" y="187"/>
                </a:lnTo>
                <a:lnTo>
                  <a:pt x="0" y="191"/>
                </a:lnTo>
                <a:lnTo>
                  <a:pt x="2" y="191"/>
                </a:lnTo>
                <a:lnTo>
                  <a:pt x="1" y="192"/>
                </a:lnTo>
                <a:lnTo>
                  <a:pt x="1" y="195"/>
                </a:lnTo>
                <a:lnTo>
                  <a:pt x="9" y="202"/>
                </a:lnTo>
                <a:lnTo>
                  <a:pt x="13" y="204"/>
                </a:lnTo>
                <a:lnTo>
                  <a:pt x="15" y="205"/>
                </a:lnTo>
                <a:lnTo>
                  <a:pt x="19" y="204"/>
                </a:lnTo>
                <a:lnTo>
                  <a:pt x="24" y="203"/>
                </a:lnTo>
                <a:lnTo>
                  <a:pt x="41" y="210"/>
                </a:lnTo>
                <a:lnTo>
                  <a:pt x="45" y="211"/>
                </a:lnTo>
                <a:lnTo>
                  <a:pt x="47" y="210"/>
                </a:lnTo>
                <a:lnTo>
                  <a:pt x="49" y="209"/>
                </a:lnTo>
                <a:lnTo>
                  <a:pt x="50" y="208"/>
                </a:lnTo>
                <a:lnTo>
                  <a:pt x="51" y="206"/>
                </a:lnTo>
                <a:lnTo>
                  <a:pt x="54" y="204"/>
                </a:lnTo>
                <a:lnTo>
                  <a:pt x="57" y="205"/>
                </a:lnTo>
                <a:lnTo>
                  <a:pt x="61" y="202"/>
                </a:lnTo>
                <a:lnTo>
                  <a:pt x="64" y="201"/>
                </a:lnTo>
                <a:lnTo>
                  <a:pt x="67" y="203"/>
                </a:lnTo>
                <a:lnTo>
                  <a:pt x="67" y="207"/>
                </a:lnTo>
                <a:lnTo>
                  <a:pt x="68" y="207"/>
                </a:lnTo>
                <a:lnTo>
                  <a:pt x="68" y="208"/>
                </a:lnTo>
                <a:lnTo>
                  <a:pt x="69" y="208"/>
                </a:lnTo>
                <a:lnTo>
                  <a:pt x="69" y="206"/>
                </a:lnTo>
                <a:lnTo>
                  <a:pt x="70" y="206"/>
                </a:lnTo>
                <a:lnTo>
                  <a:pt x="70" y="205"/>
                </a:lnTo>
                <a:lnTo>
                  <a:pt x="71" y="205"/>
                </a:lnTo>
                <a:lnTo>
                  <a:pt x="71" y="206"/>
                </a:lnTo>
                <a:lnTo>
                  <a:pt x="73" y="206"/>
                </a:lnTo>
                <a:lnTo>
                  <a:pt x="77" y="207"/>
                </a:lnTo>
                <a:lnTo>
                  <a:pt x="78" y="208"/>
                </a:lnTo>
                <a:lnTo>
                  <a:pt x="79" y="207"/>
                </a:lnTo>
                <a:lnTo>
                  <a:pt x="79" y="209"/>
                </a:lnTo>
                <a:lnTo>
                  <a:pt x="84" y="210"/>
                </a:lnTo>
                <a:lnTo>
                  <a:pt x="93" y="218"/>
                </a:lnTo>
                <a:lnTo>
                  <a:pt x="94" y="223"/>
                </a:lnTo>
                <a:lnTo>
                  <a:pt x="99" y="220"/>
                </a:lnTo>
                <a:lnTo>
                  <a:pt x="105" y="224"/>
                </a:lnTo>
                <a:lnTo>
                  <a:pt x="108" y="224"/>
                </a:lnTo>
                <a:lnTo>
                  <a:pt x="113" y="226"/>
                </a:lnTo>
                <a:lnTo>
                  <a:pt x="117" y="224"/>
                </a:lnTo>
                <a:lnTo>
                  <a:pt x="118" y="221"/>
                </a:lnTo>
                <a:lnTo>
                  <a:pt x="120" y="220"/>
                </a:lnTo>
                <a:lnTo>
                  <a:pt x="123" y="217"/>
                </a:lnTo>
                <a:lnTo>
                  <a:pt x="123" y="215"/>
                </a:lnTo>
                <a:lnTo>
                  <a:pt x="125" y="213"/>
                </a:lnTo>
                <a:lnTo>
                  <a:pt x="131" y="214"/>
                </a:lnTo>
                <a:lnTo>
                  <a:pt x="132" y="211"/>
                </a:lnTo>
                <a:lnTo>
                  <a:pt x="134" y="210"/>
                </a:lnTo>
                <a:lnTo>
                  <a:pt x="136" y="214"/>
                </a:lnTo>
                <a:lnTo>
                  <a:pt x="139" y="218"/>
                </a:lnTo>
                <a:lnTo>
                  <a:pt x="141" y="218"/>
                </a:lnTo>
                <a:lnTo>
                  <a:pt x="145" y="217"/>
                </a:lnTo>
                <a:lnTo>
                  <a:pt x="146" y="219"/>
                </a:lnTo>
                <a:lnTo>
                  <a:pt x="149" y="217"/>
                </a:lnTo>
                <a:lnTo>
                  <a:pt x="152" y="214"/>
                </a:lnTo>
                <a:lnTo>
                  <a:pt x="151" y="210"/>
                </a:lnTo>
                <a:lnTo>
                  <a:pt x="158" y="210"/>
                </a:lnTo>
                <a:lnTo>
                  <a:pt x="168" y="206"/>
                </a:lnTo>
                <a:lnTo>
                  <a:pt x="168" y="204"/>
                </a:lnTo>
                <a:lnTo>
                  <a:pt x="177" y="197"/>
                </a:lnTo>
                <a:lnTo>
                  <a:pt x="186" y="192"/>
                </a:lnTo>
                <a:lnTo>
                  <a:pt x="191" y="184"/>
                </a:lnTo>
                <a:lnTo>
                  <a:pt x="198" y="178"/>
                </a:lnTo>
                <a:lnTo>
                  <a:pt x="208" y="179"/>
                </a:lnTo>
                <a:lnTo>
                  <a:pt x="214" y="185"/>
                </a:lnTo>
                <a:lnTo>
                  <a:pt x="227" y="176"/>
                </a:lnTo>
                <a:lnTo>
                  <a:pt x="234" y="161"/>
                </a:lnTo>
                <a:lnTo>
                  <a:pt x="220" y="142"/>
                </a:lnTo>
                <a:lnTo>
                  <a:pt x="220" y="129"/>
                </a:lnTo>
                <a:lnTo>
                  <a:pt x="207" y="124"/>
                </a:lnTo>
                <a:lnTo>
                  <a:pt x="209" y="119"/>
                </a:lnTo>
                <a:lnTo>
                  <a:pt x="205" y="118"/>
                </a:lnTo>
                <a:lnTo>
                  <a:pt x="201" y="114"/>
                </a:lnTo>
                <a:lnTo>
                  <a:pt x="197" y="112"/>
                </a:lnTo>
                <a:lnTo>
                  <a:pt x="183" y="111"/>
                </a:lnTo>
                <a:lnTo>
                  <a:pt x="178" y="104"/>
                </a:lnTo>
                <a:lnTo>
                  <a:pt x="178" y="96"/>
                </a:lnTo>
                <a:lnTo>
                  <a:pt x="179" y="91"/>
                </a:lnTo>
                <a:lnTo>
                  <a:pt x="181" y="87"/>
                </a:lnTo>
                <a:lnTo>
                  <a:pt x="182" y="83"/>
                </a:lnTo>
                <a:lnTo>
                  <a:pt x="186" y="80"/>
                </a:lnTo>
                <a:lnTo>
                  <a:pt x="189" y="77"/>
                </a:lnTo>
                <a:lnTo>
                  <a:pt x="189" y="73"/>
                </a:lnTo>
                <a:lnTo>
                  <a:pt x="187" y="70"/>
                </a:lnTo>
                <a:lnTo>
                  <a:pt x="186" y="67"/>
                </a:lnTo>
                <a:lnTo>
                  <a:pt x="190" y="64"/>
                </a:lnTo>
                <a:lnTo>
                  <a:pt x="191" y="60"/>
                </a:lnTo>
                <a:lnTo>
                  <a:pt x="192" y="58"/>
                </a:lnTo>
                <a:lnTo>
                  <a:pt x="194" y="55"/>
                </a:lnTo>
                <a:lnTo>
                  <a:pt x="194" y="52"/>
                </a:lnTo>
                <a:lnTo>
                  <a:pt x="195" y="48"/>
                </a:lnTo>
                <a:lnTo>
                  <a:pt x="198" y="48"/>
                </a:lnTo>
                <a:lnTo>
                  <a:pt x="199" y="45"/>
                </a:lnTo>
                <a:lnTo>
                  <a:pt x="203" y="42"/>
                </a:lnTo>
                <a:lnTo>
                  <a:pt x="201" y="40"/>
                </a:lnTo>
                <a:lnTo>
                  <a:pt x="201" y="30"/>
                </a:lnTo>
                <a:lnTo>
                  <a:pt x="198" y="28"/>
                </a:lnTo>
                <a:lnTo>
                  <a:pt x="192" y="27"/>
                </a:lnTo>
                <a:lnTo>
                  <a:pt x="187" y="25"/>
                </a:lnTo>
                <a:lnTo>
                  <a:pt x="182" y="23"/>
                </a:lnTo>
                <a:lnTo>
                  <a:pt x="177" y="21"/>
                </a:lnTo>
                <a:lnTo>
                  <a:pt x="175" y="15"/>
                </a:lnTo>
                <a:lnTo>
                  <a:pt x="176" y="10"/>
                </a:lnTo>
                <a:lnTo>
                  <a:pt x="180" y="0"/>
                </a:lnTo>
                <a:lnTo>
                  <a:pt x="171" y="4"/>
                </a:lnTo>
                <a:lnTo>
                  <a:pt x="160" y="1"/>
                </a:lnTo>
                <a:lnTo>
                  <a:pt x="159" y="3"/>
                </a:lnTo>
                <a:lnTo>
                  <a:pt x="157" y="1"/>
                </a:lnTo>
                <a:lnTo>
                  <a:pt x="157" y="2"/>
                </a:lnTo>
                <a:lnTo>
                  <a:pt x="155" y="2"/>
                </a:lnTo>
                <a:lnTo>
                  <a:pt x="144" y="3"/>
                </a:lnTo>
                <a:lnTo>
                  <a:pt x="135" y="6"/>
                </a:lnTo>
                <a:lnTo>
                  <a:pt x="134" y="5"/>
                </a:lnTo>
                <a:lnTo>
                  <a:pt x="133" y="6"/>
                </a:lnTo>
                <a:lnTo>
                  <a:pt x="123" y="10"/>
                </a:lnTo>
                <a:lnTo>
                  <a:pt x="121" y="8"/>
                </a:lnTo>
                <a:lnTo>
                  <a:pt x="117" y="10"/>
                </a:lnTo>
                <a:lnTo>
                  <a:pt x="116" y="9"/>
                </a:lnTo>
                <a:lnTo>
                  <a:pt x="108" y="14"/>
                </a:lnTo>
                <a:lnTo>
                  <a:pt x="105" y="16"/>
                </a:lnTo>
                <a:lnTo>
                  <a:pt x="103" y="16"/>
                </a:lnTo>
                <a:lnTo>
                  <a:pt x="101" y="18"/>
                </a:lnTo>
                <a:lnTo>
                  <a:pt x="96" y="20"/>
                </a:lnTo>
                <a:lnTo>
                  <a:pt x="95" y="20"/>
                </a:lnTo>
                <a:lnTo>
                  <a:pt x="94" y="20"/>
                </a:lnTo>
                <a:lnTo>
                  <a:pt x="90" y="23"/>
                </a:lnTo>
                <a:lnTo>
                  <a:pt x="83" y="27"/>
                </a:lnTo>
                <a:lnTo>
                  <a:pt x="79" y="29"/>
                </a:lnTo>
                <a:lnTo>
                  <a:pt x="77" y="31"/>
                </a:lnTo>
                <a:lnTo>
                  <a:pt x="76" y="31"/>
                </a:lnTo>
                <a:lnTo>
                  <a:pt x="73" y="33"/>
                </a:lnTo>
                <a:lnTo>
                  <a:pt x="72" y="32"/>
                </a:lnTo>
                <a:lnTo>
                  <a:pt x="70" y="34"/>
                </a:lnTo>
                <a:lnTo>
                  <a:pt x="69" y="34"/>
                </a:lnTo>
                <a:lnTo>
                  <a:pt x="66" y="35"/>
                </a:lnTo>
                <a:lnTo>
                  <a:pt x="65" y="36"/>
                </a:lnTo>
                <a:lnTo>
                  <a:pt x="64" y="37"/>
                </a:lnTo>
                <a:lnTo>
                  <a:pt x="60" y="37"/>
                </a:lnTo>
                <a:lnTo>
                  <a:pt x="60" y="38"/>
                </a:lnTo>
                <a:lnTo>
                  <a:pt x="57" y="38"/>
                </a:lnTo>
                <a:lnTo>
                  <a:pt x="51" y="41"/>
                </a:lnTo>
                <a:lnTo>
                  <a:pt x="46" y="47"/>
                </a:lnTo>
                <a:lnTo>
                  <a:pt x="44" y="51"/>
                </a:lnTo>
                <a:lnTo>
                  <a:pt x="40" y="54"/>
                </a:lnTo>
                <a:lnTo>
                  <a:pt x="37" y="57"/>
                </a:lnTo>
                <a:lnTo>
                  <a:pt x="26" y="65"/>
                </a:lnTo>
                <a:lnTo>
                  <a:pt x="25" y="66"/>
                </a:lnTo>
                <a:lnTo>
                  <a:pt x="20" y="71"/>
                </a:lnTo>
                <a:lnTo>
                  <a:pt x="18" y="75"/>
                </a:lnTo>
                <a:lnTo>
                  <a:pt x="15" y="83"/>
                </a:lnTo>
                <a:lnTo>
                  <a:pt x="14" y="84"/>
                </a:lnTo>
                <a:lnTo>
                  <a:pt x="14" y="85"/>
                </a:lnTo>
                <a:lnTo>
                  <a:pt x="15" y="85"/>
                </a:lnTo>
                <a:lnTo>
                  <a:pt x="15" y="86"/>
                </a:lnTo>
                <a:lnTo>
                  <a:pt x="13" y="86"/>
                </a:lnTo>
                <a:lnTo>
                  <a:pt x="12" y="88"/>
                </a:lnTo>
                <a:lnTo>
                  <a:pt x="14" y="89"/>
                </a:lnTo>
                <a:lnTo>
                  <a:pt x="12" y="95"/>
                </a:lnTo>
                <a:lnTo>
                  <a:pt x="11" y="106"/>
                </a:lnTo>
                <a:lnTo>
                  <a:pt x="10" y="108"/>
                </a:lnTo>
                <a:lnTo>
                  <a:pt x="5" y="111"/>
                </a:lnTo>
                <a:lnTo>
                  <a:pt x="6" y="113"/>
                </a:lnTo>
                <a:lnTo>
                  <a:pt x="5" y="116"/>
                </a:lnTo>
                <a:lnTo>
                  <a:pt x="4" y="117"/>
                </a:lnTo>
                <a:lnTo>
                  <a:pt x="4" y="120"/>
                </a:lnTo>
                <a:lnTo>
                  <a:pt x="4" y="119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79" name="Freeform 30"/>
          <p:cNvSpPr>
            <a:spLocks/>
          </p:cNvSpPr>
          <p:nvPr/>
        </p:nvSpPr>
        <p:spPr bwMode="auto">
          <a:xfrm>
            <a:off x="2601913" y="4732338"/>
            <a:ext cx="122237" cy="49212"/>
          </a:xfrm>
          <a:custGeom>
            <a:avLst/>
            <a:gdLst>
              <a:gd name="T0" fmla="*/ 2147483646 w 20"/>
              <a:gd name="T1" fmla="*/ 2147483646 h 10"/>
              <a:gd name="T2" fmla="*/ 2147483646 w 20"/>
              <a:gd name="T3" fmla="*/ 0 h 10"/>
              <a:gd name="T4" fmla="*/ 0 w 20"/>
              <a:gd name="T5" fmla="*/ 0 h 10"/>
              <a:gd name="T6" fmla="*/ 0 w 20"/>
              <a:gd name="T7" fmla="*/ 2147483646 h 10"/>
              <a:gd name="T8" fmla="*/ 2147483646 w 20"/>
              <a:gd name="T9" fmla="*/ 2147483646 h 10"/>
              <a:gd name="T10" fmla="*/ 2147483646 w 20"/>
              <a:gd name="T11" fmla="*/ 2147483646 h 10"/>
              <a:gd name="T12" fmla="*/ 2147483646 w 20"/>
              <a:gd name="T13" fmla="*/ 2147483646 h 10"/>
              <a:gd name="T14" fmla="*/ 2147483646 w 20"/>
              <a:gd name="T15" fmla="*/ 2147483646 h 10"/>
              <a:gd name="T16" fmla="*/ 2147483646 w 20"/>
              <a:gd name="T17" fmla="*/ 2147483646 h 10"/>
              <a:gd name="T18" fmla="*/ 2147483646 w 20"/>
              <a:gd name="T19" fmla="*/ 2147483646 h 10"/>
              <a:gd name="T20" fmla="*/ 2147483646 w 20"/>
              <a:gd name="T21" fmla="*/ 2147483646 h 10"/>
              <a:gd name="T22" fmla="*/ 2147483646 w 20"/>
              <a:gd name="T23" fmla="*/ 2147483646 h 10"/>
              <a:gd name="T24" fmla="*/ 2147483646 w 20"/>
              <a:gd name="T25" fmla="*/ 2147483646 h 10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0" t="0" r="r" b="b"/>
            <a:pathLst>
              <a:path w="20" h="10">
                <a:moveTo>
                  <a:pt x="7" y="2"/>
                </a:moveTo>
                <a:lnTo>
                  <a:pt x="2" y="0"/>
                </a:lnTo>
                <a:lnTo>
                  <a:pt x="0" y="0"/>
                </a:lnTo>
                <a:lnTo>
                  <a:pt x="0" y="2"/>
                </a:lnTo>
                <a:lnTo>
                  <a:pt x="3" y="4"/>
                </a:lnTo>
                <a:lnTo>
                  <a:pt x="4" y="6"/>
                </a:lnTo>
                <a:lnTo>
                  <a:pt x="12" y="10"/>
                </a:lnTo>
                <a:lnTo>
                  <a:pt x="14" y="10"/>
                </a:lnTo>
                <a:lnTo>
                  <a:pt x="18" y="9"/>
                </a:lnTo>
                <a:lnTo>
                  <a:pt x="20" y="9"/>
                </a:lnTo>
                <a:lnTo>
                  <a:pt x="20" y="8"/>
                </a:lnTo>
                <a:lnTo>
                  <a:pt x="10" y="2"/>
                </a:lnTo>
                <a:lnTo>
                  <a:pt x="7" y="2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0" name="Freeform 31"/>
          <p:cNvSpPr>
            <a:spLocks/>
          </p:cNvSpPr>
          <p:nvPr/>
        </p:nvSpPr>
        <p:spPr bwMode="auto">
          <a:xfrm>
            <a:off x="2770188" y="4832350"/>
            <a:ext cx="44450" cy="34925"/>
          </a:xfrm>
          <a:custGeom>
            <a:avLst/>
            <a:gdLst>
              <a:gd name="T0" fmla="*/ 2147483646 w 8"/>
              <a:gd name="T1" fmla="*/ 2147483646 h 7"/>
              <a:gd name="T2" fmla="*/ 2147483646 w 8"/>
              <a:gd name="T3" fmla="*/ 0 h 7"/>
              <a:gd name="T4" fmla="*/ 2147483646 w 8"/>
              <a:gd name="T5" fmla="*/ 0 h 7"/>
              <a:gd name="T6" fmla="*/ 2147483646 w 8"/>
              <a:gd name="T7" fmla="*/ 2147483646 h 7"/>
              <a:gd name="T8" fmla="*/ 2147483646 w 8"/>
              <a:gd name="T9" fmla="*/ 2147483646 h 7"/>
              <a:gd name="T10" fmla="*/ 0 w 8"/>
              <a:gd name="T11" fmla="*/ 2147483646 h 7"/>
              <a:gd name="T12" fmla="*/ 0 w 8"/>
              <a:gd name="T13" fmla="*/ 2147483646 h 7"/>
              <a:gd name="T14" fmla="*/ 2147483646 w 8"/>
              <a:gd name="T15" fmla="*/ 2147483646 h 7"/>
              <a:gd name="T16" fmla="*/ 2147483646 w 8"/>
              <a:gd name="T17" fmla="*/ 2147483646 h 7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8" h="7">
                <a:moveTo>
                  <a:pt x="4" y="3"/>
                </a:moveTo>
                <a:lnTo>
                  <a:pt x="8" y="0"/>
                </a:lnTo>
                <a:lnTo>
                  <a:pt x="3" y="3"/>
                </a:lnTo>
                <a:lnTo>
                  <a:pt x="0" y="6"/>
                </a:lnTo>
                <a:lnTo>
                  <a:pt x="0" y="7"/>
                </a:lnTo>
                <a:lnTo>
                  <a:pt x="3" y="4"/>
                </a:lnTo>
                <a:lnTo>
                  <a:pt x="4" y="3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1" name="Freeform 32"/>
          <p:cNvSpPr>
            <a:spLocks/>
          </p:cNvSpPr>
          <p:nvPr/>
        </p:nvSpPr>
        <p:spPr bwMode="auto">
          <a:xfrm>
            <a:off x="2265363" y="3687763"/>
            <a:ext cx="1795462" cy="1144587"/>
          </a:xfrm>
          <a:custGeom>
            <a:avLst/>
            <a:gdLst>
              <a:gd name="T0" fmla="*/ 2147483646 w 303"/>
              <a:gd name="T1" fmla="*/ 2147483646 h 227"/>
              <a:gd name="T2" fmla="*/ 2147483646 w 303"/>
              <a:gd name="T3" fmla="*/ 2147483646 h 227"/>
              <a:gd name="T4" fmla="*/ 2147483646 w 303"/>
              <a:gd name="T5" fmla="*/ 2147483646 h 227"/>
              <a:gd name="T6" fmla="*/ 2147483646 w 303"/>
              <a:gd name="T7" fmla="*/ 2147483646 h 227"/>
              <a:gd name="T8" fmla="*/ 2147483646 w 303"/>
              <a:gd name="T9" fmla="*/ 2147483646 h 227"/>
              <a:gd name="T10" fmla="*/ 2147483646 w 303"/>
              <a:gd name="T11" fmla="*/ 2147483646 h 227"/>
              <a:gd name="T12" fmla="*/ 2147483646 w 303"/>
              <a:gd name="T13" fmla="*/ 2147483646 h 227"/>
              <a:gd name="T14" fmla="*/ 2147483646 w 303"/>
              <a:gd name="T15" fmla="*/ 2147483646 h 227"/>
              <a:gd name="T16" fmla="*/ 2147483646 w 303"/>
              <a:gd name="T17" fmla="*/ 2147483646 h 227"/>
              <a:gd name="T18" fmla="*/ 2147483646 w 303"/>
              <a:gd name="T19" fmla="*/ 2147483646 h 227"/>
              <a:gd name="T20" fmla="*/ 2147483646 w 303"/>
              <a:gd name="T21" fmla="*/ 2147483646 h 227"/>
              <a:gd name="T22" fmla="*/ 2147483646 w 303"/>
              <a:gd name="T23" fmla="*/ 2147483646 h 227"/>
              <a:gd name="T24" fmla="*/ 2147483646 w 303"/>
              <a:gd name="T25" fmla="*/ 2147483646 h 227"/>
              <a:gd name="T26" fmla="*/ 2147483646 w 303"/>
              <a:gd name="T27" fmla="*/ 2147483646 h 227"/>
              <a:gd name="T28" fmla="*/ 2147483646 w 303"/>
              <a:gd name="T29" fmla="*/ 2147483646 h 227"/>
              <a:gd name="T30" fmla="*/ 2147483646 w 303"/>
              <a:gd name="T31" fmla="*/ 2147483646 h 227"/>
              <a:gd name="T32" fmla="*/ 2147483646 w 303"/>
              <a:gd name="T33" fmla="*/ 2147483646 h 227"/>
              <a:gd name="T34" fmla="*/ 2147483646 w 303"/>
              <a:gd name="T35" fmla="*/ 2147483646 h 227"/>
              <a:gd name="T36" fmla="*/ 2147483646 w 303"/>
              <a:gd name="T37" fmla="*/ 2147483646 h 227"/>
              <a:gd name="T38" fmla="*/ 2147483646 w 303"/>
              <a:gd name="T39" fmla="*/ 2147483646 h 227"/>
              <a:gd name="T40" fmla="*/ 2147483646 w 303"/>
              <a:gd name="T41" fmla="*/ 2147483646 h 227"/>
              <a:gd name="T42" fmla="*/ 2147483646 w 303"/>
              <a:gd name="T43" fmla="*/ 2147483646 h 227"/>
              <a:gd name="T44" fmla="*/ 2147483646 w 303"/>
              <a:gd name="T45" fmla="*/ 2147483646 h 227"/>
              <a:gd name="T46" fmla="*/ 2147483646 w 303"/>
              <a:gd name="T47" fmla="*/ 2147483646 h 227"/>
              <a:gd name="T48" fmla="*/ 2147483646 w 303"/>
              <a:gd name="T49" fmla="*/ 2147483646 h 227"/>
              <a:gd name="T50" fmla="*/ 2147483646 w 303"/>
              <a:gd name="T51" fmla="*/ 2147483646 h 227"/>
              <a:gd name="T52" fmla="*/ 2147483646 w 303"/>
              <a:gd name="T53" fmla="*/ 2147483646 h 227"/>
              <a:gd name="T54" fmla="*/ 2147483646 w 303"/>
              <a:gd name="T55" fmla="*/ 2147483646 h 227"/>
              <a:gd name="T56" fmla="*/ 2147483646 w 303"/>
              <a:gd name="T57" fmla="*/ 2147483646 h 227"/>
              <a:gd name="T58" fmla="*/ 2147483646 w 303"/>
              <a:gd name="T59" fmla="*/ 2147483646 h 227"/>
              <a:gd name="T60" fmla="*/ 2147483646 w 303"/>
              <a:gd name="T61" fmla="*/ 2147483646 h 227"/>
              <a:gd name="T62" fmla="*/ 2147483646 w 303"/>
              <a:gd name="T63" fmla="*/ 2147483646 h 227"/>
              <a:gd name="T64" fmla="*/ 2147483646 w 303"/>
              <a:gd name="T65" fmla="*/ 2147483646 h 227"/>
              <a:gd name="T66" fmla="*/ 2147483646 w 303"/>
              <a:gd name="T67" fmla="*/ 2147483646 h 227"/>
              <a:gd name="T68" fmla="*/ 2147483646 w 303"/>
              <a:gd name="T69" fmla="*/ 2147483646 h 227"/>
              <a:gd name="T70" fmla="*/ 2147483646 w 303"/>
              <a:gd name="T71" fmla="*/ 2147483646 h 227"/>
              <a:gd name="T72" fmla="*/ 2147483646 w 303"/>
              <a:gd name="T73" fmla="*/ 2147483646 h 227"/>
              <a:gd name="T74" fmla="*/ 2147483646 w 303"/>
              <a:gd name="T75" fmla="*/ 2147483646 h 227"/>
              <a:gd name="T76" fmla="*/ 2147483646 w 303"/>
              <a:gd name="T77" fmla="*/ 2147483646 h 227"/>
              <a:gd name="T78" fmla="*/ 2147483646 w 303"/>
              <a:gd name="T79" fmla="*/ 2147483646 h 227"/>
              <a:gd name="T80" fmla="*/ 2147483646 w 303"/>
              <a:gd name="T81" fmla="*/ 2147483646 h 227"/>
              <a:gd name="T82" fmla="*/ 2147483646 w 303"/>
              <a:gd name="T83" fmla="*/ 2147483646 h 227"/>
              <a:gd name="T84" fmla="*/ 2147483646 w 303"/>
              <a:gd name="T85" fmla="*/ 2147483646 h 227"/>
              <a:gd name="T86" fmla="*/ 2147483646 w 303"/>
              <a:gd name="T87" fmla="*/ 2147483646 h 227"/>
              <a:gd name="T88" fmla="*/ 2147483646 w 303"/>
              <a:gd name="T89" fmla="*/ 2147483646 h 227"/>
              <a:gd name="T90" fmla="*/ 2147483646 w 303"/>
              <a:gd name="T91" fmla="*/ 2147483646 h 227"/>
              <a:gd name="T92" fmla="*/ 2147483646 w 303"/>
              <a:gd name="T93" fmla="*/ 2147483646 h 227"/>
              <a:gd name="T94" fmla="*/ 2147483646 w 303"/>
              <a:gd name="T95" fmla="*/ 2147483646 h 227"/>
              <a:gd name="T96" fmla="*/ 2147483646 w 303"/>
              <a:gd name="T97" fmla="*/ 2147483646 h 227"/>
              <a:gd name="T98" fmla="*/ 2147483646 w 303"/>
              <a:gd name="T99" fmla="*/ 2147483646 h 227"/>
              <a:gd name="T100" fmla="*/ 2147483646 w 303"/>
              <a:gd name="T101" fmla="*/ 2147483646 h 227"/>
              <a:gd name="T102" fmla="*/ 2147483646 w 303"/>
              <a:gd name="T103" fmla="*/ 2147483646 h 227"/>
              <a:gd name="T104" fmla="*/ 2147483646 w 303"/>
              <a:gd name="T105" fmla="*/ 2147483646 h 227"/>
              <a:gd name="T106" fmla="*/ 2147483646 w 303"/>
              <a:gd name="T107" fmla="*/ 2147483646 h 227"/>
              <a:gd name="T108" fmla="*/ 2147483646 w 303"/>
              <a:gd name="T109" fmla="*/ 2147483646 h 227"/>
              <a:gd name="T110" fmla="*/ 2147483646 w 303"/>
              <a:gd name="T111" fmla="*/ 2147483646 h 227"/>
              <a:gd name="T112" fmla="*/ 2147483646 w 303"/>
              <a:gd name="T113" fmla="*/ 2147483646 h 227"/>
              <a:gd name="T114" fmla="*/ 2147483646 w 303"/>
              <a:gd name="T115" fmla="*/ 2147483646 h 227"/>
              <a:gd name="T116" fmla="*/ 2147483646 w 303"/>
              <a:gd name="T117" fmla="*/ 2147483646 h 227"/>
              <a:gd name="T118" fmla="*/ 2147483646 w 303"/>
              <a:gd name="T119" fmla="*/ 2147483646 h 227"/>
              <a:gd name="T120" fmla="*/ 2147483646 w 303"/>
              <a:gd name="T121" fmla="*/ 2147483646 h 227"/>
              <a:gd name="T122" fmla="*/ 2147483646 w 303"/>
              <a:gd name="T123" fmla="*/ 2147483646 h 227"/>
              <a:gd name="T124" fmla="*/ 2147483646 w 303"/>
              <a:gd name="T125" fmla="*/ 2147483646 h 227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303" h="227">
                <a:moveTo>
                  <a:pt x="270" y="186"/>
                </a:moveTo>
                <a:lnTo>
                  <a:pt x="270" y="186"/>
                </a:lnTo>
                <a:lnTo>
                  <a:pt x="273" y="187"/>
                </a:lnTo>
                <a:lnTo>
                  <a:pt x="274" y="188"/>
                </a:lnTo>
                <a:lnTo>
                  <a:pt x="275" y="189"/>
                </a:lnTo>
                <a:lnTo>
                  <a:pt x="277" y="189"/>
                </a:lnTo>
                <a:lnTo>
                  <a:pt x="278" y="189"/>
                </a:lnTo>
                <a:lnTo>
                  <a:pt x="287" y="185"/>
                </a:lnTo>
                <a:lnTo>
                  <a:pt x="289" y="183"/>
                </a:lnTo>
                <a:lnTo>
                  <a:pt x="292" y="181"/>
                </a:lnTo>
                <a:lnTo>
                  <a:pt x="294" y="179"/>
                </a:lnTo>
                <a:lnTo>
                  <a:pt x="295" y="176"/>
                </a:lnTo>
                <a:lnTo>
                  <a:pt x="296" y="173"/>
                </a:lnTo>
                <a:lnTo>
                  <a:pt x="297" y="171"/>
                </a:lnTo>
                <a:lnTo>
                  <a:pt x="297" y="167"/>
                </a:lnTo>
                <a:lnTo>
                  <a:pt x="297" y="164"/>
                </a:lnTo>
                <a:lnTo>
                  <a:pt x="297" y="158"/>
                </a:lnTo>
                <a:lnTo>
                  <a:pt x="296" y="153"/>
                </a:lnTo>
                <a:lnTo>
                  <a:pt x="295" y="148"/>
                </a:lnTo>
                <a:lnTo>
                  <a:pt x="295" y="145"/>
                </a:lnTo>
                <a:lnTo>
                  <a:pt x="295" y="143"/>
                </a:lnTo>
                <a:lnTo>
                  <a:pt x="296" y="140"/>
                </a:lnTo>
                <a:lnTo>
                  <a:pt x="297" y="137"/>
                </a:lnTo>
                <a:lnTo>
                  <a:pt x="299" y="135"/>
                </a:lnTo>
                <a:lnTo>
                  <a:pt x="302" y="132"/>
                </a:lnTo>
                <a:lnTo>
                  <a:pt x="303" y="130"/>
                </a:lnTo>
                <a:lnTo>
                  <a:pt x="299" y="132"/>
                </a:lnTo>
                <a:lnTo>
                  <a:pt x="298" y="134"/>
                </a:lnTo>
                <a:lnTo>
                  <a:pt x="295" y="135"/>
                </a:lnTo>
                <a:lnTo>
                  <a:pt x="291" y="135"/>
                </a:lnTo>
                <a:lnTo>
                  <a:pt x="282" y="130"/>
                </a:lnTo>
                <a:lnTo>
                  <a:pt x="277" y="127"/>
                </a:lnTo>
                <a:lnTo>
                  <a:pt x="274" y="128"/>
                </a:lnTo>
                <a:lnTo>
                  <a:pt x="270" y="133"/>
                </a:lnTo>
                <a:lnTo>
                  <a:pt x="267" y="134"/>
                </a:lnTo>
                <a:lnTo>
                  <a:pt x="262" y="131"/>
                </a:lnTo>
                <a:lnTo>
                  <a:pt x="258" y="129"/>
                </a:lnTo>
                <a:lnTo>
                  <a:pt x="255" y="126"/>
                </a:lnTo>
                <a:lnTo>
                  <a:pt x="252" y="122"/>
                </a:lnTo>
                <a:lnTo>
                  <a:pt x="249" y="119"/>
                </a:lnTo>
                <a:lnTo>
                  <a:pt x="245" y="118"/>
                </a:lnTo>
                <a:lnTo>
                  <a:pt x="241" y="119"/>
                </a:lnTo>
                <a:lnTo>
                  <a:pt x="237" y="122"/>
                </a:lnTo>
                <a:lnTo>
                  <a:pt x="236" y="123"/>
                </a:lnTo>
                <a:lnTo>
                  <a:pt x="231" y="127"/>
                </a:lnTo>
                <a:lnTo>
                  <a:pt x="231" y="130"/>
                </a:lnTo>
                <a:lnTo>
                  <a:pt x="229" y="130"/>
                </a:lnTo>
                <a:lnTo>
                  <a:pt x="225" y="128"/>
                </a:lnTo>
                <a:lnTo>
                  <a:pt x="222" y="127"/>
                </a:lnTo>
                <a:lnTo>
                  <a:pt x="220" y="128"/>
                </a:lnTo>
                <a:lnTo>
                  <a:pt x="218" y="131"/>
                </a:lnTo>
                <a:lnTo>
                  <a:pt x="216" y="133"/>
                </a:lnTo>
                <a:lnTo>
                  <a:pt x="212" y="133"/>
                </a:lnTo>
                <a:lnTo>
                  <a:pt x="211" y="132"/>
                </a:lnTo>
                <a:lnTo>
                  <a:pt x="208" y="133"/>
                </a:lnTo>
                <a:lnTo>
                  <a:pt x="205" y="139"/>
                </a:lnTo>
                <a:lnTo>
                  <a:pt x="202" y="140"/>
                </a:lnTo>
                <a:lnTo>
                  <a:pt x="198" y="141"/>
                </a:lnTo>
                <a:lnTo>
                  <a:pt x="195" y="140"/>
                </a:lnTo>
                <a:lnTo>
                  <a:pt x="192" y="132"/>
                </a:lnTo>
                <a:lnTo>
                  <a:pt x="189" y="128"/>
                </a:lnTo>
                <a:lnTo>
                  <a:pt x="188" y="128"/>
                </a:lnTo>
                <a:lnTo>
                  <a:pt x="182" y="119"/>
                </a:lnTo>
                <a:lnTo>
                  <a:pt x="186" y="118"/>
                </a:lnTo>
                <a:lnTo>
                  <a:pt x="190" y="116"/>
                </a:lnTo>
                <a:lnTo>
                  <a:pt x="189" y="112"/>
                </a:lnTo>
                <a:lnTo>
                  <a:pt x="186" y="113"/>
                </a:lnTo>
                <a:lnTo>
                  <a:pt x="181" y="113"/>
                </a:lnTo>
                <a:lnTo>
                  <a:pt x="179" y="114"/>
                </a:lnTo>
                <a:lnTo>
                  <a:pt x="178" y="111"/>
                </a:lnTo>
                <a:lnTo>
                  <a:pt x="179" y="110"/>
                </a:lnTo>
                <a:lnTo>
                  <a:pt x="180" y="107"/>
                </a:lnTo>
                <a:lnTo>
                  <a:pt x="181" y="107"/>
                </a:lnTo>
                <a:lnTo>
                  <a:pt x="182" y="105"/>
                </a:lnTo>
                <a:lnTo>
                  <a:pt x="185" y="100"/>
                </a:lnTo>
                <a:lnTo>
                  <a:pt x="190" y="98"/>
                </a:lnTo>
                <a:lnTo>
                  <a:pt x="194" y="94"/>
                </a:lnTo>
                <a:lnTo>
                  <a:pt x="185" y="95"/>
                </a:lnTo>
                <a:lnTo>
                  <a:pt x="184" y="92"/>
                </a:lnTo>
                <a:lnTo>
                  <a:pt x="183" y="80"/>
                </a:lnTo>
                <a:lnTo>
                  <a:pt x="182" y="79"/>
                </a:lnTo>
                <a:lnTo>
                  <a:pt x="177" y="74"/>
                </a:lnTo>
                <a:lnTo>
                  <a:pt x="179" y="73"/>
                </a:lnTo>
                <a:lnTo>
                  <a:pt x="180" y="70"/>
                </a:lnTo>
                <a:lnTo>
                  <a:pt x="180" y="69"/>
                </a:lnTo>
                <a:lnTo>
                  <a:pt x="181" y="68"/>
                </a:lnTo>
                <a:lnTo>
                  <a:pt x="182" y="69"/>
                </a:lnTo>
                <a:lnTo>
                  <a:pt x="186" y="67"/>
                </a:lnTo>
                <a:lnTo>
                  <a:pt x="187" y="68"/>
                </a:lnTo>
                <a:lnTo>
                  <a:pt x="188" y="68"/>
                </a:lnTo>
                <a:lnTo>
                  <a:pt x="191" y="70"/>
                </a:lnTo>
                <a:lnTo>
                  <a:pt x="190" y="71"/>
                </a:lnTo>
                <a:lnTo>
                  <a:pt x="191" y="72"/>
                </a:lnTo>
                <a:lnTo>
                  <a:pt x="194" y="70"/>
                </a:lnTo>
                <a:lnTo>
                  <a:pt x="194" y="69"/>
                </a:lnTo>
                <a:lnTo>
                  <a:pt x="193" y="63"/>
                </a:lnTo>
                <a:lnTo>
                  <a:pt x="199" y="61"/>
                </a:lnTo>
                <a:lnTo>
                  <a:pt x="190" y="55"/>
                </a:lnTo>
                <a:lnTo>
                  <a:pt x="186" y="53"/>
                </a:lnTo>
                <a:lnTo>
                  <a:pt x="181" y="46"/>
                </a:lnTo>
                <a:lnTo>
                  <a:pt x="177" y="46"/>
                </a:lnTo>
                <a:lnTo>
                  <a:pt x="174" y="47"/>
                </a:lnTo>
                <a:lnTo>
                  <a:pt x="170" y="39"/>
                </a:lnTo>
                <a:lnTo>
                  <a:pt x="169" y="40"/>
                </a:lnTo>
                <a:lnTo>
                  <a:pt x="164" y="41"/>
                </a:lnTo>
                <a:lnTo>
                  <a:pt x="163" y="44"/>
                </a:lnTo>
                <a:lnTo>
                  <a:pt x="160" y="43"/>
                </a:lnTo>
                <a:lnTo>
                  <a:pt x="160" y="35"/>
                </a:lnTo>
                <a:lnTo>
                  <a:pt x="155" y="35"/>
                </a:lnTo>
                <a:lnTo>
                  <a:pt x="153" y="36"/>
                </a:lnTo>
                <a:lnTo>
                  <a:pt x="150" y="37"/>
                </a:lnTo>
                <a:lnTo>
                  <a:pt x="147" y="36"/>
                </a:lnTo>
                <a:lnTo>
                  <a:pt x="143" y="39"/>
                </a:lnTo>
                <a:lnTo>
                  <a:pt x="138" y="41"/>
                </a:lnTo>
                <a:lnTo>
                  <a:pt x="132" y="41"/>
                </a:lnTo>
                <a:lnTo>
                  <a:pt x="127" y="40"/>
                </a:lnTo>
                <a:lnTo>
                  <a:pt x="123" y="40"/>
                </a:lnTo>
                <a:lnTo>
                  <a:pt x="122" y="38"/>
                </a:lnTo>
                <a:lnTo>
                  <a:pt x="123" y="36"/>
                </a:lnTo>
                <a:lnTo>
                  <a:pt x="124" y="34"/>
                </a:lnTo>
                <a:lnTo>
                  <a:pt x="125" y="29"/>
                </a:lnTo>
                <a:lnTo>
                  <a:pt x="126" y="22"/>
                </a:lnTo>
                <a:lnTo>
                  <a:pt x="130" y="18"/>
                </a:lnTo>
                <a:lnTo>
                  <a:pt x="132" y="12"/>
                </a:lnTo>
                <a:lnTo>
                  <a:pt x="134" y="5"/>
                </a:lnTo>
                <a:lnTo>
                  <a:pt x="132" y="4"/>
                </a:lnTo>
                <a:lnTo>
                  <a:pt x="130" y="5"/>
                </a:lnTo>
                <a:lnTo>
                  <a:pt x="126" y="4"/>
                </a:lnTo>
                <a:lnTo>
                  <a:pt x="125" y="6"/>
                </a:lnTo>
                <a:lnTo>
                  <a:pt x="111" y="0"/>
                </a:lnTo>
                <a:lnTo>
                  <a:pt x="104" y="14"/>
                </a:lnTo>
                <a:lnTo>
                  <a:pt x="91" y="38"/>
                </a:lnTo>
                <a:lnTo>
                  <a:pt x="84" y="50"/>
                </a:lnTo>
                <a:lnTo>
                  <a:pt x="71" y="68"/>
                </a:lnTo>
                <a:lnTo>
                  <a:pt x="68" y="71"/>
                </a:lnTo>
                <a:lnTo>
                  <a:pt x="57" y="82"/>
                </a:lnTo>
                <a:lnTo>
                  <a:pt x="54" y="86"/>
                </a:lnTo>
                <a:lnTo>
                  <a:pt x="44" y="98"/>
                </a:lnTo>
                <a:lnTo>
                  <a:pt x="43" y="99"/>
                </a:lnTo>
                <a:lnTo>
                  <a:pt x="34" y="109"/>
                </a:lnTo>
                <a:lnTo>
                  <a:pt x="28" y="117"/>
                </a:lnTo>
                <a:lnTo>
                  <a:pt x="20" y="123"/>
                </a:lnTo>
                <a:lnTo>
                  <a:pt x="6" y="122"/>
                </a:lnTo>
                <a:lnTo>
                  <a:pt x="4" y="122"/>
                </a:lnTo>
                <a:lnTo>
                  <a:pt x="3" y="124"/>
                </a:lnTo>
                <a:lnTo>
                  <a:pt x="0" y="129"/>
                </a:lnTo>
                <a:lnTo>
                  <a:pt x="1" y="131"/>
                </a:lnTo>
                <a:lnTo>
                  <a:pt x="4" y="134"/>
                </a:lnTo>
                <a:lnTo>
                  <a:pt x="4" y="137"/>
                </a:lnTo>
                <a:lnTo>
                  <a:pt x="5" y="143"/>
                </a:lnTo>
                <a:lnTo>
                  <a:pt x="5" y="144"/>
                </a:lnTo>
                <a:lnTo>
                  <a:pt x="5" y="145"/>
                </a:lnTo>
                <a:lnTo>
                  <a:pt x="7" y="148"/>
                </a:lnTo>
                <a:lnTo>
                  <a:pt x="8" y="145"/>
                </a:lnTo>
                <a:lnTo>
                  <a:pt x="11" y="148"/>
                </a:lnTo>
                <a:lnTo>
                  <a:pt x="5" y="158"/>
                </a:lnTo>
                <a:lnTo>
                  <a:pt x="12" y="169"/>
                </a:lnTo>
                <a:lnTo>
                  <a:pt x="13" y="171"/>
                </a:lnTo>
                <a:lnTo>
                  <a:pt x="12" y="174"/>
                </a:lnTo>
                <a:lnTo>
                  <a:pt x="10" y="177"/>
                </a:lnTo>
                <a:lnTo>
                  <a:pt x="11" y="178"/>
                </a:lnTo>
                <a:lnTo>
                  <a:pt x="13" y="176"/>
                </a:lnTo>
                <a:lnTo>
                  <a:pt x="15" y="175"/>
                </a:lnTo>
                <a:lnTo>
                  <a:pt x="18" y="179"/>
                </a:lnTo>
                <a:lnTo>
                  <a:pt x="22" y="180"/>
                </a:lnTo>
                <a:lnTo>
                  <a:pt x="24" y="182"/>
                </a:lnTo>
                <a:lnTo>
                  <a:pt x="25" y="181"/>
                </a:lnTo>
                <a:lnTo>
                  <a:pt x="26" y="181"/>
                </a:lnTo>
                <a:lnTo>
                  <a:pt x="26" y="182"/>
                </a:lnTo>
                <a:lnTo>
                  <a:pt x="26" y="183"/>
                </a:lnTo>
                <a:lnTo>
                  <a:pt x="28" y="182"/>
                </a:lnTo>
                <a:lnTo>
                  <a:pt x="32" y="182"/>
                </a:lnTo>
                <a:lnTo>
                  <a:pt x="33" y="183"/>
                </a:lnTo>
                <a:lnTo>
                  <a:pt x="39" y="188"/>
                </a:lnTo>
                <a:lnTo>
                  <a:pt x="44" y="190"/>
                </a:lnTo>
                <a:lnTo>
                  <a:pt x="47" y="193"/>
                </a:lnTo>
                <a:lnTo>
                  <a:pt x="48" y="194"/>
                </a:lnTo>
                <a:lnTo>
                  <a:pt x="52" y="196"/>
                </a:lnTo>
                <a:lnTo>
                  <a:pt x="52" y="197"/>
                </a:lnTo>
                <a:lnTo>
                  <a:pt x="51" y="197"/>
                </a:lnTo>
                <a:lnTo>
                  <a:pt x="50" y="197"/>
                </a:lnTo>
                <a:lnTo>
                  <a:pt x="53" y="202"/>
                </a:lnTo>
                <a:lnTo>
                  <a:pt x="54" y="203"/>
                </a:lnTo>
                <a:lnTo>
                  <a:pt x="63" y="205"/>
                </a:lnTo>
                <a:lnTo>
                  <a:pt x="70" y="208"/>
                </a:lnTo>
                <a:lnTo>
                  <a:pt x="71" y="209"/>
                </a:lnTo>
                <a:lnTo>
                  <a:pt x="89" y="219"/>
                </a:lnTo>
                <a:lnTo>
                  <a:pt x="93" y="220"/>
                </a:lnTo>
                <a:lnTo>
                  <a:pt x="97" y="221"/>
                </a:lnTo>
                <a:lnTo>
                  <a:pt x="104" y="223"/>
                </a:lnTo>
                <a:lnTo>
                  <a:pt x="114" y="227"/>
                </a:lnTo>
                <a:lnTo>
                  <a:pt x="118" y="227"/>
                </a:lnTo>
                <a:lnTo>
                  <a:pt x="134" y="221"/>
                </a:lnTo>
                <a:lnTo>
                  <a:pt x="136" y="219"/>
                </a:lnTo>
                <a:lnTo>
                  <a:pt x="138" y="216"/>
                </a:lnTo>
                <a:lnTo>
                  <a:pt x="139" y="217"/>
                </a:lnTo>
                <a:lnTo>
                  <a:pt x="138" y="219"/>
                </a:lnTo>
                <a:lnTo>
                  <a:pt x="139" y="220"/>
                </a:lnTo>
                <a:lnTo>
                  <a:pt x="141" y="219"/>
                </a:lnTo>
                <a:lnTo>
                  <a:pt x="143" y="217"/>
                </a:lnTo>
                <a:lnTo>
                  <a:pt x="143" y="215"/>
                </a:lnTo>
                <a:lnTo>
                  <a:pt x="146" y="210"/>
                </a:lnTo>
                <a:lnTo>
                  <a:pt x="148" y="208"/>
                </a:lnTo>
                <a:lnTo>
                  <a:pt x="151" y="206"/>
                </a:lnTo>
                <a:lnTo>
                  <a:pt x="152" y="208"/>
                </a:lnTo>
                <a:lnTo>
                  <a:pt x="150" y="209"/>
                </a:lnTo>
                <a:lnTo>
                  <a:pt x="149" y="211"/>
                </a:lnTo>
                <a:lnTo>
                  <a:pt x="149" y="212"/>
                </a:lnTo>
                <a:lnTo>
                  <a:pt x="151" y="212"/>
                </a:lnTo>
                <a:lnTo>
                  <a:pt x="152" y="214"/>
                </a:lnTo>
                <a:lnTo>
                  <a:pt x="154" y="214"/>
                </a:lnTo>
                <a:lnTo>
                  <a:pt x="158" y="212"/>
                </a:lnTo>
                <a:lnTo>
                  <a:pt x="159" y="212"/>
                </a:lnTo>
                <a:lnTo>
                  <a:pt x="162" y="210"/>
                </a:lnTo>
                <a:lnTo>
                  <a:pt x="164" y="208"/>
                </a:lnTo>
                <a:lnTo>
                  <a:pt x="166" y="204"/>
                </a:lnTo>
                <a:lnTo>
                  <a:pt x="167" y="197"/>
                </a:lnTo>
                <a:lnTo>
                  <a:pt x="170" y="195"/>
                </a:lnTo>
                <a:lnTo>
                  <a:pt x="172" y="193"/>
                </a:lnTo>
                <a:lnTo>
                  <a:pt x="174" y="193"/>
                </a:lnTo>
                <a:lnTo>
                  <a:pt x="179" y="191"/>
                </a:lnTo>
                <a:lnTo>
                  <a:pt x="185" y="192"/>
                </a:lnTo>
                <a:lnTo>
                  <a:pt x="189" y="191"/>
                </a:lnTo>
                <a:lnTo>
                  <a:pt x="192" y="189"/>
                </a:lnTo>
                <a:lnTo>
                  <a:pt x="195" y="186"/>
                </a:lnTo>
                <a:lnTo>
                  <a:pt x="198" y="184"/>
                </a:lnTo>
                <a:lnTo>
                  <a:pt x="198" y="183"/>
                </a:lnTo>
                <a:lnTo>
                  <a:pt x="202" y="182"/>
                </a:lnTo>
                <a:lnTo>
                  <a:pt x="207" y="181"/>
                </a:lnTo>
                <a:lnTo>
                  <a:pt x="211" y="182"/>
                </a:lnTo>
                <a:lnTo>
                  <a:pt x="221" y="184"/>
                </a:lnTo>
                <a:lnTo>
                  <a:pt x="224" y="187"/>
                </a:lnTo>
                <a:lnTo>
                  <a:pt x="233" y="193"/>
                </a:lnTo>
                <a:lnTo>
                  <a:pt x="236" y="198"/>
                </a:lnTo>
                <a:lnTo>
                  <a:pt x="237" y="199"/>
                </a:lnTo>
                <a:lnTo>
                  <a:pt x="243" y="196"/>
                </a:lnTo>
                <a:lnTo>
                  <a:pt x="244" y="197"/>
                </a:lnTo>
                <a:lnTo>
                  <a:pt x="249" y="193"/>
                </a:lnTo>
                <a:lnTo>
                  <a:pt x="256" y="189"/>
                </a:lnTo>
                <a:lnTo>
                  <a:pt x="260" y="188"/>
                </a:lnTo>
                <a:lnTo>
                  <a:pt x="263" y="186"/>
                </a:lnTo>
                <a:lnTo>
                  <a:pt x="267" y="186"/>
                </a:lnTo>
                <a:lnTo>
                  <a:pt x="269" y="186"/>
                </a:lnTo>
                <a:lnTo>
                  <a:pt x="270" y="186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2" name="Freeform 33"/>
          <p:cNvSpPr>
            <a:spLocks/>
          </p:cNvSpPr>
          <p:nvPr/>
        </p:nvSpPr>
        <p:spPr bwMode="auto">
          <a:xfrm>
            <a:off x="3219450" y="2120900"/>
            <a:ext cx="261938" cy="357188"/>
          </a:xfrm>
          <a:custGeom>
            <a:avLst/>
            <a:gdLst>
              <a:gd name="T0" fmla="*/ 2147483646 w 44"/>
              <a:gd name="T1" fmla="*/ 2147483646 h 71"/>
              <a:gd name="T2" fmla="*/ 2147483646 w 44"/>
              <a:gd name="T3" fmla="*/ 2147483646 h 71"/>
              <a:gd name="T4" fmla="*/ 2147483646 w 44"/>
              <a:gd name="T5" fmla="*/ 2147483646 h 71"/>
              <a:gd name="T6" fmla="*/ 2147483646 w 44"/>
              <a:gd name="T7" fmla="*/ 2147483646 h 71"/>
              <a:gd name="T8" fmla="*/ 2147483646 w 44"/>
              <a:gd name="T9" fmla="*/ 2147483646 h 71"/>
              <a:gd name="T10" fmla="*/ 2147483646 w 44"/>
              <a:gd name="T11" fmla="*/ 2147483646 h 71"/>
              <a:gd name="T12" fmla="*/ 2147483646 w 44"/>
              <a:gd name="T13" fmla="*/ 2147483646 h 71"/>
              <a:gd name="T14" fmla="*/ 2147483646 w 44"/>
              <a:gd name="T15" fmla="*/ 2147483646 h 71"/>
              <a:gd name="T16" fmla="*/ 2147483646 w 44"/>
              <a:gd name="T17" fmla="*/ 2147483646 h 71"/>
              <a:gd name="T18" fmla="*/ 2147483646 w 44"/>
              <a:gd name="T19" fmla="*/ 2147483646 h 71"/>
              <a:gd name="T20" fmla="*/ 2147483646 w 44"/>
              <a:gd name="T21" fmla="*/ 2147483646 h 71"/>
              <a:gd name="T22" fmla="*/ 2147483646 w 44"/>
              <a:gd name="T23" fmla="*/ 2147483646 h 71"/>
              <a:gd name="T24" fmla="*/ 2147483646 w 44"/>
              <a:gd name="T25" fmla="*/ 2147483646 h 71"/>
              <a:gd name="T26" fmla="*/ 2147483646 w 44"/>
              <a:gd name="T27" fmla="*/ 2147483646 h 71"/>
              <a:gd name="T28" fmla="*/ 2147483646 w 44"/>
              <a:gd name="T29" fmla="*/ 2147483646 h 71"/>
              <a:gd name="T30" fmla="*/ 2147483646 w 44"/>
              <a:gd name="T31" fmla="*/ 2147483646 h 71"/>
              <a:gd name="T32" fmla="*/ 2147483646 w 44"/>
              <a:gd name="T33" fmla="*/ 2147483646 h 71"/>
              <a:gd name="T34" fmla="*/ 2147483646 w 44"/>
              <a:gd name="T35" fmla="*/ 2147483646 h 71"/>
              <a:gd name="T36" fmla="*/ 2147483646 w 44"/>
              <a:gd name="T37" fmla="*/ 2147483646 h 71"/>
              <a:gd name="T38" fmla="*/ 2147483646 w 44"/>
              <a:gd name="T39" fmla="*/ 2147483646 h 71"/>
              <a:gd name="T40" fmla="*/ 2147483646 w 44"/>
              <a:gd name="T41" fmla="*/ 2147483646 h 71"/>
              <a:gd name="T42" fmla="*/ 2147483646 w 44"/>
              <a:gd name="T43" fmla="*/ 2147483646 h 71"/>
              <a:gd name="T44" fmla="*/ 2147483646 w 44"/>
              <a:gd name="T45" fmla="*/ 2147483646 h 71"/>
              <a:gd name="T46" fmla="*/ 2147483646 w 44"/>
              <a:gd name="T47" fmla="*/ 2147483646 h 71"/>
              <a:gd name="T48" fmla="*/ 2147483646 w 44"/>
              <a:gd name="T49" fmla="*/ 2147483646 h 71"/>
              <a:gd name="T50" fmla="*/ 2147483646 w 44"/>
              <a:gd name="T51" fmla="*/ 2147483646 h 71"/>
              <a:gd name="T52" fmla="*/ 2147483646 w 44"/>
              <a:gd name="T53" fmla="*/ 2147483646 h 71"/>
              <a:gd name="T54" fmla="*/ 2147483646 w 44"/>
              <a:gd name="T55" fmla="*/ 2147483646 h 71"/>
              <a:gd name="T56" fmla="*/ 2147483646 w 44"/>
              <a:gd name="T57" fmla="*/ 2147483646 h 71"/>
              <a:gd name="T58" fmla="*/ 2147483646 w 44"/>
              <a:gd name="T59" fmla="*/ 2147483646 h 71"/>
              <a:gd name="T60" fmla="*/ 2147483646 w 44"/>
              <a:gd name="T61" fmla="*/ 2147483646 h 71"/>
              <a:gd name="T62" fmla="*/ 2147483646 w 44"/>
              <a:gd name="T63" fmla="*/ 2147483646 h 71"/>
              <a:gd name="T64" fmla="*/ 2147483646 w 44"/>
              <a:gd name="T65" fmla="*/ 2147483646 h 71"/>
              <a:gd name="T66" fmla="*/ 2147483646 w 44"/>
              <a:gd name="T67" fmla="*/ 2147483646 h 71"/>
              <a:gd name="T68" fmla="*/ 2147483646 w 44"/>
              <a:gd name="T69" fmla="*/ 2147483646 h 71"/>
              <a:gd name="T70" fmla="*/ 2147483646 w 44"/>
              <a:gd name="T71" fmla="*/ 2147483646 h 71"/>
              <a:gd name="T72" fmla="*/ 2147483646 w 44"/>
              <a:gd name="T73" fmla="*/ 2147483646 h 71"/>
              <a:gd name="T74" fmla="*/ 2147483646 w 44"/>
              <a:gd name="T75" fmla="*/ 2147483646 h 71"/>
              <a:gd name="T76" fmla="*/ 2147483646 w 44"/>
              <a:gd name="T77" fmla="*/ 2147483646 h 71"/>
              <a:gd name="T78" fmla="*/ 2147483646 w 44"/>
              <a:gd name="T79" fmla="*/ 2147483646 h 71"/>
              <a:gd name="T80" fmla="*/ 2147483646 w 44"/>
              <a:gd name="T81" fmla="*/ 2147483646 h 71"/>
              <a:gd name="T82" fmla="*/ 2147483646 w 44"/>
              <a:gd name="T83" fmla="*/ 2147483646 h 71"/>
              <a:gd name="T84" fmla="*/ 2147483646 w 44"/>
              <a:gd name="T85" fmla="*/ 2147483646 h 71"/>
              <a:gd name="T86" fmla="*/ 2147483646 w 44"/>
              <a:gd name="T87" fmla="*/ 2147483646 h 71"/>
              <a:gd name="T88" fmla="*/ 2147483646 w 44"/>
              <a:gd name="T89" fmla="*/ 0 h 71"/>
              <a:gd name="T90" fmla="*/ 2147483646 w 44"/>
              <a:gd name="T91" fmla="*/ 2147483646 h 71"/>
              <a:gd name="T92" fmla="*/ 2147483646 w 44"/>
              <a:gd name="T93" fmla="*/ 2147483646 h 71"/>
              <a:gd name="T94" fmla="*/ 2147483646 w 44"/>
              <a:gd name="T95" fmla="*/ 2147483646 h 71"/>
              <a:gd name="T96" fmla="*/ 2147483646 w 44"/>
              <a:gd name="T97" fmla="*/ 2147483646 h 71"/>
              <a:gd name="T98" fmla="*/ 2147483646 w 44"/>
              <a:gd name="T99" fmla="*/ 2147483646 h 71"/>
              <a:gd name="T100" fmla="*/ 0 w 44"/>
              <a:gd name="T101" fmla="*/ 2147483646 h 71"/>
              <a:gd name="T102" fmla="*/ 0 w 44"/>
              <a:gd name="T103" fmla="*/ 2147483646 h 71"/>
              <a:gd name="T104" fmla="*/ 2147483646 w 44"/>
              <a:gd name="T105" fmla="*/ 2147483646 h 71"/>
              <a:gd name="T106" fmla="*/ 2147483646 w 44"/>
              <a:gd name="T107" fmla="*/ 2147483646 h 7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44" h="71">
                <a:moveTo>
                  <a:pt x="2" y="68"/>
                </a:moveTo>
                <a:lnTo>
                  <a:pt x="4" y="71"/>
                </a:lnTo>
                <a:lnTo>
                  <a:pt x="6" y="71"/>
                </a:lnTo>
                <a:lnTo>
                  <a:pt x="7" y="70"/>
                </a:lnTo>
                <a:lnTo>
                  <a:pt x="8" y="69"/>
                </a:lnTo>
                <a:lnTo>
                  <a:pt x="10" y="70"/>
                </a:lnTo>
                <a:lnTo>
                  <a:pt x="10" y="69"/>
                </a:lnTo>
                <a:lnTo>
                  <a:pt x="12" y="68"/>
                </a:lnTo>
                <a:lnTo>
                  <a:pt x="13" y="67"/>
                </a:lnTo>
                <a:lnTo>
                  <a:pt x="15" y="67"/>
                </a:lnTo>
                <a:lnTo>
                  <a:pt x="14" y="67"/>
                </a:lnTo>
                <a:lnTo>
                  <a:pt x="11" y="65"/>
                </a:lnTo>
                <a:lnTo>
                  <a:pt x="10" y="63"/>
                </a:lnTo>
                <a:lnTo>
                  <a:pt x="11" y="63"/>
                </a:lnTo>
                <a:lnTo>
                  <a:pt x="13" y="63"/>
                </a:lnTo>
                <a:lnTo>
                  <a:pt x="15" y="64"/>
                </a:lnTo>
                <a:lnTo>
                  <a:pt x="17" y="66"/>
                </a:lnTo>
                <a:lnTo>
                  <a:pt x="18" y="66"/>
                </a:lnTo>
                <a:lnTo>
                  <a:pt x="19" y="65"/>
                </a:lnTo>
                <a:lnTo>
                  <a:pt x="20" y="64"/>
                </a:lnTo>
                <a:lnTo>
                  <a:pt x="19" y="64"/>
                </a:lnTo>
                <a:lnTo>
                  <a:pt x="19" y="63"/>
                </a:lnTo>
                <a:lnTo>
                  <a:pt x="25" y="56"/>
                </a:lnTo>
                <a:lnTo>
                  <a:pt x="30" y="55"/>
                </a:lnTo>
                <a:lnTo>
                  <a:pt x="32" y="52"/>
                </a:lnTo>
                <a:lnTo>
                  <a:pt x="36" y="47"/>
                </a:lnTo>
                <a:lnTo>
                  <a:pt x="36" y="46"/>
                </a:lnTo>
                <a:lnTo>
                  <a:pt x="37" y="43"/>
                </a:lnTo>
                <a:lnTo>
                  <a:pt x="39" y="40"/>
                </a:lnTo>
                <a:lnTo>
                  <a:pt x="40" y="40"/>
                </a:lnTo>
                <a:lnTo>
                  <a:pt x="42" y="38"/>
                </a:lnTo>
                <a:lnTo>
                  <a:pt x="42" y="37"/>
                </a:lnTo>
                <a:lnTo>
                  <a:pt x="42" y="35"/>
                </a:lnTo>
                <a:lnTo>
                  <a:pt x="43" y="30"/>
                </a:lnTo>
                <a:lnTo>
                  <a:pt x="42" y="21"/>
                </a:lnTo>
                <a:lnTo>
                  <a:pt x="43" y="20"/>
                </a:lnTo>
                <a:lnTo>
                  <a:pt x="44" y="19"/>
                </a:lnTo>
                <a:lnTo>
                  <a:pt x="44" y="18"/>
                </a:lnTo>
                <a:lnTo>
                  <a:pt x="40" y="9"/>
                </a:lnTo>
                <a:lnTo>
                  <a:pt x="38" y="9"/>
                </a:lnTo>
                <a:lnTo>
                  <a:pt x="38" y="7"/>
                </a:lnTo>
                <a:lnTo>
                  <a:pt x="37" y="4"/>
                </a:lnTo>
                <a:lnTo>
                  <a:pt x="35" y="1"/>
                </a:lnTo>
                <a:lnTo>
                  <a:pt x="33" y="0"/>
                </a:lnTo>
                <a:lnTo>
                  <a:pt x="30" y="2"/>
                </a:lnTo>
                <a:lnTo>
                  <a:pt x="27" y="5"/>
                </a:lnTo>
                <a:lnTo>
                  <a:pt x="9" y="33"/>
                </a:lnTo>
                <a:lnTo>
                  <a:pt x="2" y="47"/>
                </a:lnTo>
                <a:lnTo>
                  <a:pt x="1" y="51"/>
                </a:lnTo>
                <a:lnTo>
                  <a:pt x="0" y="56"/>
                </a:lnTo>
                <a:lnTo>
                  <a:pt x="0" y="62"/>
                </a:lnTo>
                <a:lnTo>
                  <a:pt x="1" y="65"/>
                </a:lnTo>
                <a:lnTo>
                  <a:pt x="2" y="68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3" name="Freeform 34"/>
          <p:cNvSpPr>
            <a:spLocks/>
          </p:cNvSpPr>
          <p:nvPr/>
        </p:nvSpPr>
        <p:spPr bwMode="auto">
          <a:xfrm>
            <a:off x="3419475" y="1893888"/>
            <a:ext cx="322263" cy="169862"/>
          </a:xfrm>
          <a:custGeom>
            <a:avLst/>
            <a:gdLst>
              <a:gd name="T0" fmla="*/ 2147483646 w 54"/>
              <a:gd name="T1" fmla="*/ 2147483646 h 34"/>
              <a:gd name="T2" fmla="*/ 2147483646 w 54"/>
              <a:gd name="T3" fmla="*/ 2147483646 h 34"/>
              <a:gd name="T4" fmla="*/ 2147483646 w 54"/>
              <a:gd name="T5" fmla="*/ 2147483646 h 34"/>
              <a:gd name="T6" fmla="*/ 2147483646 w 54"/>
              <a:gd name="T7" fmla="*/ 2147483646 h 34"/>
              <a:gd name="T8" fmla="*/ 2147483646 w 54"/>
              <a:gd name="T9" fmla="*/ 2147483646 h 34"/>
              <a:gd name="T10" fmla="*/ 2147483646 w 54"/>
              <a:gd name="T11" fmla="*/ 2147483646 h 34"/>
              <a:gd name="T12" fmla="*/ 2147483646 w 54"/>
              <a:gd name="T13" fmla="*/ 2147483646 h 34"/>
              <a:gd name="T14" fmla="*/ 2147483646 w 54"/>
              <a:gd name="T15" fmla="*/ 2147483646 h 34"/>
              <a:gd name="T16" fmla="*/ 2147483646 w 54"/>
              <a:gd name="T17" fmla="*/ 2147483646 h 34"/>
              <a:gd name="T18" fmla="*/ 2147483646 w 54"/>
              <a:gd name="T19" fmla="*/ 2147483646 h 34"/>
              <a:gd name="T20" fmla="*/ 2147483646 w 54"/>
              <a:gd name="T21" fmla="*/ 2147483646 h 34"/>
              <a:gd name="T22" fmla="*/ 2147483646 w 54"/>
              <a:gd name="T23" fmla="*/ 2147483646 h 34"/>
              <a:gd name="T24" fmla="*/ 2147483646 w 54"/>
              <a:gd name="T25" fmla="*/ 2147483646 h 34"/>
              <a:gd name="T26" fmla="*/ 2147483646 w 54"/>
              <a:gd name="T27" fmla="*/ 2147483646 h 34"/>
              <a:gd name="T28" fmla="*/ 2147483646 w 54"/>
              <a:gd name="T29" fmla="*/ 2147483646 h 34"/>
              <a:gd name="T30" fmla="*/ 2147483646 w 54"/>
              <a:gd name="T31" fmla="*/ 2147483646 h 34"/>
              <a:gd name="T32" fmla="*/ 2147483646 w 54"/>
              <a:gd name="T33" fmla="*/ 2147483646 h 34"/>
              <a:gd name="T34" fmla="*/ 2147483646 w 54"/>
              <a:gd name="T35" fmla="*/ 2147483646 h 34"/>
              <a:gd name="T36" fmla="*/ 2147483646 w 54"/>
              <a:gd name="T37" fmla="*/ 2147483646 h 34"/>
              <a:gd name="T38" fmla="*/ 2147483646 w 54"/>
              <a:gd name="T39" fmla="*/ 0 h 34"/>
              <a:gd name="T40" fmla="*/ 2147483646 w 54"/>
              <a:gd name="T41" fmla="*/ 0 h 34"/>
              <a:gd name="T42" fmla="*/ 2147483646 w 54"/>
              <a:gd name="T43" fmla="*/ 0 h 34"/>
              <a:gd name="T44" fmla="*/ 2147483646 w 54"/>
              <a:gd name="T45" fmla="*/ 0 h 34"/>
              <a:gd name="T46" fmla="*/ 2147483646 w 54"/>
              <a:gd name="T47" fmla="*/ 2147483646 h 34"/>
              <a:gd name="T48" fmla="*/ 2147483646 w 54"/>
              <a:gd name="T49" fmla="*/ 2147483646 h 34"/>
              <a:gd name="T50" fmla="*/ 2147483646 w 54"/>
              <a:gd name="T51" fmla="*/ 2147483646 h 34"/>
              <a:gd name="T52" fmla="*/ 2147483646 w 54"/>
              <a:gd name="T53" fmla="*/ 2147483646 h 34"/>
              <a:gd name="T54" fmla="*/ 2147483646 w 54"/>
              <a:gd name="T55" fmla="*/ 2147483646 h 34"/>
              <a:gd name="T56" fmla="*/ 2147483646 w 54"/>
              <a:gd name="T57" fmla="*/ 2147483646 h 34"/>
              <a:gd name="T58" fmla="*/ 2147483646 w 54"/>
              <a:gd name="T59" fmla="*/ 2147483646 h 34"/>
              <a:gd name="T60" fmla="*/ 0 w 54"/>
              <a:gd name="T61" fmla="*/ 2147483646 h 34"/>
              <a:gd name="T62" fmla="*/ 0 w 54"/>
              <a:gd name="T63" fmla="*/ 2147483646 h 34"/>
              <a:gd name="T64" fmla="*/ 2147483646 w 54"/>
              <a:gd name="T65" fmla="*/ 2147483646 h 34"/>
              <a:gd name="T66" fmla="*/ 2147483646 w 54"/>
              <a:gd name="T67" fmla="*/ 2147483646 h 34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0" t="0" r="r" b="b"/>
            <a:pathLst>
              <a:path w="54" h="34">
                <a:moveTo>
                  <a:pt x="4" y="34"/>
                </a:moveTo>
                <a:lnTo>
                  <a:pt x="5" y="33"/>
                </a:lnTo>
                <a:lnTo>
                  <a:pt x="12" y="34"/>
                </a:lnTo>
                <a:lnTo>
                  <a:pt x="13" y="34"/>
                </a:lnTo>
                <a:lnTo>
                  <a:pt x="15" y="32"/>
                </a:lnTo>
                <a:lnTo>
                  <a:pt x="16" y="28"/>
                </a:lnTo>
                <a:lnTo>
                  <a:pt x="19" y="26"/>
                </a:lnTo>
                <a:lnTo>
                  <a:pt x="22" y="25"/>
                </a:lnTo>
                <a:lnTo>
                  <a:pt x="27" y="22"/>
                </a:lnTo>
                <a:lnTo>
                  <a:pt x="27" y="21"/>
                </a:lnTo>
                <a:lnTo>
                  <a:pt x="26" y="20"/>
                </a:lnTo>
                <a:lnTo>
                  <a:pt x="25" y="15"/>
                </a:lnTo>
                <a:lnTo>
                  <a:pt x="34" y="11"/>
                </a:lnTo>
                <a:lnTo>
                  <a:pt x="39" y="11"/>
                </a:lnTo>
                <a:lnTo>
                  <a:pt x="47" y="4"/>
                </a:lnTo>
                <a:lnTo>
                  <a:pt x="52" y="5"/>
                </a:lnTo>
                <a:lnTo>
                  <a:pt x="53" y="4"/>
                </a:lnTo>
                <a:lnTo>
                  <a:pt x="54" y="3"/>
                </a:lnTo>
                <a:lnTo>
                  <a:pt x="54" y="2"/>
                </a:lnTo>
                <a:lnTo>
                  <a:pt x="52" y="0"/>
                </a:lnTo>
                <a:lnTo>
                  <a:pt x="50" y="0"/>
                </a:lnTo>
                <a:lnTo>
                  <a:pt x="47" y="0"/>
                </a:lnTo>
                <a:lnTo>
                  <a:pt x="45" y="0"/>
                </a:lnTo>
                <a:lnTo>
                  <a:pt x="36" y="4"/>
                </a:lnTo>
                <a:lnTo>
                  <a:pt x="26" y="10"/>
                </a:lnTo>
                <a:lnTo>
                  <a:pt x="21" y="14"/>
                </a:lnTo>
                <a:lnTo>
                  <a:pt x="20" y="16"/>
                </a:lnTo>
                <a:lnTo>
                  <a:pt x="16" y="20"/>
                </a:lnTo>
                <a:lnTo>
                  <a:pt x="6" y="27"/>
                </a:lnTo>
                <a:lnTo>
                  <a:pt x="3" y="28"/>
                </a:lnTo>
                <a:lnTo>
                  <a:pt x="0" y="30"/>
                </a:lnTo>
                <a:lnTo>
                  <a:pt x="0" y="32"/>
                </a:lnTo>
                <a:lnTo>
                  <a:pt x="2" y="34"/>
                </a:lnTo>
                <a:lnTo>
                  <a:pt x="4" y="34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4" name="Freeform 35"/>
          <p:cNvSpPr>
            <a:spLocks/>
          </p:cNvSpPr>
          <p:nvPr/>
        </p:nvSpPr>
        <p:spPr bwMode="auto">
          <a:xfrm>
            <a:off x="2924175" y="2290763"/>
            <a:ext cx="1206500" cy="1674812"/>
          </a:xfrm>
          <a:custGeom>
            <a:avLst/>
            <a:gdLst>
              <a:gd name="T0" fmla="*/ 2147483646 w 204"/>
              <a:gd name="T1" fmla="*/ 2147483646 h 332"/>
              <a:gd name="T2" fmla="*/ 2147483646 w 204"/>
              <a:gd name="T3" fmla="*/ 2147483646 h 332"/>
              <a:gd name="T4" fmla="*/ 2147483646 w 204"/>
              <a:gd name="T5" fmla="*/ 2147483646 h 332"/>
              <a:gd name="T6" fmla="*/ 2147483646 w 204"/>
              <a:gd name="T7" fmla="*/ 2147483646 h 332"/>
              <a:gd name="T8" fmla="*/ 2147483646 w 204"/>
              <a:gd name="T9" fmla="*/ 2147483646 h 332"/>
              <a:gd name="T10" fmla="*/ 2147483646 w 204"/>
              <a:gd name="T11" fmla="*/ 2147483646 h 332"/>
              <a:gd name="T12" fmla="*/ 2147483646 w 204"/>
              <a:gd name="T13" fmla="*/ 2147483646 h 332"/>
              <a:gd name="T14" fmla="*/ 2147483646 w 204"/>
              <a:gd name="T15" fmla="*/ 2147483646 h 332"/>
              <a:gd name="T16" fmla="*/ 2147483646 w 204"/>
              <a:gd name="T17" fmla="*/ 2147483646 h 332"/>
              <a:gd name="T18" fmla="*/ 2147483646 w 204"/>
              <a:gd name="T19" fmla="*/ 2147483646 h 332"/>
              <a:gd name="T20" fmla="*/ 2147483646 w 204"/>
              <a:gd name="T21" fmla="*/ 2147483646 h 332"/>
              <a:gd name="T22" fmla="*/ 2147483646 w 204"/>
              <a:gd name="T23" fmla="*/ 2147483646 h 332"/>
              <a:gd name="T24" fmla="*/ 2147483646 w 204"/>
              <a:gd name="T25" fmla="*/ 2147483646 h 332"/>
              <a:gd name="T26" fmla="*/ 2147483646 w 204"/>
              <a:gd name="T27" fmla="*/ 2147483646 h 332"/>
              <a:gd name="T28" fmla="*/ 2147483646 w 204"/>
              <a:gd name="T29" fmla="*/ 2147483646 h 332"/>
              <a:gd name="T30" fmla="*/ 2147483646 w 204"/>
              <a:gd name="T31" fmla="*/ 2147483646 h 332"/>
              <a:gd name="T32" fmla="*/ 2147483646 w 204"/>
              <a:gd name="T33" fmla="*/ 2147483646 h 332"/>
              <a:gd name="T34" fmla="*/ 2147483646 w 204"/>
              <a:gd name="T35" fmla="*/ 2147483646 h 332"/>
              <a:gd name="T36" fmla="*/ 2147483646 w 204"/>
              <a:gd name="T37" fmla="*/ 2147483646 h 332"/>
              <a:gd name="T38" fmla="*/ 2147483646 w 204"/>
              <a:gd name="T39" fmla="*/ 2147483646 h 332"/>
              <a:gd name="T40" fmla="*/ 2147483646 w 204"/>
              <a:gd name="T41" fmla="*/ 2147483646 h 332"/>
              <a:gd name="T42" fmla="*/ 2147483646 w 204"/>
              <a:gd name="T43" fmla="*/ 2147483646 h 332"/>
              <a:gd name="T44" fmla="*/ 2147483646 w 204"/>
              <a:gd name="T45" fmla="*/ 2147483646 h 332"/>
              <a:gd name="T46" fmla="*/ 2147483646 w 204"/>
              <a:gd name="T47" fmla="*/ 2147483646 h 332"/>
              <a:gd name="T48" fmla="*/ 2147483646 w 204"/>
              <a:gd name="T49" fmla="*/ 2147483646 h 332"/>
              <a:gd name="T50" fmla="*/ 2147483646 w 204"/>
              <a:gd name="T51" fmla="*/ 2147483646 h 332"/>
              <a:gd name="T52" fmla="*/ 2147483646 w 204"/>
              <a:gd name="T53" fmla="*/ 2147483646 h 332"/>
              <a:gd name="T54" fmla="*/ 2147483646 w 204"/>
              <a:gd name="T55" fmla="*/ 2147483646 h 332"/>
              <a:gd name="T56" fmla="*/ 2147483646 w 204"/>
              <a:gd name="T57" fmla="*/ 2147483646 h 332"/>
              <a:gd name="T58" fmla="*/ 2147483646 w 204"/>
              <a:gd name="T59" fmla="*/ 2147483646 h 332"/>
              <a:gd name="T60" fmla="*/ 2147483646 w 204"/>
              <a:gd name="T61" fmla="*/ 2147483646 h 332"/>
              <a:gd name="T62" fmla="*/ 2147483646 w 204"/>
              <a:gd name="T63" fmla="*/ 2147483646 h 332"/>
              <a:gd name="T64" fmla="*/ 2147483646 w 204"/>
              <a:gd name="T65" fmla="*/ 2147483646 h 332"/>
              <a:gd name="T66" fmla="*/ 2147483646 w 204"/>
              <a:gd name="T67" fmla="*/ 2147483646 h 332"/>
              <a:gd name="T68" fmla="*/ 2147483646 w 204"/>
              <a:gd name="T69" fmla="*/ 2147483646 h 332"/>
              <a:gd name="T70" fmla="*/ 2147483646 w 204"/>
              <a:gd name="T71" fmla="*/ 2147483646 h 332"/>
              <a:gd name="T72" fmla="*/ 2147483646 w 204"/>
              <a:gd name="T73" fmla="*/ 2147483646 h 332"/>
              <a:gd name="T74" fmla="*/ 2147483646 w 204"/>
              <a:gd name="T75" fmla="*/ 2147483646 h 332"/>
              <a:gd name="T76" fmla="*/ 2147483646 w 204"/>
              <a:gd name="T77" fmla="*/ 2147483646 h 332"/>
              <a:gd name="T78" fmla="*/ 2147483646 w 204"/>
              <a:gd name="T79" fmla="*/ 2147483646 h 332"/>
              <a:gd name="T80" fmla="*/ 2147483646 w 204"/>
              <a:gd name="T81" fmla="*/ 2147483646 h 332"/>
              <a:gd name="T82" fmla="*/ 2147483646 w 204"/>
              <a:gd name="T83" fmla="*/ 2147483646 h 332"/>
              <a:gd name="T84" fmla="*/ 2147483646 w 204"/>
              <a:gd name="T85" fmla="*/ 2147483646 h 332"/>
              <a:gd name="T86" fmla="*/ 2147483646 w 204"/>
              <a:gd name="T87" fmla="*/ 2147483646 h 332"/>
              <a:gd name="T88" fmla="*/ 2147483646 w 204"/>
              <a:gd name="T89" fmla="*/ 2147483646 h 332"/>
              <a:gd name="T90" fmla="*/ 2147483646 w 204"/>
              <a:gd name="T91" fmla="*/ 2147483646 h 332"/>
              <a:gd name="T92" fmla="*/ 2147483646 w 204"/>
              <a:gd name="T93" fmla="*/ 2147483646 h 332"/>
              <a:gd name="T94" fmla="*/ 2147483646 w 204"/>
              <a:gd name="T95" fmla="*/ 2147483646 h 332"/>
              <a:gd name="T96" fmla="*/ 0 w 204"/>
              <a:gd name="T97" fmla="*/ 2147483646 h 332"/>
              <a:gd name="T98" fmla="*/ 2147483646 w 204"/>
              <a:gd name="T99" fmla="*/ 2147483646 h 332"/>
              <a:gd name="T100" fmla="*/ 2147483646 w 204"/>
              <a:gd name="T101" fmla="*/ 2147483646 h 332"/>
              <a:gd name="T102" fmla="*/ 2147483646 w 204"/>
              <a:gd name="T103" fmla="*/ 2147483646 h 332"/>
              <a:gd name="T104" fmla="*/ 2147483646 w 204"/>
              <a:gd name="T105" fmla="*/ 2147483646 h 332"/>
              <a:gd name="T106" fmla="*/ 2147483646 w 204"/>
              <a:gd name="T107" fmla="*/ 2147483646 h 332"/>
              <a:gd name="T108" fmla="*/ 2147483646 w 204"/>
              <a:gd name="T109" fmla="*/ 2147483646 h 332"/>
              <a:gd name="T110" fmla="*/ 2147483646 w 204"/>
              <a:gd name="T111" fmla="*/ 2147483646 h 33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204" h="332">
                <a:moveTo>
                  <a:pt x="114" y="287"/>
                </a:moveTo>
                <a:lnTo>
                  <a:pt x="116" y="287"/>
                </a:lnTo>
                <a:lnTo>
                  <a:pt x="116" y="294"/>
                </a:lnTo>
                <a:lnTo>
                  <a:pt x="117" y="292"/>
                </a:lnTo>
                <a:lnTo>
                  <a:pt x="118" y="292"/>
                </a:lnTo>
                <a:lnTo>
                  <a:pt x="121" y="294"/>
                </a:lnTo>
                <a:lnTo>
                  <a:pt x="123" y="292"/>
                </a:lnTo>
                <a:lnTo>
                  <a:pt x="124" y="292"/>
                </a:lnTo>
                <a:lnTo>
                  <a:pt x="125" y="294"/>
                </a:lnTo>
                <a:lnTo>
                  <a:pt x="124" y="294"/>
                </a:lnTo>
                <a:lnTo>
                  <a:pt x="122" y="295"/>
                </a:lnTo>
                <a:lnTo>
                  <a:pt x="122" y="296"/>
                </a:lnTo>
                <a:lnTo>
                  <a:pt x="120" y="296"/>
                </a:lnTo>
                <a:lnTo>
                  <a:pt x="119" y="297"/>
                </a:lnTo>
                <a:lnTo>
                  <a:pt x="117" y="297"/>
                </a:lnTo>
                <a:lnTo>
                  <a:pt x="117" y="298"/>
                </a:lnTo>
                <a:lnTo>
                  <a:pt x="117" y="301"/>
                </a:lnTo>
                <a:lnTo>
                  <a:pt x="118" y="303"/>
                </a:lnTo>
                <a:lnTo>
                  <a:pt x="118" y="304"/>
                </a:lnTo>
                <a:lnTo>
                  <a:pt x="120" y="303"/>
                </a:lnTo>
                <a:lnTo>
                  <a:pt x="121" y="305"/>
                </a:lnTo>
                <a:lnTo>
                  <a:pt x="120" y="306"/>
                </a:lnTo>
                <a:lnTo>
                  <a:pt x="120" y="309"/>
                </a:lnTo>
                <a:lnTo>
                  <a:pt x="124" y="311"/>
                </a:lnTo>
                <a:lnTo>
                  <a:pt x="120" y="313"/>
                </a:lnTo>
                <a:lnTo>
                  <a:pt x="120" y="316"/>
                </a:lnTo>
                <a:lnTo>
                  <a:pt x="126" y="318"/>
                </a:lnTo>
                <a:lnTo>
                  <a:pt x="128" y="319"/>
                </a:lnTo>
                <a:lnTo>
                  <a:pt x="139" y="317"/>
                </a:lnTo>
                <a:lnTo>
                  <a:pt x="141" y="321"/>
                </a:lnTo>
                <a:lnTo>
                  <a:pt x="143" y="323"/>
                </a:lnTo>
                <a:lnTo>
                  <a:pt x="143" y="325"/>
                </a:lnTo>
                <a:lnTo>
                  <a:pt x="139" y="329"/>
                </a:lnTo>
                <a:lnTo>
                  <a:pt x="138" y="331"/>
                </a:lnTo>
                <a:lnTo>
                  <a:pt x="153" y="332"/>
                </a:lnTo>
                <a:lnTo>
                  <a:pt x="158" y="321"/>
                </a:lnTo>
                <a:lnTo>
                  <a:pt x="160" y="315"/>
                </a:lnTo>
                <a:lnTo>
                  <a:pt x="170" y="295"/>
                </a:lnTo>
                <a:lnTo>
                  <a:pt x="182" y="297"/>
                </a:lnTo>
                <a:lnTo>
                  <a:pt x="181" y="296"/>
                </a:lnTo>
                <a:lnTo>
                  <a:pt x="179" y="293"/>
                </a:lnTo>
                <a:lnTo>
                  <a:pt x="178" y="290"/>
                </a:lnTo>
                <a:lnTo>
                  <a:pt x="177" y="288"/>
                </a:lnTo>
                <a:lnTo>
                  <a:pt x="174" y="286"/>
                </a:lnTo>
                <a:lnTo>
                  <a:pt x="170" y="285"/>
                </a:lnTo>
                <a:lnTo>
                  <a:pt x="168" y="283"/>
                </a:lnTo>
                <a:lnTo>
                  <a:pt x="167" y="283"/>
                </a:lnTo>
                <a:lnTo>
                  <a:pt x="164" y="283"/>
                </a:lnTo>
                <a:lnTo>
                  <a:pt x="156" y="284"/>
                </a:lnTo>
                <a:lnTo>
                  <a:pt x="152" y="286"/>
                </a:lnTo>
                <a:lnTo>
                  <a:pt x="150" y="287"/>
                </a:lnTo>
                <a:lnTo>
                  <a:pt x="145" y="283"/>
                </a:lnTo>
                <a:lnTo>
                  <a:pt x="141" y="278"/>
                </a:lnTo>
                <a:lnTo>
                  <a:pt x="140" y="277"/>
                </a:lnTo>
                <a:lnTo>
                  <a:pt x="137" y="276"/>
                </a:lnTo>
                <a:lnTo>
                  <a:pt x="136" y="274"/>
                </a:lnTo>
                <a:lnTo>
                  <a:pt x="132" y="272"/>
                </a:lnTo>
                <a:lnTo>
                  <a:pt x="129" y="273"/>
                </a:lnTo>
                <a:lnTo>
                  <a:pt x="125" y="273"/>
                </a:lnTo>
                <a:lnTo>
                  <a:pt x="122" y="274"/>
                </a:lnTo>
                <a:lnTo>
                  <a:pt x="120" y="275"/>
                </a:lnTo>
                <a:lnTo>
                  <a:pt x="119" y="274"/>
                </a:lnTo>
                <a:lnTo>
                  <a:pt x="119" y="272"/>
                </a:lnTo>
                <a:lnTo>
                  <a:pt x="116" y="271"/>
                </a:lnTo>
                <a:lnTo>
                  <a:pt x="113" y="269"/>
                </a:lnTo>
                <a:lnTo>
                  <a:pt x="110" y="266"/>
                </a:lnTo>
                <a:lnTo>
                  <a:pt x="108" y="265"/>
                </a:lnTo>
                <a:lnTo>
                  <a:pt x="108" y="264"/>
                </a:lnTo>
                <a:lnTo>
                  <a:pt x="105" y="263"/>
                </a:lnTo>
                <a:lnTo>
                  <a:pt x="105" y="262"/>
                </a:lnTo>
                <a:lnTo>
                  <a:pt x="108" y="261"/>
                </a:lnTo>
                <a:lnTo>
                  <a:pt x="109" y="260"/>
                </a:lnTo>
                <a:lnTo>
                  <a:pt x="111" y="260"/>
                </a:lnTo>
                <a:lnTo>
                  <a:pt x="111" y="259"/>
                </a:lnTo>
                <a:lnTo>
                  <a:pt x="112" y="259"/>
                </a:lnTo>
                <a:lnTo>
                  <a:pt x="115" y="261"/>
                </a:lnTo>
                <a:lnTo>
                  <a:pt x="116" y="260"/>
                </a:lnTo>
                <a:lnTo>
                  <a:pt x="116" y="257"/>
                </a:lnTo>
                <a:lnTo>
                  <a:pt x="119" y="255"/>
                </a:lnTo>
                <a:lnTo>
                  <a:pt x="120" y="254"/>
                </a:lnTo>
                <a:lnTo>
                  <a:pt x="121" y="252"/>
                </a:lnTo>
                <a:lnTo>
                  <a:pt x="124" y="250"/>
                </a:lnTo>
                <a:lnTo>
                  <a:pt x="125" y="247"/>
                </a:lnTo>
                <a:lnTo>
                  <a:pt x="128" y="247"/>
                </a:lnTo>
                <a:lnTo>
                  <a:pt x="129" y="245"/>
                </a:lnTo>
                <a:lnTo>
                  <a:pt x="130" y="240"/>
                </a:lnTo>
                <a:lnTo>
                  <a:pt x="132" y="238"/>
                </a:lnTo>
                <a:lnTo>
                  <a:pt x="133" y="238"/>
                </a:lnTo>
                <a:lnTo>
                  <a:pt x="128" y="237"/>
                </a:lnTo>
                <a:lnTo>
                  <a:pt x="127" y="238"/>
                </a:lnTo>
                <a:lnTo>
                  <a:pt x="126" y="237"/>
                </a:lnTo>
                <a:lnTo>
                  <a:pt x="124" y="236"/>
                </a:lnTo>
                <a:lnTo>
                  <a:pt x="124" y="234"/>
                </a:lnTo>
                <a:lnTo>
                  <a:pt x="124" y="230"/>
                </a:lnTo>
                <a:lnTo>
                  <a:pt x="126" y="228"/>
                </a:lnTo>
                <a:lnTo>
                  <a:pt x="125" y="228"/>
                </a:lnTo>
                <a:lnTo>
                  <a:pt x="124" y="229"/>
                </a:lnTo>
                <a:lnTo>
                  <a:pt x="123" y="229"/>
                </a:lnTo>
                <a:lnTo>
                  <a:pt x="122" y="227"/>
                </a:lnTo>
                <a:lnTo>
                  <a:pt x="125" y="226"/>
                </a:lnTo>
                <a:lnTo>
                  <a:pt x="128" y="226"/>
                </a:lnTo>
                <a:lnTo>
                  <a:pt x="128" y="225"/>
                </a:lnTo>
                <a:lnTo>
                  <a:pt x="126" y="223"/>
                </a:lnTo>
                <a:lnTo>
                  <a:pt x="126" y="222"/>
                </a:lnTo>
                <a:lnTo>
                  <a:pt x="126" y="220"/>
                </a:lnTo>
                <a:lnTo>
                  <a:pt x="127" y="218"/>
                </a:lnTo>
                <a:lnTo>
                  <a:pt x="130" y="217"/>
                </a:lnTo>
                <a:lnTo>
                  <a:pt x="132" y="213"/>
                </a:lnTo>
                <a:lnTo>
                  <a:pt x="131" y="210"/>
                </a:lnTo>
                <a:lnTo>
                  <a:pt x="130" y="209"/>
                </a:lnTo>
                <a:lnTo>
                  <a:pt x="130" y="208"/>
                </a:lnTo>
                <a:lnTo>
                  <a:pt x="129" y="208"/>
                </a:lnTo>
                <a:lnTo>
                  <a:pt x="128" y="206"/>
                </a:lnTo>
                <a:lnTo>
                  <a:pt x="127" y="204"/>
                </a:lnTo>
                <a:lnTo>
                  <a:pt x="125" y="201"/>
                </a:lnTo>
                <a:lnTo>
                  <a:pt x="125" y="198"/>
                </a:lnTo>
                <a:lnTo>
                  <a:pt x="124" y="195"/>
                </a:lnTo>
                <a:lnTo>
                  <a:pt x="122" y="192"/>
                </a:lnTo>
                <a:lnTo>
                  <a:pt x="120" y="190"/>
                </a:lnTo>
                <a:lnTo>
                  <a:pt x="120" y="185"/>
                </a:lnTo>
                <a:lnTo>
                  <a:pt x="118" y="180"/>
                </a:lnTo>
                <a:lnTo>
                  <a:pt x="119" y="178"/>
                </a:lnTo>
                <a:lnTo>
                  <a:pt x="118" y="177"/>
                </a:lnTo>
                <a:lnTo>
                  <a:pt x="118" y="174"/>
                </a:lnTo>
                <a:lnTo>
                  <a:pt x="117" y="171"/>
                </a:lnTo>
                <a:lnTo>
                  <a:pt x="117" y="167"/>
                </a:lnTo>
                <a:lnTo>
                  <a:pt x="119" y="166"/>
                </a:lnTo>
                <a:lnTo>
                  <a:pt x="122" y="164"/>
                </a:lnTo>
                <a:lnTo>
                  <a:pt x="123" y="163"/>
                </a:lnTo>
                <a:lnTo>
                  <a:pt x="125" y="163"/>
                </a:lnTo>
                <a:lnTo>
                  <a:pt x="126" y="164"/>
                </a:lnTo>
                <a:lnTo>
                  <a:pt x="126" y="166"/>
                </a:lnTo>
                <a:lnTo>
                  <a:pt x="128" y="166"/>
                </a:lnTo>
                <a:lnTo>
                  <a:pt x="129" y="164"/>
                </a:lnTo>
                <a:lnTo>
                  <a:pt x="133" y="162"/>
                </a:lnTo>
                <a:lnTo>
                  <a:pt x="134" y="164"/>
                </a:lnTo>
                <a:lnTo>
                  <a:pt x="136" y="165"/>
                </a:lnTo>
                <a:lnTo>
                  <a:pt x="137" y="166"/>
                </a:lnTo>
                <a:lnTo>
                  <a:pt x="138" y="167"/>
                </a:lnTo>
                <a:lnTo>
                  <a:pt x="140" y="166"/>
                </a:lnTo>
                <a:lnTo>
                  <a:pt x="141" y="169"/>
                </a:lnTo>
                <a:lnTo>
                  <a:pt x="141" y="170"/>
                </a:lnTo>
                <a:lnTo>
                  <a:pt x="141" y="171"/>
                </a:lnTo>
                <a:lnTo>
                  <a:pt x="146" y="170"/>
                </a:lnTo>
                <a:lnTo>
                  <a:pt x="146" y="169"/>
                </a:lnTo>
                <a:lnTo>
                  <a:pt x="148" y="170"/>
                </a:lnTo>
                <a:lnTo>
                  <a:pt x="153" y="165"/>
                </a:lnTo>
                <a:lnTo>
                  <a:pt x="157" y="165"/>
                </a:lnTo>
                <a:lnTo>
                  <a:pt x="159" y="162"/>
                </a:lnTo>
                <a:lnTo>
                  <a:pt x="164" y="160"/>
                </a:lnTo>
                <a:lnTo>
                  <a:pt x="166" y="158"/>
                </a:lnTo>
                <a:lnTo>
                  <a:pt x="168" y="147"/>
                </a:lnTo>
                <a:lnTo>
                  <a:pt x="171" y="147"/>
                </a:lnTo>
                <a:lnTo>
                  <a:pt x="173" y="147"/>
                </a:lnTo>
                <a:lnTo>
                  <a:pt x="173" y="148"/>
                </a:lnTo>
                <a:lnTo>
                  <a:pt x="179" y="148"/>
                </a:lnTo>
                <a:lnTo>
                  <a:pt x="191" y="153"/>
                </a:lnTo>
                <a:lnTo>
                  <a:pt x="200" y="162"/>
                </a:lnTo>
                <a:lnTo>
                  <a:pt x="202" y="165"/>
                </a:lnTo>
                <a:lnTo>
                  <a:pt x="204" y="164"/>
                </a:lnTo>
                <a:lnTo>
                  <a:pt x="202" y="161"/>
                </a:lnTo>
                <a:lnTo>
                  <a:pt x="192" y="150"/>
                </a:lnTo>
                <a:lnTo>
                  <a:pt x="180" y="145"/>
                </a:lnTo>
                <a:lnTo>
                  <a:pt x="175" y="145"/>
                </a:lnTo>
                <a:lnTo>
                  <a:pt x="175" y="144"/>
                </a:lnTo>
                <a:lnTo>
                  <a:pt x="176" y="143"/>
                </a:lnTo>
                <a:lnTo>
                  <a:pt x="177" y="142"/>
                </a:lnTo>
                <a:lnTo>
                  <a:pt x="176" y="142"/>
                </a:lnTo>
                <a:lnTo>
                  <a:pt x="178" y="142"/>
                </a:lnTo>
                <a:lnTo>
                  <a:pt x="179" y="141"/>
                </a:lnTo>
                <a:lnTo>
                  <a:pt x="179" y="139"/>
                </a:lnTo>
                <a:lnTo>
                  <a:pt x="179" y="138"/>
                </a:lnTo>
                <a:lnTo>
                  <a:pt x="178" y="137"/>
                </a:lnTo>
                <a:lnTo>
                  <a:pt x="177" y="131"/>
                </a:lnTo>
                <a:lnTo>
                  <a:pt x="176" y="127"/>
                </a:lnTo>
                <a:lnTo>
                  <a:pt x="175" y="127"/>
                </a:lnTo>
                <a:lnTo>
                  <a:pt x="174" y="126"/>
                </a:lnTo>
                <a:lnTo>
                  <a:pt x="171" y="126"/>
                </a:lnTo>
                <a:lnTo>
                  <a:pt x="169" y="125"/>
                </a:lnTo>
                <a:lnTo>
                  <a:pt x="166" y="124"/>
                </a:lnTo>
                <a:lnTo>
                  <a:pt x="165" y="123"/>
                </a:lnTo>
                <a:lnTo>
                  <a:pt x="163" y="123"/>
                </a:lnTo>
                <a:lnTo>
                  <a:pt x="160" y="122"/>
                </a:lnTo>
                <a:lnTo>
                  <a:pt x="156" y="122"/>
                </a:lnTo>
                <a:lnTo>
                  <a:pt x="153" y="127"/>
                </a:lnTo>
                <a:lnTo>
                  <a:pt x="152" y="128"/>
                </a:lnTo>
                <a:lnTo>
                  <a:pt x="150" y="128"/>
                </a:lnTo>
                <a:lnTo>
                  <a:pt x="147" y="128"/>
                </a:lnTo>
                <a:lnTo>
                  <a:pt x="145" y="127"/>
                </a:lnTo>
                <a:lnTo>
                  <a:pt x="141" y="122"/>
                </a:lnTo>
                <a:lnTo>
                  <a:pt x="140" y="122"/>
                </a:lnTo>
                <a:lnTo>
                  <a:pt x="138" y="115"/>
                </a:lnTo>
                <a:lnTo>
                  <a:pt x="137" y="115"/>
                </a:lnTo>
                <a:lnTo>
                  <a:pt x="137" y="114"/>
                </a:lnTo>
                <a:lnTo>
                  <a:pt x="139" y="89"/>
                </a:lnTo>
                <a:lnTo>
                  <a:pt x="131" y="73"/>
                </a:lnTo>
                <a:lnTo>
                  <a:pt x="132" y="73"/>
                </a:lnTo>
                <a:lnTo>
                  <a:pt x="131" y="71"/>
                </a:lnTo>
                <a:lnTo>
                  <a:pt x="130" y="71"/>
                </a:lnTo>
                <a:lnTo>
                  <a:pt x="125" y="60"/>
                </a:lnTo>
                <a:lnTo>
                  <a:pt x="123" y="60"/>
                </a:lnTo>
                <a:lnTo>
                  <a:pt x="124" y="58"/>
                </a:lnTo>
                <a:lnTo>
                  <a:pt x="125" y="59"/>
                </a:lnTo>
                <a:lnTo>
                  <a:pt x="129" y="54"/>
                </a:lnTo>
                <a:lnTo>
                  <a:pt x="151" y="35"/>
                </a:lnTo>
                <a:lnTo>
                  <a:pt x="179" y="12"/>
                </a:lnTo>
                <a:lnTo>
                  <a:pt x="186" y="8"/>
                </a:lnTo>
                <a:lnTo>
                  <a:pt x="189" y="7"/>
                </a:lnTo>
                <a:lnTo>
                  <a:pt x="191" y="7"/>
                </a:lnTo>
                <a:lnTo>
                  <a:pt x="196" y="3"/>
                </a:lnTo>
                <a:lnTo>
                  <a:pt x="196" y="0"/>
                </a:lnTo>
                <a:lnTo>
                  <a:pt x="191" y="3"/>
                </a:lnTo>
                <a:lnTo>
                  <a:pt x="188" y="4"/>
                </a:lnTo>
                <a:lnTo>
                  <a:pt x="188" y="5"/>
                </a:lnTo>
                <a:lnTo>
                  <a:pt x="186" y="5"/>
                </a:lnTo>
                <a:lnTo>
                  <a:pt x="179" y="9"/>
                </a:lnTo>
                <a:lnTo>
                  <a:pt x="151" y="33"/>
                </a:lnTo>
                <a:lnTo>
                  <a:pt x="124" y="55"/>
                </a:lnTo>
                <a:lnTo>
                  <a:pt x="124" y="56"/>
                </a:lnTo>
                <a:lnTo>
                  <a:pt x="123" y="56"/>
                </a:lnTo>
                <a:lnTo>
                  <a:pt x="121" y="55"/>
                </a:lnTo>
                <a:lnTo>
                  <a:pt x="119" y="56"/>
                </a:lnTo>
                <a:lnTo>
                  <a:pt x="117" y="56"/>
                </a:lnTo>
                <a:lnTo>
                  <a:pt x="115" y="56"/>
                </a:lnTo>
                <a:lnTo>
                  <a:pt x="112" y="57"/>
                </a:lnTo>
                <a:lnTo>
                  <a:pt x="108" y="58"/>
                </a:lnTo>
                <a:lnTo>
                  <a:pt x="105" y="60"/>
                </a:lnTo>
                <a:lnTo>
                  <a:pt x="104" y="63"/>
                </a:lnTo>
                <a:lnTo>
                  <a:pt x="100" y="67"/>
                </a:lnTo>
                <a:lnTo>
                  <a:pt x="95" y="71"/>
                </a:lnTo>
                <a:lnTo>
                  <a:pt x="87" y="73"/>
                </a:lnTo>
                <a:lnTo>
                  <a:pt x="86" y="73"/>
                </a:lnTo>
                <a:lnTo>
                  <a:pt x="72" y="64"/>
                </a:lnTo>
                <a:lnTo>
                  <a:pt x="69" y="58"/>
                </a:lnTo>
                <a:lnTo>
                  <a:pt x="69" y="52"/>
                </a:lnTo>
                <a:lnTo>
                  <a:pt x="71" y="47"/>
                </a:lnTo>
                <a:lnTo>
                  <a:pt x="71" y="46"/>
                </a:lnTo>
                <a:lnTo>
                  <a:pt x="69" y="46"/>
                </a:lnTo>
                <a:lnTo>
                  <a:pt x="69" y="48"/>
                </a:lnTo>
                <a:lnTo>
                  <a:pt x="68" y="48"/>
                </a:lnTo>
                <a:lnTo>
                  <a:pt x="67" y="48"/>
                </a:lnTo>
                <a:lnTo>
                  <a:pt x="66" y="48"/>
                </a:lnTo>
                <a:lnTo>
                  <a:pt x="67" y="46"/>
                </a:lnTo>
                <a:lnTo>
                  <a:pt x="65" y="45"/>
                </a:lnTo>
                <a:lnTo>
                  <a:pt x="56" y="46"/>
                </a:lnTo>
                <a:lnTo>
                  <a:pt x="54" y="48"/>
                </a:lnTo>
                <a:lnTo>
                  <a:pt x="52" y="52"/>
                </a:lnTo>
                <a:lnTo>
                  <a:pt x="51" y="68"/>
                </a:lnTo>
                <a:lnTo>
                  <a:pt x="50" y="76"/>
                </a:lnTo>
                <a:lnTo>
                  <a:pt x="48" y="85"/>
                </a:lnTo>
                <a:lnTo>
                  <a:pt x="42" y="104"/>
                </a:lnTo>
                <a:lnTo>
                  <a:pt x="35" y="127"/>
                </a:lnTo>
                <a:lnTo>
                  <a:pt x="32" y="150"/>
                </a:lnTo>
                <a:lnTo>
                  <a:pt x="30" y="163"/>
                </a:lnTo>
                <a:lnTo>
                  <a:pt x="27" y="187"/>
                </a:lnTo>
                <a:lnTo>
                  <a:pt x="24" y="202"/>
                </a:lnTo>
                <a:lnTo>
                  <a:pt x="23" y="207"/>
                </a:lnTo>
                <a:lnTo>
                  <a:pt x="21" y="215"/>
                </a:lnTo>
                <a:lnTo>
                  <a:pt x="20" y="217"/>
                </a:lnTo>
                <a:lnTo>
                  <a:pt x="18" y="224"/>
                </a:lnTo>
                <a:lnTo>
                  <a:pt x="19" y="224"/>
                </a:lnTo>
                <a:lnTo>
                  <a:pt x="20" y="224"/>
                </a:lnTo>
                <a:lnTo>
                  <a:pt x="21" y="224"/>
                </a:lnTo>
                <a:lnTo>
                  <a:pt x="20" y="224"/>
                </a:lnTo>
                <a:lnTo>
                  <a:pt x="21" y="223"/>
                </a:lnTo>
                <a:lnTo>
                  <a:pt x="25" y="223"/>
                </a:lnTo>
                <a:lnTo>
                  <a:pt x="27" y="224"/>
                </a:lnTo>
                <a:lnTo>
                  <a:pt x="26" y="224"/>
                </a:lnTo>
                <a:lnTo>
                  <a:pt x="26" y="225"/>
                </a:lnTo>
                <a:lnTo>
                  <a:pt x="22" y="225"/>
                </a:lnTo>
                <a:lnTo>
                  <a:pt x="22" y="226"/>
                </a:lnTo>
                <a:lnTo>
                  <a:pt x="22" y="227"/>
                </a:lnTo>
                <a:lnTo>
                  <a:pt x="23" y="228"/>
                </a:lnTo>
                <a:lnTo>
                  <a:pt x="22" y="229"/>
                </a:lnTo>
                <a:lnTo>
                  <a:pt x="19" y="227"/>
                </a:lnTo>
                <a:lnTo>
                  <a:pt x="17" y="228"/>
                </a:lnTo>
                <a:lnTo>
                  <a:pt x="16" y="237"/>
                </a:lnTo>
                <a:lnTo>
                  <a:pt x="11" y="250"/>
                </a:lnTo>
                <a:lnTo>
                  <a:pt x="0" y="276"/>
                </a:lnTo>
                <a:lnTo>
                  <a:pt x="0" y="277"/>
                </a:lnTo>
                <a:lnTo>
                  <a:pt x="14" y="283"/>
                </a:lnTo>
                <a:lnTo>
                  <a:pt x="15" y="281"/>
                </a:lnTo>
                <a:lnTo>
                  <a:pt x="19" y="282"/>
                </a:lnTo>
                <a:lnTo>
                  <a:pt x="21" y="281"/>
                </a:lnTo>
                <a:lnTo>
                  <a:pt x="23" y="282"/>
                </a:lnTo>
                <a:lnTo>
                  <a:pt x="21" y="289"/>
                </a:lnTo>
                <a:lnTo>
                  <a:pt x="19" y="295"/>
                </a:lnTo>
                <a:lnTo>
                  <a:pt x="15" y="299"/>
                </a:lnTo>
                <a:lnTo>
                  <a:pt x="14" y="306"/>
                </a:lnTo>
                <a:lnTo>
                  <a:pt x="13" y="311"/>
                </a:lnTo>
                <a:lnTo>
                  <a:pt x="11" y="315"/>
                </a:lnTo>
                <a:lnTo>
                  <a:pt x="12" y="317"/>
                </a:lnTo>
                <a:lnTo>
                  <a:pt x="16" y="317"/>
                </a:lnTo>
                <a:lnTo>
                  <a:pt x="21" y="318"/>
                </a:lnTo>
                <a:lnTo>
                  <a:pt x="27" y="318"/>
                </a:lnTo>
                <a:lnTo>
                  <a:pt x="32" y="316"/>
                </a:lnTo>
                <a:lnTo>
                  <a:pt x="36" y="313"/>
                </a:lnTo>
                <a:lnTo>
                  <a:pt x="39" y="314"/>
                </a:lnTo>
                <a:lnTo>
                  <a:pt x="42" y="313"/>
                </a:lnTo>
                <a:lnTo>
                  <a:pt x="44" y="312"/>
                </a:lnTo>
                <a:lnTo>
                  <a:pt x="49" y="312"/>
                </a:lnTo>
                <a:lnTo>
                  <a:pt x="49" y="320"/>
                </a:lnTo>
                <a:lnTo>
                  <a:pt x="52" y="321"/>
                </a:lnTo>
                <a:lnTo>
                  <a:pt x="53" y="318"/>
                </a:lnTo>
                <a:lnTo>
                  <a:pt x="58" y="317"/>
                </a:lnTo>
                <a:lnTo>
                  <a:pt x="62" y="313"/>
                </a:lnTo>
                <a:lnTo>
                  <a:pt x="71" y="314"/>
                </a:lnTo>
                <a:lnTo>
                  <a:pt x="73" y="313"/>
                </a:lnTo>
                <a:lnTo>
                  <a:pt x="75" y="312"/>
                </a:lnTo>
                <a:lnTo>
                  <a:pt x="77" y="309"/>
                </a:lnTo>
                <a:lnTo>
                  <a:pt x="79" y="307"/>
                </a:lnTo>
                <a:lnTo>
                  <a:pt x="82" y="305"/>
                </a:lnTo>
                <a:lnTo>
                  <a:pt x="84" y="305"/>
                </a:lnTo>
                <a:lnTo>
                  <a:pt x="87" y="305"/>
                </a:lnTo>
                <a:lnTo>
                  <a:pt x="90" y="305"/>
                </a:lnTo>
                <a:lnTo>
                  <a:pt x="93" y="303"/>
                </a:lnTo>
                <a:lnTo>
                  <a:pt x="93" y="301"/>
                </a:lnTo>
                <a:lnTo>
                  <a:pt x="94" y="299"/>
                </a:lnTo>
                <a:lnTo>
                  <a:pt x="95" y="297"/>
                </a:lnTo>
                <a:lnTo>
                  <a:pt x="95" y="295"/>
                </a:lnTo>
                <a:lnTo>
                  <a:pt x="103" y="295"/>
                </a:lnTo>
                <a:lnTo>
                  <a:pt x="105" y="293"/>
                </a:lnTo>
                <a:lnTo>
                  <a:pt x="107" y="291"/>
                </a:lnTo>
                <a:lnTo>
                  <a:pt x="112" y="291"/>
                </a:lnTo>
                <a:lnTo>
                  <a:pt x="113" y="290"/>
                </a:lnTo>
                <a:lnTo>
                  <a:pt x="114" y="287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5" name="Freeform 36"/>
          <p:cNvSpPr>
            <a:spLocks/>
          </p:cNvSpPr>
          <p:nvPr/>
        </p:nvSpPr>
        <p:spPr bwMode="auto">
          <a:xfrm>
            <a:off x="2495550" y="4600575"/>
            <a:ext cx="2476500" cy="1104900"/>
          </a:xfrm>
          <a:custGeom>
            <a:avLst/>
            <a:gdLst>
              <a:gd name="T0" fmla="*/ 2147483646 w 418"/>
              <a:gd name="T1" fmla="*/ 2147483646 h 219"/>
              <a:gd name="T2" fmla="*/ 2147483646 w 418"/>
              <a:gd name="T3" fmla="*/ 2147483646 h 219"/>
              <a:gd name="T4" fmla="*/ 2147483646 w 418"/>
              <a:gd name="T5" fmla="*/ 2147483646 h 219"/>
              <a:gd name="T6" fmla="*/ 2147483646 w 418"/>
              <a:gd name="T7" fmla="*/ 0 h 219"/>
              <a:gd name="T8" fmla="*/ 2147483646 w 418"/>
              <a:gd name="T9" fmla="*/ 2147483646 h 219"/>
              <a:gd name="T10" fmla="*/ 2147483646 w 418"/>
              <a:gd name="T11" fmla="*/ 2147483646 h 219"/>
              <a:gd name="T12" fmla="*/ 2147483646 w 418"/>
              <a:gd name="T13" fmla="*/ 2147483646 h 219"/>
              <a:gd name="T14" fmla="*/ 2147483646 w 418"/>
              <a:gd name="T15" fmla="*/ 2147483646 h 219"/>
              <a:gd name="T16" fmla="*/ 2147483646 w 418"/>
              <a:gd name="T17" fmla="*/ 2147483646 h 219"/>
              <a:gd name="T18" fmla="*/ 2147483646 w 418"/>
              <a:gd name="T19" fmla="*/ 2147483646 h 219"/>
              <a:gd name="T20" fmla="*/ 2147483646 w 418"/>
              <a:gd name="T21" fmla="*/ 2147483646 h 219"/>
              <a:gd name="T22" fmla="*/ 2147483646 w 418"/>
              <a:gd name="T23" fmla="*/ 2147483646 h 219"/>
              <a:gd name="T24" fmla="*/ 2147483646 w 418"/>
              <a:gd name="T25" fmla="*/ 2147483646 h 219"/>
              <a:gd name="T26" fmla="*/ 2147483646 w 418"/>
              <a:gd name="T27" fmla="*/ 2147483646 h 219"/>
              <a:gd name="T28" fmla="*/ 2147483646 w 418"/>
              <a:gd name="T29" fmla="*/ 2147483646 h 219"/>
              <a:gd name="T30" fmla="*/ 2147483646 w 418"/>
              <a:gd name="T31" fmla="*/ 2147483646 h 219"/>
              <a:gd name="T32" fmla="*/ 2147483646 w 418"/>
              <a:gd name="T33" fmla="*/ 2147483646 h 219"/>
              <a:gd name="T34" fmla="*/ 2147483646 w 418"/>
              <a:gd name="T35" fmla="*/ 2147483646 h 219"/>
              <a:gd name="T36" fmla="*/ 2147483646 w 418"/>
              <a:gd name="T37" fmla="*/ 2147483646 h 219"/>
              <a:gd name="T38" fmla="*/ 2147483646 w 418"/>
              <a:gd name="T39" fmla="*/ 2147483646 h 219"/>
              <a:gd name="T40" fmla="*/ 2147483646 w 418"/>
              <a:gd name="T41" fmla="*/ 2147483646 h 219"/>
              <a:gd name="T42" fmla="*/ 2147483646 w 418"/>
              <a:gd name="T43" fmla="*/ 2147483646 h 219"/>
              <a:gd name="T44" fmla="*/ 2147483646 w 418"/>
              <a:gd name="T45" fmla="*/ 2147483646 h 219"/>
              <a:gd name="T46" fmla="*/ 2147483646 w 418"/>
              <a:gd name="T47" fmla="*/ 2147483646 h 219"/>
              <a:gd name="T48" fmla="*/ 2147483646 w 418"/>
              <a:gd name="T49" fmla="*/ 2147483646 h 219"/>
              <a:gd name="T50" fmla="*/ 2147483646 w 418"/>
              <a:gd name="T51" fmla="*/ 2147483646 h 219"/>
              <a:gd name="T52" fmla="*/ 2147483646 w 418"/>
              <a:gd name="T53" fmla="*/ 2147483646 h 219"/>
              <a:gd name="T54" fmla="*/ 2147483646 w 418"/>
              <a:gd name="T55" fmla="*/ 2147483646 h 219"/>
              <a:gd name="T56" fmla="*/ 2147483646 w 418"/>
              <a:gd name="T57" fmla="*/ 2147483646 h 219"/>
              <a:gd name="T58" fmla="*/ 2147483646 w 418"/>
              <a:gd name="T59" fmla="*/ 2147483646 h 219"/>
              <a:gd name="T60" fmla="*/ 2147483646 w 418"/>
              <a:gd name="T61" fmla="*/ 2147483646 h 219"/>
              <a:gd name="T62" fmla="*/ 2147483646 w 418"/>
              <a:gd name="T63" fmla="*/ 2147483646 h 219"/>
              <a:gd name="T64" fmla="*/ 2147483646 w 418"/>
              <a:gd name="T65" fmla="*/ 2147483646 h 219"/>
              <a:gd name="T66" fmla="*/ 2147483646 w 418"/>
              <a:gd name="T67" fmla="*/ 2147483646 h 219"/>
              <a:gd name="T68" fmla="*/ 2147483646 w 418"/>
              <a:gd name="T69" fmla="*/ 2147483646 h 219"/>
              <a:gd name="T70" fmla="*/ 2147483646 w 418"/>
              <a:gd name="T71" fmla="*/ 2147483646 h 219"/>
              <a:gd name="T72" fmla="*/ 2147483646 w 418"/>
              <a:gd name="T73" fmla="*/ 2147483646 h 219"/>
              <a:gd name="T74" fmla="*/ 2147483646 w 418"/>
              <a:gd name="T75" fmla="*/ 2147483646 h 219"/>
              <a:gd name="T76" fmla="*/ 2147483646 w 418"/>
              <a:gd name="T77" fmla="*/ 2147483646 h 219"/>
              <a:gd name="T78" fmla="*/ 2147483646 w 418"/>
              <a:gd name="T79" fmla="*/ 2147483646 h 219"/>
              <a:gd name="T80" fmla="*/ 2147483646 w 418"/>
              <a:gd name="T81" fmla="*/ 2147483646 h 219"/>
              <a:gd name="T82" fmla="*/ 2147483646 w 418"/>
              <a:gd name="T83" fmla="*/ 2147483646 h 219"/>
              <a:gd name="T84" fmla="*/ 2147483646 w 418"/>
              <a:gd name="T85" fmla="*/ 2147483646 h 219"/>
              <a:gd name="T86" fmla="*/ 2147483646 w 418"/>
              <a:gd name="T87" fmla="*/ 2147483646 h 219"/>
              <a:gd name="T88" fmla="*/ 2147483646 w 418"/>
              <a:gd name="T89" fmla="*/ 2147483646 h 219"/>
              <a:gd name="T90" fmla="*/ 2147483646 w 418"/>
              <a:gd name="T91" fmla="*/ 2147483646 h 219"/>
              <a:gd name="T92" fmla="*/ 2147483646 w 418"/>
              <a:gd name="T93" fmla="*/ 2147483646 h 219"/>
              <a:gd name="T94" fmla="*/ 2147483646 w 418"/>
              <a:gd name="T95" fmla="*/ 2147483646 h 219"/>
              <a:gd name="T96" fmla="*/ 2147483646 w 418"/>
              <a:gd name="T97" fmla="*/ 2147483646 h 219"/>
              <a:gd name="T98" fmla="*/ 2147483646 w 418"/>
              <a:gd name="T99" fmla="*/ 2147483646 h 219"/>
              <a:gd name="T100" fmla="*/ 2147483646 w 418"/>
              <a:gd name="T101" fmla="*/ 2147483646 h 219"/>
              <a:gd name="T102" fmla="*/ 2147483646 w 418"/>
              <a:gd name="T103" fmla="*/ 2147483646 h 219"/>
              <a:gd name="T104" fmla="*/ 2147483646 w 418"/>
              <a:gd name="T105" fmla="*/ 2147483646 h 219"/>
              <a:gd name="T106" fmla="*/ 2147483646 w 418"/>
              <a:gd name="T107" fmla="*/ 2147483646 h 219"/>
              <a:gd name="T108" fmla="*/ 2147483646 w 418"/>
              <a:gd name="T109" fmla="*/ 2147483646 h 219"/>
              <a:gd name="T110" fmla="*/ 2147483646 w 418"/>
              <a:gd name="T111" fmla="*/ 2147483646 h 219"/>
              <a:gd name="T112" fmla="*/ 2147483646 w 418"/>
              <a:gd name="T113" fmla="*/ 2147483646 h 219"/>
              <a:gd name="T114" fmla="*/ 2147483646 w 418"/>
              <a:gd name="T115" fmla="*/ 2147483646 h 219"/>
              <a:gd name="T116" fmla="*/ 2147483646 w 418"/>
              <a:gd name="T117" fmla="*/ 2147483646 h 219"/>
              <a:gd name="T118" fmla="*/ 2147483646 w 418"/>
              <a:gd name="T119" fmla="*/ 2147483646 h 219"/>
              <a:gd name="T120" fmla="*/ 2147483646 w 418"/>
              <a:gd name="T121" fmla="*/ 2147483646 h 219"/>
              <a:gd name="T122" fmla="*/ 2147483646 w 418"/>
              <a:gd name="T123" fmla="*/ 2147483646 h 219"/>
              <a:gd name="T124" fmla="*/ 2147483646 w 418"/>
              <a:gd name="T125" fmla="*/ 2147483646 h 21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418" h="219">
                <a:moveTo>
                  <a:pt x="364" y="26"/>
                </a:moveTo>
                <a:lnTo>
                  <a:pt x="361" y="27"/>
                </a:lnTo>
                <a:lnTo>
                  <a:pt x="355" y="27"/>
                </a:lnTo>
                <a:lnTo>
                  <a:pt x="351" y="26"/>
                </a:lnTo>
                <a:lnTo>
                  <a:pt x="350" y="23"/>
                </a:lnTo>
                <a:lnTo>
                  <a:pt x="347" y="20"/>
                </a:lnTo>
                <a:lnTo>
                  <a:pt x="341" y="19"/>
                </a:lnTo>
                <a:lnTo>
                  <a:pt x="339" y="16"/>
                </a:lnTo>
                <a:lnTo>
                  <a:pt x="337" y="14"/>
                </a:lnTo>
                <a:lnTo>
                  <a:pt x="332" y="12"/>
                </a:lnTo>
                <a:lnTo>
                  <a:pt x="329" y="8"/>
                </a:lnTo>
                <a:lnTo>
                  <a:pt x="326" y="4"/>
                </a:lnTo>
                <a:lnTo>
                  <a:pt x="322" y="4"/>
                </a:lnTo>
                <a:lnTo>
                  <a:pt x="317" y="0"/>
                </a:lnTo>
                <a:lnTo>
                  <a:pt x="312" y="1"/>
                </a:lnTo>
                <a:lnTo>
                  <a:pt x="308" y="1"/>
                </a:lnTo>
                <a:lnTo>
                  <a:pt x="305" y="5"/>
                </a:lnTo>
                <a:lnTo>
                  <a:pt x="302" y="5"/>
                </a:lnTo>
                <a:lnTo>
                  <a:pt x="298" y="2"/>
                </a:lnTo>
                <a:lnTo>
                  <a:pt x="293" y="0"/>
                </a:lnTo>
                <a:lnTo>
                  <a:pt x="289" y="6"/>
                </a:lnTo>
                <a:lnTo>
                  <a:pt x="285" y="8"/>
                </a:lnTo>
                <a:lnTo>
                  <a:pt x="280" y="7"/>
                </a:lnTo>
                <a:lnTo>
                  <a:pt x="275" y="2"/>
                </a:lnTo>
                <a:lnTo>
                  <a:pt x="271" y="6"/>
                </a:lnTo>
                <a:lnTo>
                  <a:pt x="266" y="17"/>
                </a:lnTo>
                <a:lnTo>
                  <a:pt x="263" y="26"/>
                </a:lnTo>
                <a:lnTo>
                  <a:pt x="255" y="31"/>
                </a:lnTo>
                <a:lnTo>
                  <a:pt x="249" y="33"/>
                </a:lnTo>
                <a:lnTo>
                  <a:pt x="243" y="32"/>
                </a:lnTo>
                <a:lnTo>
                  <a:pt x="238" y="34"/>
                </a:lnTo>
                <a:lnTo>
                  <a:pt x="231" y="31"/>
                </a:lnTo>
                <a:lnTo>
                  <a:pt x="220" y="31"/>
                </a:lnTo>
                <a:lnTo>
                  <a:pt x="211" y="33"/>
                </a:lnTo>
                <a:lnTo>
                  <a:pt x="210" y="31"/>
                </a:lnTo>
                <a:lnTo>
                  <a:pt x="214" y="27"/>
                </a:lnTo>
                <a:lnTo>
                  <a:pt x="213" y="25"/>
                </a:lnTo>
                <a:lnTo>
                  <a:pt x="214" y="21"/>
                </a:lnTo>
                <a:lnTo>
                  <a:pt x="210" y="19"/>
                </a:lnTo>
                <a:lnTo>
                  <a:pt x="204" y="15"/>
                </a:lnTo>
                <a:lnTo>
                  <a:pt x="198" y="18"/>
                </a:lnTo>
                <a:lnTo>
                  <a:pt x="197" y="17"/>
                </a:lnTo>
                <a:lnTo>
                  <a:pt x="194" y="12"/>
                </a:lnTo>
                <a:lnTo>
                  <a:pt x="185" y="6"/>
                </a:lnTo>
                <a:lnTo>
                  <a:pt x="182" y="3"/>
                </a:lnTo>
                <a:lnTo>
                  <a:pt x="172" y="1"/>
                </a:lnTo>
                <a:lnTo>
                  <a:pt x="168" y="0"/>
                </a:lnTo>
                <a:lnTo>
                  <a:pt x="163" y="1"/>
                </a:lnTo>
                <a:lnTo>
                  <a:pt x="159" y="2"/>
                </a:lnTo>
                <a:lnTo>
                  <a:pt x="159" y="3"/>
                </a:lnTo>
                <a:lnTo>
                  <a:pt x="156" y="5"/>
                </a:lnTo>
                <a:lnTo>
                  <a:pt x="153" y="8"/>
                </a:lnTo>
                <a:lnTo>
                  <a:pt x="150" y="10"/>
                </a:lnTo>
                <a:lnTo>
                  <a:pt x="146" y="11"/>
                </a:lnTo>
                <a:lnTo>
                  <a:pt x="140" y="10"/>
                </a:lnTo>
                <a:lnTo>
                  <a:pt x="135" y="12"/>
                </a:lnTo>
                <a:lnTo>
                  <a:pt x="133" y="12"/>
                </a:lnTo>
                <a:lnTo>
                  <a:pt x="131" y="14"/>
                </a:lnTo>
                <a:lnTo>
                  <a:pt x="128" y="16"/>
                </a:lnTo>
                <a:lnTo>
                  <a:pt x="127" y="23"/>
                </a:lnTo>
                <a:lnTo>
                  <a:pt x="125" y="27"/>
                </a:lnTo>
                <a:lnTo>
                  <a:pt x="123" y="29"/>
                </a:lnTo>
                <a:lnTo>
                  <a:pt x="120" y="31"/>
                </a:lnTo>
                <a:lnTo>
                  <a:pt x="121" y="32"/>
                </a:lnTo>
                <a:lnTo>
                  <a:pt x="119" y="34"/>
                </a:lnTo>
                <a:lnTo>
                  <a:pt x="124" y="33"/>
                </a:lnTo>
                <a:lnTo>
                  <a:pt x="125" y="31"/>
                </a:lnTo>
                <a:lnTo>
                  <a:pt x="130" y="25"/>
                </a:lnTo>
                <a:lnTo>
                  <a:pt x="130" y="27"/>
                </a:lnTo>
                <a:lnTo>
                  <a:pt x="132" y="29"/>
                </a:lnTo>
                <a:lnTo>
                  <a:pt x="133" y="29"/>
                </a:lnTo>
                <a:lnTo>
                  <a:pt x="135" y="29"/>
                </a:lnTo>
                <a:lnTo>
                  <a:pt x="134" y="31"/>
                </a:lnTo>
                <a:lnTo>
                  <a:pt x="136" y="31"/>
                </a:lnTo>
                <a:lnTo>
                  <a:pt x="136" y="32"/>
                </a:lnTo>
                <a:lnTo>
                  <a:pt x="134" y="32"/>
                </a:lnTo>
                <a:lnTo>
                  <a:pt x="131" y="34"/>
                </a:lnTo>
                <a:lnTo>
                  <a:pt x="127" y="34"/>
                </a:lnTo>
                <a:lnTo>
                  <a:pt x="125" y="35"/>
                </a:lnTo>
                <a:lnTo>
                  <a:pt x="128" y="35"/>
                </a:lnTo>
                <a:lnTo>
                  <a:pt x="130" y="36"/>
                </a:lnTo>
                <a:lnTo>
                  <a:pt x="134" y="37"/>
                </a:lnTo>
                <a:lnTo>
                  <a:pt x="135" y="39"/>
                </a:lnTo>
                <a:lnTo>
                  <a:pt x="138" y="40"/>
                </a:lnTo>
                <a:lnTo>
                  <a:pt x="136" y="43"/>
                </a:lnTo>
                <a:lnTo>
                  <a:pt x="129" y="39"/>
                </a:lnTo>
                <a:lnTo>
                  <a:pt x="126" y="38"/>
                </a:lnTo>
                <a:lnTo>
                  <a:pt x="125" y="38"/>
                </a:lnTo>
                <a:lnTo>
                  <a:pt x="118" y="41"/>
                </a:lnTo>
                <a:lnTo>
                  <a:pt x="114" y="40"/>
                </a:lnTo>
                <a:lnTo>
                  <a:pt x="104" y="42"/>
                </a:lnTo>
                <a:lnTo>
                  <a:pt x="100" y="42"/>
                </a:lnTo>
                <a:lnTo>
                  <a:pt x="98" y="44"/>
                </a:lnTo>
                <a:lnTo>
                  <a:pt x="98" y="46"/>
                </a:lnTo>
                <a:lnTo>
                  <a:pt x="97" y="46"/>
                </a:lnTo>
                <a:lnTo>
                  <a:pt x="89" y="50"/>
                </a:lnTo>
                <a:lnTo>
                  <a:pt x="86" y="51"/>
                </a:lnTo>
                <a:lnTo>
                  <a:pt x="82" y="52"/>
                </a:lnTo>
                <a:lnTo>
                  <a:pt x="76" y="52"/>
                </a:lnTo>
                <a:lnTo>
                  <a:pt x="71" y="53"/>
                </a:lnTo>
                <a:lnTo>
                  <a:pt x="69" y="52"/>
                </a:lnTo>
                <a:lnTo>
                  <a:pt x="62" y="50"/>
                </a:lnTo>
                <a:lnTo>
                  <a:pt x="56" y="47"/>
                </a:lnTo>
                <a:lnTo>
                  <a:pt x="55" y="47"/>
                </a:lnTo>
                <a:lnTo>
                  <a:pt x="53" y="48"/>
                </a:lnTo>
                <a:lnTo>
                  <a:pt x="50" y="50"/>
                </a:lnTo>
                <a:lnTo>
                  <a:pt x="50" y="51"/>
                </a:lnTo>
                <a:lnTo>
                  <a:pt x="48" y="52"/>
                </a:lnTo>
                <a:lnTo>
                  <a:pt x="46" y="53"/>
                </a:lnTo>
                <a:lnTo>
                  <a:pt x="46" y="55"/>
                </a:lnTo>
                <a:lnTo>
                  <a:pt x="45" y="58"/>
                </a:lnTo>
                <a:lnTo>
                  <a:pt x="41" y="61"/>
                </a:lnTo>
                <a:lnTo>
                  <a:pt x="40" y="62"/>
                </a:lnTo>
                <a:lnTo>
                  <a:pt x="37" y="64"/>
                </a:lnTo>
                <a:lnTo>
                  <a:pt x="27" y="67"/>
                </a:lnTo>
                <a:lnTo>
                  <a:pt x="25" y="68"/>
                </a:lnTo>
                <a:lnTo>
                  <a:pt x="18" y="71"/>
                </a:lnTo>
                <a:lnTo>
                  <a:pt x="15" y="70"/>
                </a:lnTo>
                <a:lnTo>
                  <a:pt x="8" y="70"/>
                </a:lnTo>
                <a:lnTo>
                  <a:pt x="6" y="69"/>
                </a:lnTo>
                <a:lnTo>
                  <a:pt x="6" y="75"/>
                </a:lnTo>
                <a:lnTo>
                  <a:pt x="0" y="77"/>
                </a:lnTo>
                <a:lnTo>
                  <a:pt x="0" y="79"/>
                </a:lnTo>
                <a:lnTo>
                  <a:pt x="3" y="83"/>
                </a:lnTo>
                <a:lnTo>
                  <a:pt x="7" y="89"/>
                </a:lnTo>
                <a:lnTo>
                  <a:pt x="11" y="102"/>
                </a:lnTo>
                <a:lnTo>
                  <a:pt x="17" y="117"/>
                </a:lnTo>
                <a:lnTo>
                  <a:pt x="33" y="100"/>
                </a:lnTo>
                <a:lnTo>
                  <a:pt x="39" y="105"/>
                </a:lnTo>
                <a:lnTo>
                  <a:pt x="24" y="123"/>
                </a:lnTo>
                <a:lnTo>
                  <a:pt x="26" y="134"/>
                </a:lnTo>
                <a:lnTo>
                  <a:pt x="32" y="144"/>
                </a:lnTo>
                <a:lnTo>
                  <a:pt x="39" y="136"/>
                </a:lnTo>
                <a:lnTo>
                  <a:pt x="43" y="137"/>
                </a:lnTo>
                <a:lnTo>
                  <a:pt x="45" y="136"/>
                </a:lnTo>
                <a:lnTo>
                  <a:pt x="57" y="130"/>
                </a:lnTo>
                <a:lnTo>
                  <a:pt x="62" y="129"/>
                </a:lnTo>
                <a:lnTo>
                  <a:pt x="64" y="127"/>
                </a:lnTo>
                <a:lnTo>
                  <a:pt x="65" y="127"/>
                </a:lnTo>
                <a:lnTo>
                  <a:pt x="67" y="127"/>
                </a:lnTo>
                <a:lnTo>
                  <a:pt x="79" y="125"/>
                </a:lnTo>
                <a:lnTo>
                  <a:pt x="81" y="128"/>
                </a:lnTo>
                <a:lnTo>
                  <a:pt x="77" y="137"/>
                </a:lnTo>
                <a:lnTo>
                  <a:pt x="78" y="147"/>
                </a:lnTo>
                <a:lnTo>
                  <a:pt x="87" y="143"/>
                </a:lnTo>
                <a:lnTo>
                  <a:pt x="100" y="146"/>
                </a:lnTo>
                <a:lnTo>
                  <a:pt x="102" y="147"/>
                </a:lnTo>
                <a:lnTo>
                  <a:pt x="104" y="146"/>
                </a:lnTo>
                <a:lnTo>
                  <a:pt x="105" y="146"/>
                </a:lnTo>
                <a:lnTo>
                  <a:pt x="108" y="146"/>
                </a:lnTo>
                <a:lnTo>
                  <a:pt x="108" y="139"/>
                </a:lnTo>
                <a:lnTo>
                  <a:pt x="113" y="137"/>
                </a:lnTo>
                <a:lnTo>
                  <a:pt x="114" y="137"/>
                </a:lnTo>
                <a:lnTo>
                  <a:pt x="116" y="132"/>
                </a:lnTo>
                <a:lnTo>
                  <a:pt x="116" y="131"/>
                </a:lnTo>
                <a:lnTo>
                  <a:pt x="119" y="131"/>
                </a:lnTo>
                <a:lnTo>
                  <a:pt x="121" y="128"/>
                </a:lnTo>
                <a:lnTo>
                  <a:pt x="122" y="125"/>
                </a:lnTo>
                <a:lnTo>
                  <a:pt x="126" y="123"/>
                </a:lnTo>
                <a:lnTo>
                  <a:pt x="127" y="120"/>
                </a:lnTo>
                <a:lnTo>
                  <a:pt x="128" y="120"/>
                </a:lnTo>
                <a:lnTo>
                  <a:pt x="128" y="119"/>
                </a:lnTo>
                <a:lnTo>
                  <a:pt x="129" y="119"/>
                </a:lnTo>
                <a:lnTo>
                  <a:pt x="132" y="118"/>
                </a:lnTo>
                <a:lnTo>
                  <a:pt x="133" y="118"/>
                </a:lnTo>
                <a:lnTo>
                  <a:pt x="135" y="119"/>
                </a:lnTo>
                <a:lnTo>
                  <a:pt x="138" y="120"/>
                </a:lnTo>
                <a:lnTo>
                  <a:pt x="141" y="121"/>
                </a:lnTo>
                <a:lnTo>
                  <a:pt x="142" y="122"/>
                </a:lnTo>
                <a:lnTo>
                  <a:pt x="142" y="126"/>
                </a:lnTo>
                <a:lnTo>
                  <a:pt x="144" y="126"/>
                </a:lnTo>
                <a:lnTo>
                  <a:pt x="147" y="126"/>
                </a:lnTo>
                <a:lnTo>
                  <a:pt x="147" y="127"/>
                </a:lnTo>
                <a:lnTo>
                  <a:pt x="146" y="134"/>
                </a:lnTo>
                <a:lnTo>
                  <a:pt x="147" y="134"/>
                </a:lnTo>
                <a:lnTo>
                  <a:pt x="147" y="135"/>
                </a:lnTo>
                <a:lnTo>
                  <a:pt x="146" y="135"/>
                </a:lnTo>
                <a:lnTo>
                  <a:pt x="144" y="137"/>
                </a:lnTo>
                <a:lnTo>
                  <a:pt x="143" y="138"/>
                </a:lnTo>
                <a:lnTo>
                  <a:pt x="144" y="147"/>
                </a:lnTo>
                <a:lnTo>
                  <a:pt x="147" y="148"/>
                </a:lnTo>
                <a:lnTo>
                  <a:pt x="147" y="149"/>
                </a:lnTo>
                <a:lnTo>
                  <a:pt x="145" y="149"/>
                </a:lnTo>
                <a:lnTo>
                  <a:pt x="143" y="148"/>
                </a:lnTo>
                <a:lnTo>
                  <a:pt x="141" y="146"/>
                </a:lnTo>
                <a:lnTo>
                  <a:pt x="139" y="146"/>
                </a:lnTo>
                <a:lnTo>
                  <a:pt x="135" y="145"/>
                </a:lnTo>
                <a:lnTo>
                  <a:pt x="134" y="144"/>
                </a:lnTo>
                <a:lnTo>
                  <a:pt x="132" y="144"/>
                </a:lnTo>
                <a:lnTo>
                  <a:pt x="131" y="145"/>
                </a:lnTo>
                <a:lnTo>
                  <a:pt x="131" y="147"/>
                </a:lnTo>
                <a:lnTo>
                  <a:pt x="131" y="149"/>
                </a:lnTo>
                <a:lnTo>
                  <a:pt x="132" y="150"/>
                </a:lnTo>
                <a:lnTo>
                  <a:pt x="133" y="151"/>
                </a:lnTo>
                <a:lnTo>
                  <a:pt x="135" y="153"/>
                </a:lnTo>
                <a:lnTo>
                  <a:pt x="146" y="150"/>
                </a:lnTo>
                <a:lnTo>
                  <a:pt x="148" y="151"/>
                </a:lnTo>
                <a:lnTo>
                  <a:pt x="149" y="150"/>
                </a:lnTo>
                <a:lnTo>
                  <a:pt x="150" y="150"/>
                </a:lnTo>
                <a:lnTo>
                  <a:pt x="151" y="151"/>
                </a:lnTo>
                <a:lnTo>
                  <a:pt x="152" y="151"/>
                </a:lnTo>
                <a:lnTo>
                  <a:pt x="151" y="152"/>
                </a:lnTo>
                <a:lnTo>
                  <a:pt x="153" y="152"/>
                </a:lnTo>
                <a:lnTo>
                  <a:pt x="153" y="151"/>
                </a:lnTo>
                <a:lnTo>
                  <a:pt x="154" y="150"/>
                </a:lnTo>
                <a:lnTo>
                  <a:pt x="157" y="150"/>
                </a:lnTo>
                <a:lnTo>
                  <a:pt x="158" y="150"/>
                </a:lnTo>
                <a:lnTo>
                  <a:pt x="163" y="154"/>
                </a:lnTo>
                <a:lnTo>
                  <a:pt x="163" y="155"/>
                </a:lnTo>
                <a:lnTo>
                  <a:pt x="164" y="155"/>
                </a:lnTo>
                <a:lnTo>
                  <a:pt x="165" y="157"/>
                </a:lnTo>
                <a:lnTo>
                  <a:pt x="164" y="158"/>
                </a:lnTo>
                <a:lnTo>
                  <a:pt x="165" y="158"/>
                </a:lnTo>
                <a:lnTo>
                  <a:pt x="167" y="158"/>
                </a:lnTo>
                <a:lnTo>
                  <a:pt x="175" y="148"/>
                </a:lnTo>
                <a:lnTo>
                  <a:pt x="184" y="140"/>
                </a:lnTo>
                <a:lnTo>
                  <a:pt x="184" y="138"/>
                </a:lnTo>
                <a:lnTo>
                  <a:pt x="185" y="136"/>
                </a:lnTo>
                <a:lnTo>
                  <a:pt x="185" y="135"/>
                </a:lnTo>
                <a:lnTo>
                  <a:pt x="185" y="134"/>
                </a:lnTo>
                <a:lnTo>
                  <a:pt x="186" y="130"/>
                </a:lnTo>
                <a:lnTo>
                  <a:pt x="187" y="129"/>
                </a:lnTo>
                <a:lnTo>
                  <a:pt x="188" y="127"/>
                </a:lnTo>
                <a:lnTo>
                  <a:pt x="191" y="125"/>
                </a:lnTo>
                <a:lnTo>
                  <a:pt x="192" y="125"/>
                </a:lnTo>
                <a:lnTo>
                  <a:pt x="191" y="128"/>
                </a:lnTo>
                <a:lnTo>
                  <a:pt x="193" y="131"/>
                </a:lnTo>
                <a:lnTo>
                  <a:pt x="200" y="131"/>
                </a:lnTo>
                <a:lnTo>
                  <a:pt x="201" y="131"/>
                </a:lnTo>
                <a:lnTo>
                  <a:pt x="203" y="137"/>
                </a:lnTo>
                <a:lnTo>
                  <a:pt x="206" y="145"/>
                </a:lnTo>
                <a:lnTo>
                  <a:pt x="206" y="146"/>
                </a:lnTo>
                <a:lnTo>
                  <a:pt x="204" y="149"/>
                </a:lnTo>
                <a:lnTo>
                  <a:pt x="199" y="159"/>
                </a:lnTo>
                <a:lnTo>
                  <a:pt x="209" y="170"/>
                </a:lnTo>
                <a:lnTo>
                  <a:pt x="210" y="170"/>
                </a:lnTo>
                <a:lnTo>
                  <a:pt x="210" y="172"/>
                </a:lnTo>
                <a:lnTo>
                  <a:pt x="213" y="176"/>
                </a:lnTo>
                <a:lnTo>
                  <a:pt x="213" y="187"/>
                </a:lnTo>
                <a:lnTo>
                  <a:pt x="220" y="189"/>
                </a:lnTo>
                <a:lnTo>
                  <a:pt x="222" y="187"/>
                </a:lnTo>
                <a:lnTo>
                  <a:pt x="226" y="185"/>
                </a:lnTo>
                <a:lnTo>
                  <a:pt x="228" y="185"/>
                </a:lnTo>
                <a:lnTo>
                  <a:pt x="228" y="184"/>
                </a:lnTo>
                <a:lnTo>
                  <a:pt x="238" y="191"/>
                </a:lnTo>
                <a:lnTo>
                  <a:pt x="234" y="204"/>
                </a:lnTo>
                <a:lnTo>
                  <a:pt x="237" y="206"/>
                </a:lnTo>
                <a:lnTo>
                  <a:pt x="240" y="206"/>
                </a:lnTo>
                <a:lnTo>
                  <a:pt x="243" y="205"/>
                </a:lnTo>
                <a:lnTo>
                  <a:pt x="250" y="206"/>
                </a:lnTo>
                <a:lnTo>
                  <a:pt x="254" y="206"/>
                </a:lnTo>
                <a:lnTo>
                  <a:pt x="259" y="206"/>
                </a:lnTo>
                <a:lnTo>
                  <a:pt x="261" y="204"/>
                </a:lnTo>
                <a:lnTo>
                  <a:pt x="261" y="202"/>
                </a:lnTo>
                <a:lnTo>
                  <a:pt x="277" y="206"/>
                </a:lnTo>
                <a:lnTo>
                  <a:pt x="277" y="207"/>
                </a:lnTo>
                <a:lnTo>
                  <a:pt x="281" y="201"/>
                </a:lnTo>
                <a:lnTo>
                  <a:pt x="282" y="201"/>
                </a:lnTo>
                <a:lnTo>
                  <a:pt x="284" y="199"/>
                </a:lnTo>
                <a:lnTo>
                  <a:pt x="288" y="199"/>
                </a:lnTo>
                <a:lnTo>
                  <a:pt x="291" y="196"/>
                </a:lnTo>
                <a:lnTo>
                  <a:pt x="291" y="195"/>
                </a:lnTo>
                <a:lnTo>
                  <a:pt x="293" y="193"/>
                </a:lnTo>
                <a:lnTo>
                  <a:pt x="300" y="195"/>
                </a:lnTo>
                <a:lnTo>
                  <a:pt x="301" y="196"/>
                </a:lnTo>
                <a:lnTo>
                  <a:pt x="303" y="199"/>
                </a:lnTo>
                <a:lnTo>
                  <a:pt x="306" y="203"/>
                </a:lnTo>
                <a:lnTo>
                  <a:pt x="309" y="205"/>
                </a:lnTo>
                <a:lnTo>
                  <a:pt x="310" y="206"/>
                </a:lnTo>
                <a:lnTo>
                  <a:pt x="309" y="213"/>
                </a:lnTo>
                <a:lnTo>
                  <a:pt x="310" y="219"/>
                </a:lnTo>
                <a:lnTo>
                  <a:pt x="313" y="219"/>
                </a:lnTo>
                <a:lnTo>
                  <a:pt x="317" y="218"/>
                </a:lnTo>
                <a:lnTo>
                  <a:pt x="325" y="216"/>
                </a:lnTo>
                <a:lnTo>
                  <a:pt x="326" y="201"/>
                </a:lnTo>
                <a:lnTo>
                  <a:pt x="336" y="186"/>
                </a:lnTo>
                <a:lnTo>
                  <a:pt x="351" y="178"/>
                </a:lnTo>
                <a:lnTo>
                  <a:pt x="379" y="170"/>
                </a:lnTo>
                <a:lnTo>
                  <a:pt x="392" y="158"/>
                </a:lnTo>
                <a:lnTo>
                  <a:pt x="379" y="138"/>
                </a:lnTo>
                <a:lnTo>
                  <a:pt x="376" y="122"/>
                </a:lnTo>
                <a:lnTo>
                  <a:pt x="373" y="116"/>
                </a:lnTo>
                <a:lnTo>
                  <a:pt x="370" y="94"/>
                </a:lnTo>
                <a:lnTo>
                  <a:pt x="380" y="96"/>
                </a:lnTo>
                <a:lnTo>
                  <a:pt x="385" y="99"/>
                </a:lnTo>
                <a:lnTo>
                  <a:pt x="395" y="97"/>
                </a:lnTo>
                <a:lnTo>
                  <a:pt x="407" y="92"/>
                </a:lnTo>
                <a:lnTo>
                  <a:pt x="410" y="94"/>
                </a:lnTo>
                <a:lnTo>
                  <a:pt x="413" y="98"/>
                </a:lnTo>
                <a:lnTo>
                  <a:pt x="416" y="96"/>
                </a:lnTo>
                <a:lnTo>
                  <a:pt x="418" y="96"/>
                </a:lnTo>
                <a:lnTo>
                  <a:pt x="416" y="88"/>
                </a:lnTo>
                <a:lnTo>
                  <a:pt x="412" y="76"/>
                </a:lnTo>
                <a:lnTo>
                  <a:pt x="407" y="70"/>
                </a:lnTo>
                <a:lnTo>
                  <a:pt x="401" y="65"/>
                </a:lnTo>
                <a:lnTo>
                  <a:pt x="402" y="58"/>
                </a:lnTo>
                <a:lnTo>
                  <a:pt x="398" y="57"/>
                </a:lnTo>
                <a:lnTo>
                  <a:pt x="399" y="53"/>
                </a:lnTo>
                <a:lnTo>
                  <a:pt x="399" y="45"/>
                </a:lnTo>
                <a:lnTo>
                  <a:pt x="396" y="42"/>
                </a:lnTo>
                <a:lnTo>
                  <a:pt x="391" y="41"/>
                </a:lnTo>
                <a:lnTo>
                  <a:pt x="386" y="40"/>
                </a:lnTo>
                <a:lnTo>
                  <a:pt x="383" y="38"/>
                </a:lnTo>
                <a:lnTo>
                  <a:pt x="381" y="32"/>
                </a:lnTo>
                <a:lnTo>
                  <a:pt x="380" y="27"/>
                </a:lnTo>
                <a:lnTo>
                  <a:pt x="377" y="26"/>
                </a:lnTo>
                <a:lnTo>
                  <a:pt x="370" y="25"/>
                </a:lnTo>
                <a:lnTo>
                  <a:pt x="364" y="26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6" name="Freeform 37"/>
          <p:cNvSpPr>
            <a:spLocks/>
          </p:cNvSpPr>
          <p:nvPr/>
        </p:nvSpPr>
        <p:spPr bwMode="auto">
          <a:xfrm>
            <a:off x="4908550" y="3098800"/>
            <a:ext cx="0" cy="3175"/>
          </a:xfrm>
          <a:custGeom>
            <a:avLst/>
            <a:gdLst>
              <a:gd name="T0" fmla="*/ 0 h 3175"/>
              <a:gd name="T1" fmla="*/ 0 h 3175"/>
              <a:gd name="T2" fmla="*/ 0 h 3175"/>
              <a:gd name="T3" fmla="*/ 0 60000 65536"/>
              <a:gd name="T4" fmla="*/ 0 60000 65536"/>
              <a:gd name="T5" fmla="*/ 0 60000 65536"/>
            </a:gdLst>
            <a:ahLst/>
            <a:cxnLst>
              <a:cxn ang="T3">
                <a:pos x="0" y="T0"/>
              </a:cxn>
              <a:cxn ang="T4">
                <a:pos x="0" y="T1"/>
              </a:cxn>
              <a:cxn ang="T5">
                <a:pos x="0" y="T2"/>
              </a:cxn>
            </a:cxnLst>
            <a:rect l="0" t="0" r="r" b="b"/>
            <a:pathLst>
              <a:path h="3175">
                <a:moveTo>
                  <a:pt x="0" y="0"/>
                </a:moveTo>
                <a:cubicBezTo>
                  <a:pt x="0" y="0"/>
                  <a:pt x="0" y="0"/>
                  <a:pt x="0" y="0"/>
                </a:cubicBezTo>
                <a:cubicBezTo>
                  <a:pt x="0" y="0"/>
                  <a:pt x="0" y="0"/>
                  <a:pt x="0" y="0"/>
                </a:cubicBezTo>
              </a:path>
            </a:pathLst>
          </a:custGeom>
          <a:solidFill>
            <a:srgbClr val="FF9900"/>
          </a:solidFill>
          <a:ln w="3175" cap="flat" cmpd="sng">
            <a:solidFill>
              <a:srgbClr val="0033CC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7" name="Freeform 38"/>
          <p:cNvSpPr>
            <a:spLocks/>
          </p:cNvSpPr>
          <p:nvPr/>
        </p:nvSpPr>
        <p:spPr bwMode="auto">
          <a:xfrm>
            <a:off x="4629150" y="2740025"/>
            <a:ext cx="1692275" cy="1325563"/>
          </a:xfrm>
          <a:custGeom>
            <a:avLst/>
            <a:gdLst>
              <a:gd name="T0" fmla="*/ 2147483646 w 286"/>
              <a:gd name="T1" fmla="*/ 2147483646 h 263"/>
              <a:gd name="T2" fmla="*/ 2147483646 w 286"/>
              <a:gd name="T3" fmla="*/ 2147483646 h 263"/>
              <a:gd name="T4" fmla="*/ 2147483646 w 286"/>
              <a:gd name="T5" fmla="*/ 2147483646 h 263"/>
              <a:gd name="T6" fmla="*/ 2147483646 w 286"/>
              <a:gd name="T7" fmla="*/ 2147483646 h 263"/>
              <a:gd name="T8" fmla="*/ 2147483646 w 286"/>
              <a:gd name="T9" fmla="*/ 2147483646 h 263"/>
              <a:gd name="T10" fmla="*/ 2147483646 w 286"/>
              <a:gd name="T11" fmla="*/ 2147483646 h 263"/>
              <a:gd name="T12" fmla="*/ 2147483646 w 286"/>
              <a:gd name="T13" fmla="*/ 2147483646 h 263"/>
              <a:gd name="T14" fmla="*/ 2147483646 w 286"/>
              <a:gd name="T15" fmla="*/ 2147483646 h 263"/>
              <a:gd name="T16" fmla="*/ 2147483646 w 286"/>
              <a:gd name="T17" fmla="*/ 2147483646 h 263"/>
              <a:gd name="T18" fmla="*/ 2147483646 w 286"/>
              <a:gd name="T19" fmla="*/ 2147483646 h 263"/>
              <a:gd name="T20" fmla="*/ 2147483646 w 286"/>
              <a:gd name="T21" fmla="*/ 2147483646 h 263"/>
              <a:gd name="T22" fmla="*/ 2147483646 w 286"/>
              <a:gd name="T23" fmla="*/ 2147483646 h 263"/>
              <a:gd name="T24" fmla="*/ 2147483646 w 286"/>
              <a:gd name="T25" fmla="*/ 2147483646 h 263"/>
              <a:gd name="T26" fmla="*/ 2147483646 w 286"/>
              <a:gd name="T27" fmla="*/ 2147483646 h 263"/>
              <a:gd name="T28" fmla="*/ 2147483646 w 286"/>
              <a:gd name="T29" fmla="*/ 2147483646 h 263"/>
              <a:gd name="T30" fmla="*/ 2147483646 w 286"/>
              <a:gd name="T31" fmla="*/ 2147483646 h 263"/>
              <a:gd name="T32" fmla="*/ 2147483646 w 286"/>
              <a:gd name="T33" fmla="*/ 2147483646 h 263"/>
              <a:gd name="T34" fmla="*/ 2147483646 w 286"/>
              <a:gd name="T35" fmla="*/ 2147483646 h 263"/>
              <a:gd name="T36" fmla="*/ 2147483646 w 286"/>
              <a:gd name="T37" fmla="*/ 2147483646 h 263"/>
              <a:gd name="T38" fmla="*/ 2147483646 w 286"/>
              <a:gd name="T39" fmla="*/ 2147483646 h 263"/>
              <a:gd name="T40" fmla="*/ 2147483646 w 286"/>
              <a:gd name="T41" fmla="*/ 2147483646 h 263"/>
              <a:gd name="T42" fmla="*/ 2147483646 w 286"/>
              <a:gd name="T43" fmla="*/ 2147483646 h 263"/>
              <a:gd name="T44" fmla="*/ 2147483646 w 286"/>
              <a:gd name="T45" fmla="*/ 2147483646 h 263"/>
              <a:gd name="T46" fmla="*/ 2147483646 w 286"/>
              <a:gd name="T47" fmla="*/ 2147483646 h 263"/>
              <a:gd name="T48" fmla="*/ 2147483646 w 286"/>
              <a:gd name="T49" fmla="*/ 2147483646 h 263"/>
              <a:gd name="T50" fmla="*/ 2147483646 w 286"/>
              <a:gd name="T51" fmla="*/ 2147483646 h 263"/>
              <a:gd name="T52" fmla="*/ 2147483646 w 286"/>
              <a:gd name="T53" fmla="*/ 2147483646 h 263"/>
              <a:gd name="T54" fmla="*/ 2147483646 w 286"/>
              <a:gd name="T55" fmla="*/ 2147483646 h 263"/>
              <a:gd name="T56" fmla="*/ 2147483646 w 286"/>
              <a:gd name="T57" fmla="*/ 2147483646 h 263"/>
              <a:gd name="T58" fmla="*/ 2147483646 w 286"/>
              <a:gd name="T59" fmla="*/ 2147483646 h 263"/>
              <a:gd name="T60" fmla="*/ 2147483646 w 286"/>
              <a:gd name="T61" fmla="*/ 2147483646 h 263"/>
              <a:gd name="T62" fmla="*/ 2147483646 w 286"/>
              <a:gd name="T63" fmla="*/ 2147483646 h 263"/>
              <a:gd name="T64" fmla="*/ 2147483646 w 286"/>
              <a:gd name="T65" fmla="*/ 2147483646 h 263"/>
              <a:gd name="T66" fmla="*/ 2147483646 w 286"/>
              <a:gd name="T67" fmla="*/ 2147483646 h 263"/>
              <a:gd name="T68" fmla="*/ 2147483646 w 286"/>
              <a:gd name="T69" fmla="*/ 2147483646 h 263"/>
              <a:gd name="T70" fmla="*/ 2147483646 w 286"/>
              <a:gd name="T71" fmla="*/ 2147483646 h 263"/>
              <a:gd name="T72" fmla="*/ 2147483646 w 286"/>
              <a:gd name="T73" fmla="*/ 2147483646 h 263"/>
              <a:gd name="T74" fmla="*/ 2147483646 w 286"/>
              <a:gd name="T75" fmla="*/ 2147483646 h 263"/>
              <a:gd name="T76" fmla="*/ 2147483646 w 286"/>
              <a:gd name="T77" fmla="*/ 2147483646 h 263"/>
              <a:gd name="T78" fmla="*/ 2147483646 w 286"/>
              <a:gd name="T79" fmla="*/ 2147483646 h 263"/>
              <a:gd name="T80" fmla="*/ 2147483646 w 286"/>
              <a:gd name="T81" fmla="*/ 2147483646 h 263"/>
              <a:gd name="T82" fmla="*/ 2147483646 w 286"/>
              <a:gd name="T83" fmla="*/ 2147483646 h 263"/>
              <a:gd name="T84" fmla="*/ 2147483646 w 286"/>
              <a:gd name="T85" fmla="*/ 2147483646 h 263"/>
              <a:gd name="T86" fmla="*/ 2147483646 w 286"/>
              <a:gd name="T87" fmla="*/ 2147483646 h 263"/>
              <a:gd name="T88" fmla="*/ 2147483646 w 286"/>
              <a:gd name="T89" fmla="*/ 2147483646 h 263"/>
              <a:gd name="T90" fmla="*/ 2147483646 w 286"/>
              <a:gd name="T91" fmla="*/ 2147483646 h 263"/>
              <a:gd name="T92" fmla="*/ 2147483646 w 286"/>
              <a:gd name="T93" fmla="*/ 2147483646 h 263"/>
              <a:gd name="T94" fmla="*/ 2147483646 w 286"/>
              <a:gd name="T95" fmla="*/ 2147483646 h 263"/>
              <a:gd name="T96" fmla="*/ 2147483646 w 286"/>
              <a:gd name="T97" fmla="*/ 2147483646 h 263"/>
              <a:gd name="T98" fmla="*/ 2147483646 w 286"/>
              <a:gd name="T99" fmla="*/ 2147483646 h 263"/>
              <a:gd name="T100" fmla="*/ 2147483646 w 286"/>
              <a:gd name="T101" fmla="*/ 2147483646 h 263"/>
              <a:gd name="T102" fmla="*/ 2147483646 w 286"/>
              <a:gd name="T103" fmla="*/ 2147483646 h 263"/>
              <a:gd name="T104" fmla="*/ 2147483646 w 286"/>
              <a:gd name="T105" fmla="*/ 2147483646 h 263"/>
              <a:gd name="T106" fmla="*/ 2147483646 w 286"/>
              <a:gd name="T107" fmla="*/ 2147483646 h 263"/>
              <a:gd name="T108" fmla="*/ 2147483646 w 286"/>
              <a:gd name="T109" fmla="*/ 2147483646 h 263"/>
              <a:gd name="T110" fmla="*/ 2147483646 w 286"/>
              <a:gd name="T111" fmla="*/ 2147483646 h 263"/>
              <a:gd name="T112" fmla="*/ 2147483646 w 286"/>
              <a:gd name="T113" fmla="*/ 2147483646 h 263"/>
              <a:gd name="T114" fmla="*/ 2147483646 w 286"/>
              <a:gd name="T115" fmla="*/ 2147483646 h 2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286" h="263">
                <a:moveTo>
                  <a:pt x="277" y="204"/>
                </a:moveTo>
                <a:lnTo>
                  <a:pt x="276" y="204"/>
                </a:lnTo>
                <a:lnTo>
                  <a:pt x="276" y="198"/>
                </a:lnTo>
                <a:lnTo>
                  <a:pt x="279" y="190"/>
                </a:lnTo>
                <a:lnTo>
                  <a:pt x="280" y="187"/>
                </a:lnTo>
                <a:lnTo>
                  <a:pt x="280" y="186"/>
                </a:lnTo>
                <a:lnTo>
                  <a:pt x="281" y="184"/>
                </a:lnTo>
                <a:lnTo>
                  <a:pt x="282" y="180"/>
                </a:lnTo>
                <a:lnTo>
                  <a:pt x="286" y="175"/>
                </a:lnTo>
                <a:lnTo>
                  <a:pt x="286" y="173"/>
                </a:lnTo>
                <a:lnTo>
                  <a:pt x="285" y="167"/>
                </a:lnTo>
                <a:lnTo>
                  <a:pt x="284" y="163"/>
                </a:lnTo>
                <a:lnTo>
                  <a:pt x="282" y="159"/>
                </a:lnTo>
                <a:lnTo>
                  <a:pt x="282" y="158"/>
                </a:lnTo>
                <a:lnTo>
                  <a:pt x="277" y="157"/>
                </a:lnTo>
                <a:lnTo>
                  <a:pt x="276" y="155"/>
                </a:lnTo>
                <a:lnTo>
                  <a:pt x="274" y="150"/>
                </a:lnTo>
                <a:lnTo>
                  <a:pt x="271" y="147"/>
                </a:lnTo>
                <a:lnTo>
                  <a:pt x="270" y="141"/>
                </a:lnTo>
                <a:lnTo>
                  <a:pt x="268" y="137"/>
                </a:lnTo>
                <a:lnTo>
                  <a:pt x="267" y="134"/>
                </a:lnTo>
                <a:lnTo>
                  <a:pt x="266" y="133"/>
                </a:lnTo>
                <a:lnTo>
                  <a:pt x="264" y="135"/>
                </a:lnTo>
                <a:lnTo>
                  <a:pt x="263" y="136"/>
                </a:lnTo>
                <a:lnTo>
                  <a:pt x="260" y="142"/>
                </a:lnTo>
                <a:lnTo>
                  <a:pt x="257" y="145"/>
                </a:lnTo>
                <a:lnTo>
                  <a:pt x="256" y="146"/>
                </a:lnTo>
                <a:lnTo>
                  <a:pt x="238" y="140"/>
                </a:lnTo>
                <a:lnTo>
                  <a:pt x="236" y="140"/>
                </a:lnTo>
                <a:lnTo>
                  <a:pt x="236" y="137"/>
                </a:lnTo>
                <a:lnTo>
                  <a:pt x="219" y="137"/>
                </a:lnTo>
                <a:lnTo>
                  <a:pt x="213" y="135"/>
                </a:lnTo>
                <a:lnTo>
                  <a:pt x="209" y="133"/>
                </a:lnTo>
                <a:lnTo>
                  <a:pt x="206" y="131"/>
                </a:lnTo>
                <a:lnTo>
                  <a:pt x="202" y="128"/>
                </a:lnTo>
                <a:lnTo>
                  <a:pt x="202" y="121"/>
                </a:lnTo>
                <a:lnTo>
                  <a:pt x="203" y="115"/>
                </a:lnTo>
                <a:lnTo>
                  <a:pt x="198" y="104"/>
                </a:lnTo>
                <a:lnTo>
                  <a:pt x="199" y="104"/>
                </a:lnTo>
                <a:lnTo>
                  <a:pt x="204" y="105"/>
                </a:lnTo>
                <a:lnTo>
                  <a:pt x="206" y="104"/>
                </a:lnTo>
                <a:lnTo>
                  <a:pt x="207" y="100"/>
                </a:lnTo>
                <a:lnTo>
                  <a:pt x="209" y="101"/>
                </a:lnTo>
                <a:lnTo>
                  <a:pt x="210" y="100"/>
                </a:lnTo>
                <a:lnTo>
                  <a:pt x="213" y="101"/>
                </a:lnTo>
                <a:lnTo>
                  <a:pt x="214" y="101"/>
                </a:lnTo>
                <a:lnTo>
                  <a:pt x="213" y="99"/>
                </a:lnTo>
                <a:lnTo>
                  <a:pt x="208" y="94"/>
                </a:lnTo>
                <a:lnTo>
                  <a:pt x="207" y="93"/>
                </a:lnTo>
                <a:lnTo>
                  <a:pt x="205" y="91"/>
                </a:lnTo>
                <a:lnTo>
                  <a:pt x="207" y="81"/>
                </a:lnTo>
                <a:lnTo>
                  <a:pt x="204" y="77"/>
                </a:lnTo>
                <a:lnTo>
                  <a:pt x="200" y="77"/>
                </a:lnTo>
                <a:lnTo>
                  <a:pt x="200" y="69"/>
                </a:lnTo>
                <a:lnTo>
                  <a:pt x="180" y="60"/>
                </a:lnTo>
                <a:lnTo>
                  <a:pt x="165" y="64"/>
                </a:lnTo>
                <a:lnTo>
                  <a:pt x="158" y="71"/>
                </a:lnTo>
                <a:lnTo>
                  <a:pt x="158" y="76"/>
                </a:lnTo>
                <a:lnTo>
                  <a:pt x="158" y="82"/>
                </a:lnTo>
                <a:lnTo>
                  <a:pt x="155" y="80"/>
                </a:lnTo>
                <a:lnTo>
                  <a:pt x="151" y="80"/>
                </a:lnTo>
                <a:lnTo>
                  <a:pt x="149" y="79"/>
                </a:lnTo>
                <a:lnTo>
                  <a:pt x="147" y="79"/>
                </a:lnTo>
                <a:lnTo>
                  <a:pt x="146" y="82"/>
                </a:lnTo>
                <a:lnTo>
                  <a:pt x="142" y="81"/>
                </a:lnTo>
                <a:lnTo>
                  <a:pt x="140" y="79"/>
                </a:lnTo>
                <a:lnTo>
                  <a:pt x="135" y="80"/>
                </a:lnTo>
                <a:lnTo>
                  <a:pt x="132" y="81"/>
                </a:lnTo>
                <a:lnTo>
                  <a:pt x="129" y="82"/>
                </a:lnTo>
                <a:lnTo>
                  <a:pt x="127" y="78"/>
                </a:lnTo>
                <a:lnTo>
                  <a:pt x="127" y="76"/>
                </a:lnTo>
                <a:lnTo>
                  <a:pt x="124" y="72"/>
                </a:lnTo>
                <a:lnTo>
                  <a:pt x="121" y="69"/>
                </a:lnTo>
                <a:lnTo>
                  <a:pt x="116" y="67"/>
                </a:lnTo>
                <a:lnTo>
                  <a:pt x="116" y="64"/>
                </a:lnTo>
                <a:lnTo>
                  <a:pt x="115" y="63"/>
                </a:lnTo>
                <a:lnTo>
                  <a:pt x="112" y="64"/>
                </a:lnTo>
                <a:lnTo>
                  <a:pt x="109" y="65"/>
                </a:lnTo>
                <a:lnTo>
                  <a:pt x="107" y="64"/>
                </a:lnTo>
                <a:lnTo>
                  <a:pt x="105" y="64"/>
                </a:lnTo>
                <a:lnTo>
                  <a:pt x="103" y="64"/>
                </a:lnTo>
                <a:lnTo>
                  <a:pt x="100" y="62"/>
                </a:lnTo>
                <a:lnTo>
                  <a:pt x="98" y="60"/>
                </a:lnTo>
                <a:lnTo>
                  <a:pt x="91" y="59"/>
                </a:lnTo>
                <a:lnTo>
                  <a:pt x="90" y="62"/>
                </a:lnTo>
                <a:lnTo>
                  <a:pt x="87" y="60"/>
                </a:lnTo>
                <a:lnTo>
                  <a:pt x="83" y="59"/>
                </a:lnTo>
                <a:lnTo>
                  <a:pt x="80" y="56"/>
                </a:lnTo>
                <a:lnTo>
                  <a:pt x="79" y="50"/>
                </a:lnTo>
                <a:lnTo>
                  <a:pt x="76" y="44"/>
                </a:lnTo>
                <a:lnTo>
                  <a:pt x="73" y="39"/>
                </a:lnTo>
                <a:lnTo>
                  <a:pt x="73" y="36"/>
                </a:lnTo>
                <a:lnTo>
                  <a:pt x="74" y="34"/>
                </a:lnTo>
                <a:lnTo>
                  <a:pt x="79" y="32"/>
                </a:lnTo>
                <a:lnTo>
                  <a:pt x="83" y="28"/>
                </a:lnTo>
                <a:lnTo>
                  <a:pt x="87" y="24"/>
                </a:lnTo>
                <a:lnTo>
                  <a:pt x="90" y="20"/>
                </a:lnTo>
                <a:lnTo>
                  <a:pt x="86" y="16"/>
                </a:lnTo>
                <a:lnTo>
                  <a:pt x="83" y="12"/>
                </a:lnTo>
                <a:lnTo>
                  <a:pt x="79" y="8"/>
                </a:lnTo>
                <a:lnTo>
                  <a:pt x="76" y="5"/>
                </a:lnTo>
                <a:lnTo>
                  <a:pt x="74" y="2"/>
                </a:lnTo>
                <a:lnTo>
                  <a:pt x="72" y="0"/>
                </a:lnTo>
                <a:lnTo>
                  <a:pt x="62" y="4"/>
                </a:lnTo>
                <a:lnTo>
                  <a:pt x="55" y="4"/>
                </a:lnTo>
                <a:lnTo>
                  <a:pt x="56" y="8"/>
                </a:lnTo>
                <a:lnTo>
                  <a:pt x="53" y="11"/>
                </a:lnTo>
                <a:lnTo>
                  <a:pt x="50" y="13"/>
                </a:lnTo>
                <a:lnTo>
                  <a:pt x="49" y="11"/>
                </a:lnTo>
                <a:lnTo>
                  <a:pt x="45" y="12"/>
                </a:lnTo>
                <a:lnTo>
                  <a:pt x="43" y="12"/>
                </a:lnTo>
                <a:lnTo>
                  <a:pt x="40" y="8"/>
                </a:lnTo>
                <a:lnTo>
                  <a:pt x="38" y="4"/>
                </a:lnTo>
                <a:lnTo>
                  <a:pt x="36" y="5"/>
                </a:lnTo>
                <a:lnTo>
                  <a:pt x="35" y="8"/>
                </a:lnTo>
                <a:lnTo>
                  <a:pt x="29" y="7"/>
                </a:lnTo>
                <a:lnTo>
                  <a:pt x="27" y="9"/>
                </a:lnTo>
                <a:lnTo>
                  <a:pt x="27" y="11"/>
                </a:lnTo>
                <a:lnTo>
                  <a:pt x="24" y="14"/>
                </a:lnTo>
                <a:lnTo>
                  <a:pt x="22" y="15"/>
                </a:lnTo>
                <a:lnTo>
                  <a:pt x="21" y="18"/>
                </a:lnTo>
                <a:lnTo>
                  <a:pt x="17" y="20"/>
                </a:lnTo>
                <a:lnTo>
                  <a:pt x="12" y="18"/>
                </a:lnTo>
                <a:lnTo>
                  <a:pt x="9" y="18"/>
                </a:lnTo>
                <a:lnTo>
                  <a:pt x="3" y="14"/>
                </a:lnTo>
                <a:lnTo>
                  <a:pt x="0" y="16"/>
                </a:lnTo>
                <a:lnTo>
                  <a:pt x="4" y="18"/>
                </a:lnTo>
                <a:lnTo>
                  <a:pt x="6" y="22"/>
                </a:lnTo>
                <a:lnTo>
                  <a:pt x="8" y="24"/>
                </a:lnTo>
                <a:lnTo>
                  <a:pt x="16" y="24"/>
                </a:lnTo>
                <a:lnTo>
                  <a:pt x="19" y="25"/>
                </a:lnTo>
                <a:lnTo>
                  <a:pt x="24" y="28"/>
                </a:lnTo>
                <a:lnTo>
                  <a:pt x="27" y="31"/>
                </a:lnTo>
                <a:lnTo>
                  <a:pt x="30" y="33"/>
                </a:lnTo>
                <a:lnTo>
                  <a:pt x="33" y="36"/>
                </a:lnTo>
                <a:lnTo>
                  <a:pt x="35" y="40"/>
                </a:lnTo>
                <a:lnTo>
                  <a:pt x="37" y="43"/>
                </a:lnTo>
                <a:lnTo>
                  <a:pt x="39" y="46"/>
                </a:lnTo>
                <a:lnTo>
                  <a:pt x="39" y="48"/>
                </a:lnTo>
                <a:lnTo>
                  <a:pt x="39" y="52"/>
                </a:lnTo>
                <a:lnTo>
                  <a:pt x="39" y="55"/>
                </a:lnTo>
                <a:lnTo>
                  <a:pt x="38" y="56"/>
                </a:lnTo>
                <a:lnTo>
                  <a:pt x="37" y="58"/>
                </a:lnTo>
                <a:lnTo>
                  <a:pt x="36" y="59"/>
                </a:lnTo>
                <a:lnTo>
                  <a:pt x="35" y="63"/>
                </a:lnTo>
                <a:lnTo>
                  <a:pt x="37" y="64"/>
                </a:lnTo>
                <a:lnTo>
                  <a:pt x="40" y="64"/>
                </a:lnTo>
                <a:lnTo>
                  <a:pt x="41" y="65"/>
                </a:lnTo>
                <a:lnTo>
                  <a:pt x="45" y="66"/>
                </a:lnTo>
                <a:lnTo>
                  <a:pt x="48" y="67"/>
                </a:lnTo>
                <a:cubicBezTo>
                  <a:pt x="48" y="68"/>
                  <a:pt x="48" y="69"/>
                  <a:pt x="47" y="70"/>
                </a:cubicBezTo>
                <a:lnTo>
                  <a:pt x="50" y="73"/>
                </a:lnTo>
                <a:lnTo>
                  <a:pt x="51" y="73"/>
                </a:lnTo>
                <a:lnTo>
                  <a:pt x="51" y="75"/>
                </a:lnTo>
                <a:lnTo>
                  <a:pt x="50" y="75"/>
                </a:lnTo>
                <a:lnTo>
                  <a:pt x="49" y="75"/>
                </a:lnTo>
                <a:lnTo>
                  <a:pt x="43" y="79"/>
                </a:lnTo>
                <a:lnTo>
                  <a:pt x="40" y="80"/>
                </a:lnTo>
                <a:lnTo>
                  <a:pt x="36" y="80"/>
                </a:lnTo>
                <a:lnTo>
                  <a:pt x="36" y="81"/>
                </a:lnTo>
                <a:lnTo>
                  <a:pt x="31" y="83"/>
                </a:lnTo>
                <a:lnTo>
                  <a:pt x="27" y="83"/>
                </a:lnTo>
                <a:lnTo>
                  <a:pt x="27" y="82"/>
                </a:lnTo>
                <a:lnTo>
                  <a:pt x="25" y="82"/>
                </a:lnTo>
                <a:lnTo>
                  <a:pt x="11" y="85"/>
                </a:lnTo>
                <a:lnTo>
                  <a:pt x="9" y="87"/>
                </a:lnTo>
                <a:lnTo>
                  <a:pt x="9" y="88"/>
                </a:lnTo>
                <a:lnTo>
                  <a:pt x="10" y="94"/>
                </a:lnTo>
                <a:lnTo>
                  <a:pt x="9" y="94"/>
                </a:lnTo>
                <a:lnTo>
                  <a:pt x="6" y="94"/>
                </a:lnTo>
                <a:lnTo>
                  <a:pt x="5" y="95"/>
                </a:lnTo>
                <a:lnTo>
                  <a:pt x="8" y="97"/>
                </a:lnTo>
                <a:lnTo>
                  <a:pt x="10" y="97"/>
                </a:lnTo>
                <a:lnTo>
                  <a:pt x="12" y="103"/>
                </a:lnTo>
                <a:lnTo>
                  <a:pt x="14" y="105"/>
                </a:lnTo>
                <a:lnTo>
                  <a:pt x="15" y="107"/>
                </a:lnTo>
                <a:lnTo>
                  <a:pt x="17" y="117"/>
                </a:lnTo>
                <a:lnTo>
                  <a:pt x="19" y="118"/>
                </a:lnTo>
                <a:lnTo>
                  <a:pt x="23" y="122"/>
                </a:lnTo>
                <a:lnTo>
                  <a:pt x="27" y="128"/>
                </a:lnTo>
                <a:lnTo>
                  <a:pt x="29" y="134"/>
                </a:lnTo>
                <a:lnTo>
                  <a:pt x="33" y="132"/>
                </a:lnTo>
                <a:lnTo>
                  <a:pt x="35" y="130"/>
                </a:lnTo>
                <a:lnTo>
                  <a:pt x="38" y="133"/>
                </a:lnTo>
                <a:lnTo>
                  <a:pt x="48" y="123"/>
                </a:lnTo>
                <a:lnTo>
                  <a:pt x="52" y="122"/>
                </a:lnTo>
                <a:lnTo>
                  <a:pt x="56" y="123"/>
                </a:lnTo>
                <a:lnTo>
                  <a:pt x="59" y="128"/>
                </a:lnTo>
                <a:lnTo>
                  <a:pt x="60" y="131"/>
                </a:lnTo>
                <a:lnTo>
                  <a:pt x="68" y="135"/>
                </a:lnTo>
                <a:lnTo>
                  <a:pt x="68" y="137"/>
                </a:lnTo>
                <a:lnTo>
                  <a:pt x="69" y="144"/>
                </a:lnTo>
                <a:lnTo>
                  <a:pt x="71" y="148"/>
                </a:lnTo>
                <a:lnTo>
                  <a:pt x="72" y="149"/>
                </a:lnTo>
                <a:lnTo>
                  <a:pt x="71" y="152"/>
                </a:lnTo>
                <a:lnTo>
                  <a:pt x="71" y="155"/>
                </a:lnTo>
                <a:lnTo>
                  <a:pt x="71" y="158"/>
                </a:lnTo>
                <a:lnTo>
                  <a:pt x="75" y="158"/>
                </a:lnTo>
                <a:lnTo>
                  <a:pt x="74" y="162"/>
                </a:lnTo>
                <a:lnTo>
                  <a:pt x="74" y="167"/>
                </a:lnTo>
                <a:lnTo>
                  <a:pt x="71" y="169"/>
                </a:lnTo>
                <a:lnTo>
                  <a:pt x="67" y="171"/>
                </a:lnTo>
                <a:lnTo>
                  <a:pt x="63" y="173"/>
                </a:lnTo>
                <a:lnTo>
                  <a:pt x="66" y="174"/>
                </a:lnTo>
                <a:lnTo>
                  <a:pt x="67" y="176"/>
                </a:lnTo>
                <a:lnTo>
                  <a:pt x="62" y="178"/>
                </a:lnTo>
                <a:lnTo>
                  <a:pt x="63" y="183"/>
                </a:lnTo>
                <a:lnTo>
                  <a:pt x="62" y="188"/>
                </a:lnTo>
                <a:lnTo>
                  <a:pt x="61" y="191"/>
                </a:lnTo>
                <a:lnTo>
                  <a:pt x="64" y="191"/>
                </a:lnTo>
                <a:lnTo>
                  <a:pt x="65" y="194"/>
                </a:lnTo>
                <a:lnTo>
                  <a:pt x="65" y="196"/>
                </a:lnTo>
                <a:lnTo>
                  <a:pt x="69" y="197"/>
                </a:lnTo>
                <a:lnTo>
                  <a:pt x="69" y="200"/>
                </a:lnTo>
                <a:lnTo>
                  <a:pt x="72" y="206"/>
                </a:lnTo>
                <a:lnTo>
                  <a:pt x="74" y="207"/>
                </a:lnTo>
                <a:lnTo>
                  <a:pt x="74" y="210"/>
                </a:lnTo>
                <a:lnTo>
                  <a:pt x="76" y="211"/>
                </a:lnTo>
                <a:lnTo>
                  <a:pt x="76" y="214"/>
                </a:lnTo>
                <a:lnTo>
                  <a:pt x="79" y="214"/>
                </a:lnTo>
                <a:lnTo>
                  <a:pt x="81" y="214"/>
                </a:lnTo>
                <a:lnTo>
                  <a:pt x="80" y="218"/>
                </a:lnTo>
                <a:lnTo>
                  <a:pt x="79" y="220"/>
                </a:lnTo>
                <a:lnTo>
                  <a:pt x="81" y="223"/>
                </a:lnTo>
                <a:lnTo>
                  <a:pt x="83" y="223"/>
                </a:lnTo>
                <a:lnTo>
                  <a:pt x="84" y="225"/>
                </a:lnTo>
                <a:lnTo>
                  <a:pt x="86" y="224"/>
                </a:lnTo>
                <a:lnTo>
                  <a:pt x="85" y="221"/>
                </a:lnTo>
                <a:lnTo>
                  <a:pt x="87" y="220"/>
                </a:lnTo>
                <a:lnTo>
                  <a:pt x="93" y="220"/>
                </a:lnTo>
                <a:lnTo>
                  <a:pt x="96" y="223"/>
                </a:lnTo>
                <a:lnTo>
                  <a:pt x="102" y="223"/>
                </a:lnTo>
                <a:lnTo>
                  <a:pt x="107" y="223"/>
                </a:lnTo>
                <a:lnTo>
                  <a:pt x="112" y="221"/>
                </a:lnTo>
                <a:lnTo>
                  <a:pt x="114" y="223"/>
                </a:lnTo>
                <a:lnTo>
                  <a:pt x="121" y="224"/>
                </a:lnTo>
                <a:lnTo>
                  <a:pt x="126" y="223"/>
                </a:lnTo>
                <a:lnTo>
                  <a:pt x="126" y="220"/>
                </a:lnTo>
                <a:lnTo>
                  <a:pt x="125" y="216"/>
                </a:lnTo>
                <a:lnTo>
                  <a:pt x="139" y="217"/>
                </a:lnTo>
                <a:lnTo>
                  <a:pt x="142" y="225"/>
                </a:lnTo>
                <a:lnTo>
                  <a:pt x="146" y="228"/>
                </a:lnTo>
                <a:lnTo>
                  <a:pt x="149" y="232"/>
                </a:lnTo>
                <a:lnTo>
                  <a:pt x="151" y="232"/>
                </a:lnTo>
                <a:lnTo>
                  <a:pt x="153" y="238"/>
                </a:lnTo>
                <a:lnTo>
                  <a:pt x="157" y="240"/>
                </a:lnTo>
                <a:lnTo>
                  <a:pt x="160" y="239"/>
                </a:lnTo>
                <a:lnTo>
                  <a:pt x="165" y="239"/>
                </a:lnTo>
                <a:lnTo>
                  <a:pt x="172" y="239"/>
                </a:lnTo>
                <a:lnTo>
                  <a:pt x="176" y="238"/>
                </a:lnTo>
                <a:lnTo>
                  <a:pt x="179" y="238"/>
                </a:lnTo>
                <a:lnTo>
                  <a:pt x="181" y="240"/>
                </a:lnTo>
                <a:lnTo>
                  <a:pt x="182" y="243"/>
                </a:lnTo>
                <a:lnTo>
                  <a:pt x="183" y="244"/>
                </a:lnTo>
                <a:lnTo>
                  <a:pt x="187" y="241"/>
                </a:lnTo>
                <a:lnTo>
                  <a:pt x="189" y="242"/>
                </a:lnTo>
                <a:lnTo>
                  <a:pt x="191" y="240"/>
                </a:lnTo>
                <a:lnTo>
                  <a:pt x="196" y="244"/>
                </a:lnTo>
                <a:lnTo>
                  <a:pt x="197" y="253"/>
                </a:lnTo>
                <a:lnTo>
                  <a:pt x="195" y="254"/>
                </a:lnTo>
                <a:lnTo>
                  <a:pt x="195" y="257"/>
                </a:lnTo>
                <a:lnTo>
                  <a:pt x="199" y="258"/>
                </a:lnTo>
                <a:lnTo>
                  <a:pt x="202" y="258"/>
                </a:lnTo>
                <a:lnTo>
                  <a:pt x="205" y="260"/>
                </a:lnTo>
                <a:lnTo>
                  <a:pt x="218" y="263"/>
                </a:lnTo>
                <a:lnTo>
                  <a:pt x="218" y="261"/>
                </a:lnTo>
                <a:lnTo>
                  <a:pt x="235" y="261"/>
                </a:lnTo>
                <a:lnTo>
                  <a:pt x="239" y="260"/>
                </a:lnTo>
                <a:lnTo>
                  <a:pt x="241" y="258"/>
                </a:lnTo>
                <a:lnTo>
                  <a:pt x="242" y="256"/>
                </a:lnTo>
                <a:lnTo>
                  <a:pt x="245" y="247"/>
                </a:lnTo>
                <a:lnTo>
                  <a:pt x="246" y="246"/>
                </a:lnTo>
                <a:lnTo>
                  <a:pt x="250" y="242"/>
                </a:lnTo>
                <a:lnTo>
                  <a:pt x="250" y="240"/>
                </a:lnTo>
                <a:lnTo>
                  <a:pt x="257" y="238"/>
                </a:lnTo>
                <a:lnTo>
                  <a:pt x="260" y="238"/>
                </a:lnTo>
                <a:lnTo>
                  <a:pt x="263" y="232"/>
                </a:lnTo>
                <a:lnTo>
                  <a:pt x="265" y="229"/>
                </a:lnTo>
                <a:lnTo>
                  <a:pt x="266" y="223"/>
                </a:lnTo>
                <a:lnTo>
                  <a:pt x="267" y="221"/>
                </a:lnTo>
                <a:lnTo>
                  <a:pt x="268" y="221"/>
                </a:lnTo>
                <a:lnTo>
                  <a:pt x="272" y="220"/>
                </a:lnTo>
                <a:lnTo>
                  <a:pt x="274" y="221"/>
                </a:lnTo>
                <a:lnTo>
                  <a:pt x="275" y="221"/>
                </a:lnTo>
                <a:lnTo>
                  <a:pt x="276" y="221"/>
                </a:lnTo>
                <a:lnTo>
                  <a:pt x="279" y="220"/>
                </a:lnTo>
                <a:lnTo>
                  <a:pt x="283" y="218"/>
                </a:lnTo>
                <a:lnTo>
                  <a:pt x="284" y="218"/>
                </a:lnTo>
                <a:lnTo>
                  <a:pt x="285" y="215"/>
                </a:lnTo>
                <a:lnTo>
                  <a:pt x="279" y="210"/>
                </a:lnTo>
                <a:lnTo>
                  <a:pt x="277" y="204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8" name="Freeform 39"/>
          <p:cNvSpPr>
            <a:spLocks noEditPoints="1"/>
          </p:cNvSpPr>
          <p:nvPr/>
        </p:nvSpPr>
        <p:spPr bwMode="auto">
          <a:xfrm>
            <a:off x="4367213" y="2755900"/>
            <a:ext cx="547687" cy="412750"/>
          </a:xfrm>
          <a:custGeom>
            <a:avLst/>
            <a:gdLst>
              <a:gd name="T0" fmla="*/ 2147483646 w 92"/>
              <a:gd name="T1" fmla="*/ 2147483646 h 82"/>
              <a:gd name="T2" fmla="*/ 2147483646 w 92"/>
              <a:gd name="T3" fmla="*/ 2147483646 h 82"/>
              <a:gd name="T4" fmla="*/ 2147483646 w 92"/>
              <a:gd name="T5" fmla="*/ 2147483646 h 82"/>
              <a:gd name="T6" fmla="*/ 2147483646 w 92"/>
              <a:gd name="T7" fmla="*/ 2147483646 h 82"/>
              <a:gd name="T8" fmla="*/ 2147483646 w 92"/>
              <a:gd name="T9" fmla="*/ 2147483646 h 82"/>
              <a:gd name="T10" fmla="*/ 2147483646 w 92"/>
              <a:gd name="T11" fmla="*/ 2147483646 h 82"/>
              <a:gd name="T12" fmla="*/ 2147483646 w 92"/>
              <a:gd name="T13" fmla="*/ 2147483646 h 82"/>
              <a:gd name="T14" fmla="*/ 2147483646 w 92"/>
              <a:gd name="T15" fmla="*/ 2147483646 h 82"/>
              <a:gd name="T16" fmla="*/ 2147483646 w 92"/>
              <a:gd name="T17" fmla="*/ 2147483646 h 82"/>
              <a:gd name="T18" fmla="*/ 2147483646 w 92"/>
              <a:gd name="T19" fmla="*/ 2147483646 h 82"/>
              <a:gd name="T20" fmla="*/ 2147483646 w 92"/>
              <a:gd name="T21" fmla="*/ 2147483646 h 82"/>
              <a:gd name="T22" fmla="*/ 2147483646 w 92"/>
              <a:gd name="T23" fmla="*/ 2147483646 h 82"/>
              <a:gd name="T24" fmla="*/ 2147483646 w 92"/>
              <a:gd name="T25" fmla="*/ 2147483646 h 82"/>
              <a:gd name="T26" fmla="*/ 2147483646 w 92"/>
              <a:gd name="T27" fmla="*/ 2147483646 h 82"/>
              <a:gd name="T28" fmla="*/ 2147483646 w 92"/>
              <a:gd name="T29" fmla="*/ 2147483646 h 82"/>
              <a:gd name="T30" fmla="*/ 2147483646 w 92"/>
              <a:gd name="T31" fmla="*/ 2147483646 h 82"/>
              <a:gd name="T32" fmla="*/ 2147483646 w 92"/>
              <a:gd name="T33" fmla="*/ 2147483646 h 82"/>
              <a:gd name="T34" fmla="*/ 2147483646 w 92"/>
              <a:gd name="T35" fmla="*/ 2147483646 h 82"/>
              <a:gd name="T36" fmla="*/ 2147483646 w 92"/>
              <a:gd name="T37" fmla="*/ 2147483646 h 82"/>
              <a:gd name="T38" fmla="*/ 2147483646 w 92"/>
              <a:gd name="T39" fmla="*/ 2147483646 h 82"/>
              <a:gd name="T40" fmla="*/ 2147483646 w 92"/>
              <a:gd name="T41" fmla="*/ 2147483646 h 82"/>
              <a:gd name="T42" fmla="*/ 2147483646 w 92"/>
              <a:gd name="T43" fmla="*/ 2147483646 h 82"/>
              <a:gd name="T44" fmla="*/ 2147483646 w 92"/>
              <a:gd name="T45" fmla="*/ 2147483646 h 82"/>
              <a:gd name="T46" fmla="*/ 2147483646 w 92"/>
              <a:gd name="T47" fmla="*/ 2147483646 h 82"/>
              <a:gd name="T48" fmla="*/ 2147483646 w 92"/>
              <a:gd name="T49" fmla="*/ 2147483646 h 82"/>
              <a:gd name="T50" fmla="*/ 2147483646 w 92"/>
              <a:gd name="T51" fmla="*/ 2147483646 h 82"/>
              <a:gd name="T52" fmla="*/ 2147483646 w 92"/>
              <a:gd name="T53" fmla="*/ 2147483646 h 82"/>
              <a:gd name="T54" fmla="*/ 2147483646 w 92"/>
              <a:gd name="T55" fmla="*/ 2147483646 h 82"/>
              <a:gd name="T56" fmla="*/ 2147483646 w 92"/>
              <a:gd name="T57" fmla="*/ 2147483646 h 82"/>
              <a:gd name="T58" fmla="*/ 2147483646 w 92"/>
              <a:gd name="T59" fmla="*/ 2147483646 h 82"/>
              <a:gd name="T60" fmla="*/ 2147483646 w 92"/>
              <a:gd name="T61" fmla="*/ 2147483646 h 82"/>
              <a:gd name="T62" fmla="*/ 2147483646 w 92"/>
              <a:gd name="T63" fmla="*/ 2147483646 h 82"/>
              <a:gd name="T64" fmla="*/ 2147483646 w 92"/>
              <a:gd name="T65" fmla="*/ 2147483646 h 82"/>
              <a:gd name="T66" fmla="*/ 2147483646 w 92"/>
              <a:gd name="T67" fmla="*/ 2147483646 h 82"/>
              <a:gd name="T68" fmla="*/ 2147483646 w 92"/>
              <a:gd name="T69" fmla="*/ 2147483646 h 82"/>
              <a:gd name="T70" fmla="*/ 2147483646 w 92"/>
              <a:gd name="T71" fmla="*/ 2147483646 h 82"/>
              <a:gd name="T72" fmla="*/ 2147483646 w 92"/>
              <a:gd name="T73" fmla="*/ 2147483646 h 82"/>
              <a:gd name="T74" fmla="*/ 2147483646 w 92"/>
              <a:gd name="T75" fmla="*/ 2147483646 h 82"/>
              <a:gd name="T76" fmla="*/ 2147483646 w 92"/>
              <a:gd name="T77" fmla="*/ 2147483646 h 82"/>
              <a:gd name="T78" fmla="*/ 2147483646 w 92"/>
              <a:gd name="T79" fmla="*/ 2147483646 h 82"/>
              <a:gd name="T80" fmla="*/ 2147483646 w 92"/>
              <a:gd name="T81" fmla="*/ 2147483646 h 82"/>
              <a:gd name="T82" fmla="*/ 2147483646 w 92"/>
              <a:gd name="T83" fmla="*/ 2147483646 h 82"/>
              <a:gd name="T84" fmla="*/ 0 w 92"/>
              <a:gd name="T85" fmla="*/ 2147483646 h 82"/>
              <a:gd name="T86" fmla="*/ 2147483646 w 92"/>
              <a:gd name="T87" fmla="*/ 2147483646 h 82"/>
              <a:gd name="T88" fmla="*/ 2147483646 w 92"/>
              <a:gd name="T89" fmla="*/ 2147483646 h 82"/>
              <a:gd name="T90" fmla="*/ 2147483646 w 92"/>
              <a:gd name="T91" fmla="*/ 2147483646 h 82"/>
              <a:gd name="T92" fmla="*/ 2147483646 w 92"/>
              <a:gd name="T93" fmla="*/ 2147483646 h 82"/>
              <a:gd name="T94" fmla="*/ 2147483646 w 92"/>
              <a:gd name="T95" fmla="*/ 2147483646 h 82"/>
              <a:gd name="T96" fmla="*/ 2147483646 w 92"/>
              <a:gd name="T97" fmla="*/ 0 h 82"/>
              <a:gd name="T98" fmla="*/ 2147483646 w 92"/>
              <a:gd name="T99" fmla="*/ 2147483646 h 82"/>
              <a:gd name="T100" fmla="*/ 2147483646 w 92"/>
              <a:gd name="T101" fmla="*/ 2147483646 h 82"/>
              <a:gd name="T102" fmla="*/ 2147483646 w 92"/>
              <a:gd name="T103" fmla="*/ 2147483646 h 82"/>
              <a:gd name="T104" fmla="*/ 2147483646 w 92"/>
              <a:gd name="T105" fmla="*/ 2147483646 h 82"/>
              <a:gd name="T106" fmla="*/ 2147483646 w 92"/>
              <a:gd name="T107" fmla="*/ 2147483646 h 82"/>
              <a:gd name="T108" fmla="*/ 2147483646 w 92"/>
              <a:gd name="T109" fmla="*/ 2147483646 h 82"/>
              <a:gd name="T110" fmla="*/ 2147483646 w 92"/>
              <a:gd name="T111" fmla="*/ 2147483646 h 8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92" h="82">
                <a:moveTo>
                  <a:pt x="44" y="13"/>
                </a:moveTo>
                <a:lnTo>
                  <a:pt x="48" y="15"/>
                </a:lnTo>
                <a:lnTo>
                  <a:pt x="50" y="19"/>
                </a:lnTo>
                <a:lnTo>
                  <a:pt x="52" y="21"/>
                </a:lnTo>
                <a:lnTo>
                  <a:pt x="60" y="21"/>
                </a:lnTo>
                <a:lnTo>
                  <a:pt x="63" y="22"/>
                </a:lnTo>
                <a:lnTo>
                  <a:pt x="68" y="25"/>
                </a:lnTo>
                <a:lnTo>
                  <a:pt x="71" y="28"/>
                </a:lnTo>
                <a:lnTo>
                  <a:pt x="74" y="30"/>
                </a:lnTo>
                <a:lnTo>
                  <a:pt x="77" y="33"/>
                </a:lnTo>
                <a:lnTo>
                  <a:pt x="79" y="37"/>
                </a:lnTo>
                <a:lnTo>
                  <a:pt x="81" y="40"/>
                </a:lnTo>
                <a:lnTo>
                  <a:pt x="83" y="43"/>
                </a:lnTo>
                <a:lnTo>
                  <a:pt x="83" y="45"/>
                </a:lnTo>
                <a:lnTo>
                  <a:pt x="83" y="49"/>
                </a:lnTo>
                <a:lnTo>
                  <a:pt x="83" y="52"/>
                </a:lnTo>
                <a:lnTo>
                  <a:pt x="82" y="53"/>
                </a:lnTo>
                <a:lnTo>
                  <a:pt x="81" y="55"/>
                </a:lnTo>
                <a:lnTo>
                  <a:pt x="80" y="56"/>
                </a:lnTo>
                <a:lnTo>
                  <a:pt x="79" y="60"/>
                </a:lnTo>
                <a:lnTo>
                  <a:pt x="81" y="61"/>
                </a:lnTo>
                <a:lnTo>
                  <a:pt x="84" y="61"/>
                </a:lnTo>
                <a:lnTo>
                  <a:pt x="85" y="62"/>
                </a:lnTo>
                <a:lnTo>
                  <a:pt x="89" y="63"/>
                </a:lnTo>
                <a:lnTo>
                  <a:pt x="92" y="64"/>
                </a:lnTo>
                <a:cubicBezTo>
                  <a:pt x="92" y="65"/>
                  <a:pt x="92" y="66"/>
                  <a:pt x="91" y="67"/>
                </a:cubicBezTo>
                <a:lnTo>
                  <a:pt x="90" y="65"/>
                </a:lnTo>
                <a:lnTo>
                  <a:pt x="87" y="65"/>
                </a:lnTo>
                <a:lnTo>
                  <a:pt x="86" y="64"/>
                </a:lnTo>
                <a:lnTo>
                  <a:pt x="87" y="65"/>
                </a:lnTo>
                <a:lnTo>
                  <a:pt x="86" y="67"/>
                </a:lnTo>
                <a:lnTo>
                  <a:pt x="83" y="71"/>
                </a:lnTo>
                <a:lnTo>
                  <a:pt x="57" y="79"/>
                </a:lnTo>
                <a:lnTo>
                  <a:pt x="56" y="80"/>
                </a:lnTo>
                <a:lnTo>
                  <a:pt x="53" y="81"/>
                </a:lnTo>
                <a:lnTo>
                  <a:pt x="16" y="82"/>
                </a:lnTo>
                <a:lnTo>
                  <a:pt x="15" y="82"/>
                </a:lnTo>
                <a:lnTo>
                  <a:pt x="13" y="82"/>
                </a:lnTo>
                <a:lnTo>
                  <a:pt x="13" y="81"/>
                </a:lnTo>
                <a:lnTo>
                  <a:pt x="5" y="68"/>
                </a:lnTo>
                <a:lnTo>
                  <a:pt x="2" y="66"/>
                </a:lnTo>
                <a:lnTo>
                  <a:pt x="2" y="64"/>
                </a:lnTo>
                <a:lnTo>
                  <a:pt x="0" y="64"/>
                </a:lnTo>
                <a:lnTo>
                  <a:pt x="1" y="58"/>
                </a:lnTo>
                <a:lnTo>
                  <a:pt x="1" y="27"/>
                </a:lnTo>
                <a:lnTo>
                  <a:pt x="1" y="24"/>
                </a:lnTo>
                <a:lnTo>
                  <a:pt x="16" y="3"/>
                </a:lnTo>
                <a:lnTo>
                  <a:pt x="27" y="1"/>
                </a:lnTo>
                <a:lnTo>
                  <a:pt x="27" y="0"/>
                </a:lnTo>
                <a:lnTo>
                  <a:pt x="32" y="1"/>
                </a:lnTo>
                <a:lnTo>
                  <a:pt x="41" y="9"/>
                </a:lnTo>
                <a:lnTo>
                  <a:pt x="42" y="14"/>
                </a:lnTo>
                <a:lnTo>
                  <a:pt x="44" y="13"/>
                </a:lnTo>
                <a:moveTo>
                  <a:pt x="91" y="68"/>
                </a:moveTo>
                <a:cubicBezTo>
                  <a:pt x="91" y="68"/>
                  <a:pt x="91" y="68"/>
                  <a:pt x="91" y="68"/>
                </a:cubicBezTo>
                <a:cubicBezTo>
                  <a:pt x="91" y="68"/>
                  <a:pt x="91" y="68"/>
                  <a:pt x="91" y="68"/>
                </a:cubicBez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89" name="Freeform 40"/>
          <p:cNvSpPr>
            <a:spLocks/>
          </p:cNvSpPr>
          <p:nvPr/>
        </p:nvSpPr>
        <p:spPr bwMode="auto">
          <a:xfrm>
            <a:off x="3748088" y="3117850"/>
            <a:ext cx="969962" cy="704850"/>
          </a:xfrm>
          <a:custGeom>
            <a:avLst/>
            <a:gdLst>
              <a:gd name="T0" fmla="*/ 2147483646 w 164"/>
              <a:gd name="T1" fmla="*/ 2147483646 h 140"/>
              <a:gd name="T2" fmla="*/ 2147483646 w 164"/>
              <a:gd name="T3" fmla="*/ 2147483646 h 140"/>
              <a:gd name="T4" fmla="*/ 2147483646 w 164"/>
              <a:gd name="T5" fmla="*/ 2147483646 h 140"/>
              <a:gd name="T6" fmla="*/ 2147483646 w 164"/>
              <a:gd name="T7" fmla="*/ 2147483646 h 140"/>
              <a:gd name="T8" fmla="*/ 2147483646 w 164"/>
              <a:gd name="T9" fmla="*/ 2147483646 h 140"/>
              <a:gd name="T10" fmla="*/ 2147483646 w 164"/>
              <a:gd name="T11" fmla="*/ 2147483646 h 140"/>
              <a:gd name="T12" fmla="*/ 2147483646 w 164"/>
              <a:gd name="T13" fmla="*/ 2147483646 h 140"/>
              <a:gd name="T14" fmla="*/ 2147483646 w 164"/>
              <a:gd name="T15" fmla="*/ 2147483646 h 140"/>
              <a:gd name="T16" fmla="*/ 2147483646 w 164"/>
              <a:gd name="T17" fmla="*/ 2147483646 h 140"/>
              <a:gd name="T18" fmla="*/ 2147483646 w 164"/>
              <a:gd name="T19" fmla="*/ 2147483646 h 140"/>
              <a:gd name="T20" fmla="*/ 2147483646 w 164"/>
              <a:gd name="T21" fmla="*/ 2147483646 h 140"/>
              <a:gd name="T22" fmla="*/ 2147483646 w 164"/>
              <a:gd name="T23" fmla="*/ 2147483646 h 140"/>
              <a:gd name="T24" fmla="*/ 2147483646 w 164"/>
              <a:gd name="T25" fmla="*/ 2147483646 h 140"/>
              <a:gd name="T26" fmla="*/ 2147483646 w 164"/>
              <a:gd name="T27" fmla="*/ 2147483646 h 140"/>
              <a:gd name="T28" fmla="*/ 2147483646 w 164"/>
              <a:gd name="T29" fmla="*/ 2147483646 h 140"/>
              <a:gd name="T30" fmla="*/ 2147483646 w 164"/>
              <a:gd name="T31" fmla="*/ 2147483646 h 140"/>
              <a:gd name="T32" fmla="*/ 2147483646 w 164"/>
              <a:gd name="T33" fmla="*/ 2147483646 h 140"/>
              <a:gd name="T34" fmla="*/ 2147483646 w 164"/>
              <a:gd name="T35" fmla="*/ 2147483646 h 140"/>
              <a:gd name="T36" fmla="*/ 2147483646 w 164"/>
              <a:gd name="T37" fmla="*/ 2147483646 h 140"/>
              <a:gd name="T38" fmla="*/ 2147483646 w 164"/>
              <a:gd name="T39" fmla="*/ 2147483646 h 140"/>
              <a:gd name="T40" fmla="*/ 2147483646 w 164"/>
              <a:gd name="T41" fmla="*/ 2147483646 h 140"/>
              <a:gd name="T42" fmla="*/ 2147483646 w 164"/>
              <a:gd name="T43" fmla="*/ 2147483646 h 140"/>
              <a:gd name="T44" fmla="*/ 2147483646 w 164"/>
              <a:gd name="T45" fmla="*/ 2147483646 h 140"/>
              <a:gd name="T46" fmla="*/ 2147483646 w 164"/>
              <a:gd name="T47" fmla="*/ 2147483646 h 140"/>
              <a:gd name="T48" fmla="*/ 2147483646 w 164"/>
              <a:gd name="T49" fmla="*/ 2147483646 h 140"/>
              <a:gd name="T50" fmla="*/ 2147483646 w 164"/>
              <a:gd name="T51" fmla="*/ 2147483646 h 140"/>
              <a:gd name="T52" fmla="*/ 2147483646 w 164"/>
              <a:gd name="T53" fmla="*/ 2147483646 h 140"/>
              <a:gd name="T54" fmla="*/ 2147483646 w 164"/>
              <a:gd name="T55" fmla="*/ 2147483646 h 140"/>
              <a:gd name="T56" fmla="*/ 2147483646 w 164"/>
              <a:gd name="T57" fmla="*/ 2147483646 h 140"/>
              <a:gd name="T58" fmla="*/ 2147483646 w 164"/>
              <a:gd name="T59" fmla="*/ 2147483646 h 140"/>
              <a:gd name="T60" fmla="*/ 2147483646 w 164"/>
              <a:gd name="T61" fmla="*/ 2147483646 h 140"/>
              <a:gd name="T62" fmla="*/ 2147483646 w 164"/>
              <a:gd name="T63" fmla="*/ 2147483646 h 140"/>
              <a:gd name="T64" fmla="*/ 2147483646 w 164"/>
              <a:gd name="T65" fmla="*/ 2147483646 h 140"/>
              <a:gd name="T66" fmla="*/ 2147483646 w 164"/>
              <a:gd name="T67" fmla="*/ 2147483646 h 140"/>
              <a:gd name="T68" fmla="*/ 2147483646 w 164"/>
              <a:gd name="T69" fmla="*/ 2147483646 h 140"/>
              <a:gd name="T70" fmla="*/ 2147483646 w 164"/>
              <a:gd name="T71" fmla="*/ 2147483646 h 140"/>
              <a:gd name="T72" fmla="*/ 0 w 164"/>
              <a:gd name="T73" fmla="*/ 2147483646 h 140"/>
              <a:gd name="T74" fmla="*/ 2147483646 w 164"/>
              <a:gd name="T75" fmla="*/ 2147483646 h 140"/>
              <a:gd name="T76" fmla="*/ 2147483646 w 164"/>
              <a:gd name="T77" fmla="*/ 2147483646 h 140"/>
              <a:gd name="T78" fmla="*/ 2147483646 w 164"/>
              <a:gd name="T79" fmla="*/ 2147483646 h 140"/>
              <a:gd name="T80" fmla="*/ 2147483646 w 164"/>
              <a:gd name="T81" fmla="*/ 2147483646 h 140"/>
              <a:gd name="T82" fmla="*/ 2147483646 w 164"/>
              <a:gd name="T83" fmla="*/ 2147483646 h 140"/>
              <a:gd name="T84" fmla="*/ 2147483646 w 164"/>
              <a:gd name="T85" fmla="*/ 2147483646 h 140"/>
              <a:gd name="T86" fmla="*/ 2147483646 w 164"/>
              <a:gd name="T87" fmla="*/ 2147483646 h 140"/>
              <a:gd name="T88" fmla="*/ 2147483646 w 164"/>
              <a:gd name="T89" fmla="*/ 2147483646 h 140"/>
              <a:gd name="T90" fmla="*/ 2147483646 w 164"/>
              <a:gd name="T91" fmla="*/ 2147483646 h 140"/>
              <a:gd name="T92" fmla="*/ 2147483646 w 164"/>
              <a:gd name="T93" fmla="*/ 2147483646 h 140"/>
              <a:gd name="T94" fmla="*/ 2147483646 w 164"/>
              <a:gd name="T95" fmla="*/ 2147483646 h 140"/>
              <a:gd name="T96" fmla="*/ 2147483646 w 164"/>
              <a:gd name="T97" fmla="*/ 2147483646 h 140"/>
              <a:gd name="T98" fmla="*/ 2147483646 w 164"/>
              <a:gd name="T99" fmla="*/ 2147483646 h 140"/>
              <a:gd name="T100" fmla="*/ 2147483646 w 164"/>
              <a:gd name="T101" fmla="*/ 2147483646 h 140"/>
              <a:gd name="T102" fmla="*/ 2147483646 w 164"/>
              <a:gd name="T103" fmla="*/ 2147483646 h 140"/>
              <a:gd name="T104" fmla="*/ 2147483646 w 164"/>
              <a:gd name="T105" fmla="*/ 2147483646 h 140"/>
              <a:gd name="T106" fmla="*/ 2147483646 w 164"/>
              <a:gd name="T107" fmla="*/ 2147483646 h 140"/>
              <a:gd name="T108" fmla="*/ 2147483646 w 164"/>
              <a:gd name="T109" fmla="*/ 2147483646 h 14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64" h="140">
                <a:moveTo>
                  <a:pt x="163" y="33"/>
                </a:moveTo>
                <a:lnTo>
                  <a:pt x="161" y="29"/>
                </a:lnTo>
                <a:lnTo>
                  <a:pt x="154" y="22"/>
                </a:lnTo>
                <a:lnTo>
                  <a:pt x="150" y="21"/>
                </a:lnTo>
                <a:lnTo>
                  <a:pt x="143" y="21"/>
                </a:lnTo>
                <a:lnTo>
                  <a:pt x="142" y="20"/>
                </a:lnTo>
                <a:lnTo>
                  <a:pt x="119" y="14"/>
                </a:lnTo>
                <a:lnTo>
                  <a:pt x="118" y="13"/>
                </a:lnTo>
                <a:lnTo>
                  <a:pt x="118" y="12"/>
                </a:lnTo>
                <a:lnTo>
                  <a:pt x="116" y="11"/>
                </a:lnTo>
                <a:lnTo>
                  <a:pt x="101" y="15"/>
                </a:lnTo>
                <a:lnTo>
                  <a:pt x="98" y="16"/>
                </a:lnTo>
                <a:lnTo>
                  <a:pt x="83" y="30"/>
                </a:lnTo>
                <a:lnTo>
                  <a:pt x="76" y="32"/>
                </a:lnTo>
                <a:lnTo>
                  <a:pt x="73" y="37"/>
                </a:lnTo>
                <a:lnTo>
                  <a:pt x="70" y="41"/>
                </a:lnTo>
                <a:lnTo>
                  <a:pt x="70" y="38"/>
                </a:lnTo>
                <a:lnTo>
                  <a:pt x="71" y="35"/>
                </a:lnTo>
                <a:lnTo>
                  <a:pt x="73" y="31"/>
                </a:lnTo>
                <a:lnTo>
                  <a:pt x="74" y="30"/>
                </a:lnTo>
                <a:lnTo>
                  <a:pt x="76" y="28"/>
                </a:lnTo>
                <a:lnTo>
                  <a:pt x="77" y="26"/>
                </a:lnTo>
                <a:lnTo>
                  <a:pt x="78" y="25"/>
                </a:lnTo>
                <a:lnTo>
                  <a:pt x="78" y="24"/>
                </a:lnTo>
                <a:lnTo>
                  <a:pt x="75" y="15"/>
                </a:lnTo>
                <a:lnTo>
                  <a:pt x="65" y="0"/>
                </a:lnTo>
                <a:lnTo>
                  <a:pt x="63" y="1"/>
                </a:lnTo>
                <a:lnTo>
                  <a:pt x="73" y="17"/>
                </a:lnTo>
                <a:lnTo>
                  <a:pt x="75" y="25"/>
                </a:lnTo>
                <a:lnTo>
                  <a:pt x="75" y="26"/>
                </a:lnTo>
                <a:lnTo>
                  <a:pt x="73" y="27"/>
                </a:lnTo>
                <a:lnTo>
                  <a:pt x="72" y="29"/>
                </a:lnTo>
                <a:lnTo>
                  <a:pt x="71" y="30"/>
                </a:lnTo>
                <a:lnTo>
                  <a:pt x="69" y="34"/>
                </a:lnTo>
                <a:lnTo>
                  <a:pt x="68" y="37"/>
                </a:lnTo>
                <a:lnTo>
                  <a:pt x="69" y="41"/>
                </a:lnTo>
                <a:lnTo>
                  <a:pt x="69" y="42"/>
                </a:lnTo>
                <a:lnTo>
                  <a:pt x="70" y="41"/>
                </a:lnTo>
                <a:lnTo>
                  <a:pt x="71" y="44"/>
                </a:lnTo>
                <a:lnTo>
                  <a:pt x="71" y="45"/>
                </a:lnTo>
                <a:lnTo>
                  <a:pt x="67" y="49"/>
                </a:lnTo>
                <a:lnTo>
                  <a:pt x="61" y="54"/>
                </a:lnTo>
                <a:lnTo>
                  <a:pt x="60" y="53"/>
                </a:lnTo>
                <a:lnTo>
                  <a:pt x="61" y="53"/>
                </a:lnTo>
                <a:lnTo>
                  <a:pt x="60" y="52"/>
                </a:lnTo>
                <a:lnTo>
                  <a:pt x="55" y="57"/>
                </a:lnTo>
                <a:lnTo>
                  <a:pt x="31" y="74"/>
                </a:lnTo>
                <a:lnTo>
                  <a:pt x="25" y="77"/>
                </a:lnTo>
                <a:lnTo>
                  <a:pt x="24" y="78"/>
                </a:lnTo>
                <a:lnTo>
                  <a:pt x="25" y="78"/>
                </a:lnTo>
                <a:lnTo>
                  <a:pt x="24" y="80"/>
                </a:lnTo>
                <a:lnTo>
                  <a:pt x="22" y="80"/>
                </a:lnTo>
                <a:lnTo>
                  <a:pt x="24" y="78"/>
                </a:lnTo>
                <a:lnTo>
                  <a:pt x="21" y="80"/>
                </a:lnTo>
                <a:lnTo>
                  <a:pt x="9" y="87"/>
                </a:lnTo>
                <a:lnTo>
                  <a:pt x="8" y="89"/>
                </a:lnTo>
                <a:lnTo>
                  <a:pt x="1" y="93"/>
                </a:lnTo>
                <a:lnTo>
                  <a:pt x="0" y="95"/>
                </a:lnTo>
                <a:lnTo>
                  <a:pt x="3" y="99"/>
                </a:lnTo>
                <a:lnTo>
                  <a:pt x="3" y="109"/>
                </a:lnTo>
                <a:lnTo>
                  <a:pt x="6" y="111"/>
                </a:lnTo>
                <a:lnTo>
                  <a:pt x="5" y="112"/>
                </a:lnTo>
                <a:lnTo>
                  <a:pt x="6" y="113"/>
                </a:lnTo>
                <a:lnTo>
                  <a:pt x="16" y="110"/>
                </a:lnTo>
                <a:lnTo>
                  <a:pt x="21" y="111"/>
                </a:lnTo>
                <a:lnTo>
                  <a:pt x="29" y="113"/>
                </a:lnTo>
                <a:lnTo>
                  <a:pt x="35" y="116"/>
                </a:lnTo>
                <a:lnTo>
                  <a:pt x="43" y="122"/>
                </a:lnTo>
                <a:lnTo>
                  <a:pt x="58" y="135"/>
                </a:lnTo>
                <a:lnTo>
                  <a:pt x="63" y="139"/>
                </a:lnTo>
                <a:lnTo>
                  <a:pt x="66" y="140"/>
                </a:lnTo>
                <a:lnTo>
                  <a:pt x="77" y="137"/>
                </a:lnTo>
                <a:lnTo>
                  <a:pt x="91" y="132"/>
                </a:lnTo>
                <a:lnTo>
                  <a:pt x="97" y="117"/>
                </a:lnTo>
                <a:lnTo>
                  <a:pt x="95" y="107"/>
                </a:lnTo>
                <a:lnTo>
                  <a:pt x="95" y="104"/>
                </a:lnTo>
                <a:lnTo>
                  <a:pt x="99" y="99"/>
                </a:lnTo>
                <a:lnTo>
                  <a:pt x="104" y="100"/>
                </a:lnTo>
                <a:lnTo>
                  <a:pt x="109" y="99"/>
                </a:lnTo>
                <a:lnTo>
                  <a:pt x="111" y="100"/>
                </a:lnTo>
                <a:lnTo>
                  <a:pt x="110" y="98"/>
                </a:lnTo>
                <a:lnTo>
                  <a:pt x="111" y="97"/>
                </a:lnTo>
                <a:lnTo>
                  <a:pt x="114" y="93"/>
                </a:lnTo>
                <a:lnTo>
                  <a:pt x="122" y="87"/>
                </a:lnTo>
                <a:lnTo>
                  <a:pt x="135" y="81"/>
                </a:lnTo>
                <a:lnTo>
                  <a:pt x="140" y="81"/>
                </a:lnTo>
                <a:lnTo>
                  <a:pt x="147" y="76"/>
                </a:lnTo>
                <a:lnTo>
                  <a:pt x="151" y="72"/>
                </a:lnTo>
                <a:lnTo>
                  <a:pt x="161" y="56"/>
                </a:lnTo>
                <a:lnTo>
                  <a:pt x="163" y="52"/>
                </a:lnTo>
                <a:lnTo>
                  <a:pt x="164" y="48"/>
                </a:lnTo>
                <a:lnTo>
                  <a:pt x="164" y="45"/>
                </a:lnTo>
                <a:lnTo>
                  <a:pt x="164" y="37"/>
                </a:lnTo>
                <a:lnTo>
                  <a:pt x="163" y="33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rgbClr val="6E143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90" name="Freeform 41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219325" y="5000625"/>
            <a:ext cx="374650" cy="207963"/>
          </a:xfrm>
          <a:custGeom>
            <a:avLst/>
            <a:gdLst>
              <a:gd name="T0" fmla="*/ 2147483646 w 63"/>
              <a:gd name="T1" fmla="*/ 2147483646 h 41"/>
              <a:gd name="T2" fmla="*/ 2147483646 w 63"/>
              <a:gd name="T3" fmla="*/ 2147483646 h 41"/>
              <a:gd name="T4" fmla="*/ 2147483646 w 63"/>
              <a:gd name="T5" fmla="*/ 2147483646 h 41"/>
              <a:gd name="T6" fmla="*/ 2147483646 w 63"/>
              <a:gd name="T7" fmla="*/ 2147483646 h 41"/>
              <a:gd name="T8" fmla="*/ 2147483646 w 63"/>
              <a:gd name="T9" fmla="*/ 2147483646 h 41"/>
              <a:gd name="T10" fmla="*/ 2147483646 w 63"/>
              <a:gd name="T11" fmla="*/ 2147483646 h 41"/>
              <a:gd name="T12" fmla="*/ 2147483646 w 63"/>
              <a:gd name="T13" fmla="*/ 2147483646 h 41"/>
              <a:gd name="T14" fmla="*/ 2147483646 w 63"/>
              <a:gd name="T15" fmla="*/ 2147483646 h 41"/>
              <a:gd name="T16" fmla="*/ 2147483646 w 63"/>
              <a:gd name="T17" fmla="*/ 2147483646 h 41"/>
              <a:gd name="T18" fmla="*/ 2147483646 w 63"/>
              <a:gd name="T19" fmla="*/ 0 h 41"/>
              <a:gd name="T20" fmla="*/ 2147483646 w 63"/>
              <a:gd name="T21" fmla="*/ 0 h 41"/>
              <a:gd name="T22" fmla="*/ 2147483646 w 63"/>
              <a:gd name="T23" fmla="*/ 2147483646 h 41"/>
              <a:gd name="T24" fmla="*/ 2147483646 w 63"/>
              <a:gd name="T25" fmla="*/ 2147483646 h 41"/>
              <a:gd name="T26" fmla="*/ 2147483646 w 63"/>
              <a:gd name="T27" fmla="*/ 2147483646 h 41"/>
              <a:gd name="T28" fmla="*/ 2147483646 w 63"/>
              <a:gd name="T29" fmla="*/ 2147483646 h 41"/>
              <a:gd name="T30" fmla="*/ 2147483646 w 63"/>
              <a:gd name="T31" fmla="*/ 2147483646 h 41"/>
              <a:gd name="T32" fmla="*/ 0 w 63"/>
              <a:gd name="T33" fmla="*/ 2147483646 h 41"/>
              <a:gd name="T34" fmla="*/ 0 w 63"/>
              <a:gd name="T35" fmla="*/ 2147483646 h 41"/>
              <a:gd name="T36" fmla="*/ 0 w 63"/>
              <a:gd name="T37" fmla="*/ 2147483646 h 41"/>
              <a:gd name="T38" fmla="*/ 2147483646 w 63"/>
              <a:gd name="T39" fmla="*/ 2147483646 h 41"/>
              <a:gd name="T40" fmla="*/ 2147483646 w 63"/>
              <a:gd name="T41" fmla="*/ 2147483646 h 41"/>
              <a:gd name="T42" fmla="*/ 2147483646 w 63"/>
              <a:gd name="T43" fmla="*/ 2147483646 h 41"/>
              <a:gd name="T44" fmla="*/ 2147483646 w 63"/>
              <a:gd name="T45" fmla="*/ 2147483646 h 41"/>
              <a:gd name="T46" fmla="*/ 2147483646 w 63"/>
              <a:gd name="T47" fmla="*/ 2147483646 h 41"/>
              <a:gd name="T48" fmla="*/ 2147483646 w 63"/>
              <a:gd name="T49" fmla="*/ 2147483646 h 41"/>
              <a:gd name="T50" fmla="*/ 2147483646 w 63"/>
              <a:gd name="T51" fmla="*/ 2147483646 h 41"/>
              <a:gd name="T52" fmla="*/ 2147483646 w 63"/>
              <a:gd name="T53" fmla="*/ 2147483646 h 41"/>
              <a:gd name="T54" fmla="*/ 2147483646 w 63"/>
              <a:gd name="T55" fmla="*/ 2147483646 h 41"/>
              <a:gd name="T56" fmla="*/ 2147483646 w 63"/>
              <a:gd name="T57" fmla="*/ 2147483646 h 41"/>
              <a:gd name="T58" fmla="*/ 2147483646 w 63"/>
              <a:gd name="T59" fmla="*/ 2147483646 h 41"/>
              <a:gd name="T60" fmla="*/ 2147483646 w 63"/>
              <a:gd name="T61" fmla="*/ 2147483646 h 41"/>
              <a:gd name="T62" fmla="*/ 2147483646 w 63"/>
              <a:gd name="T63" fmla="*/ 2147483646 h 41"/>
              <a:gd name="T64" fmla="*/ 2147483646 w 63"/>
              <a:gd name="T65" fmla="*/ 2147483646 h 41"/>
              <a:gd name="T66" fmla="*/ 2147483646 w 63"/>
              <a:gd name="T67" fmla="*/ 2147483646 h 41"/>
              <a:gd name="T68" fmla="*/ 2147483646 w 63"/>
              <a:gd name="T69" fmla="*/ 2147483646 h 41"/>
              <a:gd name="T70" fmla="*/ 2147483646 w 63"/>
              <a:gd name="T71" fmla="*/ 2147483646 h 41"/>
              <a:gd name="T72" fmla="*/ 2147483646 w 63"/>
              <a:gd name="T73" fmla="*/ 2147483646 h 41"/>
              <a:gd name="T74" fmla="*/ 2147483646 w 63"/>
              <a:gd name="T75" fmla="*/ 2147483646 h 41"/>
              <a:gd name="T76" fmla="*/ 2147483646 w 63"/>
              <a:gd name="T77" fmla="*/ 2147483646 h 41"/>
              <a:gd name="T78" fmla="*/ 2147483646 w 63"/>
              <a:gd name="T79" fmla="*/ 2147483646 h 41"/>
              <a:gd name="T80" fmla="*/ 2147483646 w 63"/>
              <a:gd name="T81" fmla="*/ 2147483646 h 41"/>
              <a:gd name="T82" fmla="*/ 2147483646 w 63"/>
              <a:gd name="T83" fmla="*/ 2147483646 h 41"/>
              <a:gd name="T84" fmla="*/ 2147483646 w 63"/>
              <a:gd name="T85" fmla="*/ 2147483646 h 41"/>
              <a:gd name="T86" fmla="*/ 2147483646 w 63"/>
              <a:gd name="T87" fmla="*/ 2147483646 h 41"/>
              <a:gd name="T88" fmla="*/ 2147483646 w 63"/>
              <a:gd name="T89" fmla="*/ 2147483646 h 41"/>
              <a:gd name="T90" fmla="*/ 2147483646 w 63"/>
              <a:gd name="T91" fmla="*/ 2147483646 h 41"/>
              <a:gd name="T92" fmla="*/ 2147483646 w 63"/>
              <a:gd name="T93" fmla="*/ 2147483646 h 4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63" h="41">
                <a:moveTo>
                  <a:pt x="53" y="13"/>
                </a:moveTo>
                <a:lnTo>
                  <a:pt x="49" y="7"/>
                </a:lnTo>
                <a:lnTo>
                  <a:pt x="46" y="3"/>
                </a:lnTo>
                <a:lnTo>
                  <a:pt x="46" y="5"/>
                </a:lnTo>
                <a:lnTo>
                  <a:pt x="44" y="5"/>
                </a:lnTo>
                <a:lnTo>
                  <a:pt x="42" y="3"/>
                </a:lnTo>
                <a:lnTo>
                  <a:pt x="33" y="4"/>
                </a:lnTo>
                <a:lnTo>
                  <a:pt x="29" y="4"/>
                </a:lnTo>
                <a:lnTo>
                  <a:pt x="26" y="1"/>
                </a:lnTo>
                <a:lnTo>
                  <a:pt x="20" y="0"/>
                </a:lnTo>
                <a:lnTo>
                  <a:pt x="17" y="0"/>
                </a:lnTo>
                <a:lnTo>
                  <a:pt x="14" y="3"/>
                </a:lnTo>
                <a:lnTo>
                  <a:pt x="11" y="4"/>
                </a:lnTo>
                <a:lnTo>
                  <a:pt x="9" y="5"/>
                </a:lnTo>
                <a:lnTo>
                  <a:pt x="8" y="6"/>
                </a:lnTo>
                <a:lnTo>
                  <a:pt x="7" y="5"/>
                </a:lnTo>
                <a:lnTo>
                  <a:pt x="0" y="7"/>
                </a:lnTo>
                <a:lnTo>
                  <a:pt x="0" y="8"/>
                </a:lnTo>
                <a:lnTo>
                  <a:pt x="0" y="12"/>
                </a:lnTo>
                <a:lnTo>
                  <a:pt x="1" y="14"/>
                </a:lnTo>
                <a:lnTo>
                  <a:pt x="4" y="13"/>
                </a:lnTo>
                <a:lnTo>
                  <a:pt x="6" y="16"/>
                </a:lnTo>
                <a:lnTo>
                  <a:pt x="9" y="18"/>
                </a:lnTo>
                <a:lnTo>
                  <a:pt x="9" y="19"/>
                </a:lnTo>
                <a:lnTo>
                  <a:pt x="9" y="21"/>
                </a:lnTo>
                <a:lnTo>
                  <a:pt x="14" y="23"/>
                </a:lnTo>
                <a:lnTo>
                  <a:pt x="17" y="25"/>
                </a:lnTo>
                <a:lnTo>
                  <a:pt x="16" y="28"/>
                </a:lnTo>
                <a:lnTo>
                  <a:pt x="19" y="31"/>
                </a:lnTo>
                <a:lnTo>
                  <a:pt x="30" y="33"/>
                </a:lnTo>
                <a:lnTo>
                  <a:pt x="33" y="32"/>
                </a:lnTo>
                <a:lnTo>
                  <a:pt x="35" y="33"/>
                </a:lnTo>
                <a:lnTo>
                  <a:pt x="37" y="33"/>
                </a:lnTo>
                <a:lnTo>
                  <a:pt x="40" y="33"/>
                </a:lnTo>
                <a:lnTo>
                  <a:pt x="44" y="37"/>
                </a:lnTo>
                <a:lnTo>
                  <a:pt x="46" y="37"/>
                </a:lnTo>
                <a:lnTo>
                  <a:pt x="50" y="39"/>
                </a:lnTo>
                <a:lnTo>
                  <a:pt x="51" y="38"/>
                </a:lnTo>
                <a:lnTo>
                  <a:pt x="52" y="37"/>
                </a:lnTo>
                <a:lnTo>
                  <a:pt x="56" y="37"/>
                </a:lnTo>
                <a:lnTo>
                  <a:pt x="57" y="38"/>
                </a:lnTo>
                <a:lnTo>
                  <a:pt x="58" y="39"/>
                </a:lnTo>
                <a:lnTo>
                  <a:pt x="59" y="40"/>
                </a:lnTo>
                <a:lnTo>
                  <a:pt x="63" y="41"/>
                </a:lnTo>
                <a:lnTo>
                  <a:pt x="57" y="26"/>
                </a:lnTo>
                <a:lnTo>
                  <a:pt x="53" y="13"/>
                </a:lnTo>
              </a:path>
            </a:pathLst>
          </a:custGeom>
          <a:solidFill>
            <a:schemeClr val="accent2"/>
          </a:solidFill>
          <a:ln w="317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endParaRPr lang="en-GB"/>
          </a:p>
        </p:txBody>
      </p:sp>
      <p:sp>
        <p:nvSpPr>
          <p:cNvPr id="27691" name="Text Box 42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286000" y="3529013"/>
            <a:ext cx="1141413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Amsterdam/AEB</a:t>
            </a:r>
          </a:p>
        </p:txBody>
      </p:sp>
      <p:sp>
        <p:nvSpPr>
          <p:cNvPr id="27692" name="Text Box 4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718050" y="2746375"/>
            <a:ext cx="1120775" cy="173038"/>
          </a:xfrm>
          <a:prstGeom prst="rect">
            <a:avLst/>
          </a:prstGeom>
          <a:solidFill>
            <a:srgbClr val="00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 Wijster/Attero </a:t>
            </a:r>
          </a:p>
        </p:txBody>
      </p:sp>
      <p:sp>
        <p:nvSpPr>
          <p:cNvPr id="27693" name="Text Box 4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852738" y="4900613"/>
            <a:ext cx="1233487" cy="173037"/>
          </a:xfrm>
          <a:prstGeom prst="rect">
            <a:avLst/>
          </a:prstGeom>
          <a:solidFill>
            <a:srgbClr val="0033C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>
                <a:solidFill>
                  <a:schemeClr val="bg1"/>
                </a:solidFill>
              </a:rPr>
              <a:t> Moerdijk/Attero </a:t>
            </a:r>
          </a:p>
        </p:txBody>
      </p:sp>
      <p:sp>
        <p:nvSpPr>
          <p:cNvPr id="27694" name="Text Box 4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263775" y="3127375"/>
            <a:ext cx="936625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Alkmaar/HVC</a:t>
            </a:r>
          </a:p>
        </p:txBody>
      </p:sp>
      <p:sp>
        <p:nvSpPr>
          <p:cNvPr id="27695" name="Text Box 46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4953000" y="4575175"/>
            <a:ext cx="788988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Weurt/ARN</a:t>
            </a:r>
          </a:p>
        </p:txBody>
      </p:sp>
      <p:sp>
        <p:nvSpPr>
          <p:cNvPr id="27696" name="Text Box 4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57800" y="4214813"/>
            <a:ext cx="836613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Duiven/vGG</a:t>
            </a:r>
          </a:p>
        </p:txBody>
      </p:sp>
      <p:sp>
        <p:nvSpPr>
          <p:cNvPr id="27697" name="Text Box 48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066800" y="4291013"/>
            <a:ext cx="1096963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Rotterdam/vGG</a:t>
            </a:r>
          </a:p>
        </p:txBody>
      </p:sp>
      <p:sp>
        <p:nvSpPr>
          <p:cNvPr id="27698" name="Text Box 49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48000" y="4498975"/>
            <a:ext cx="1071563" cy="173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Dordrecht/HVC</a:t>
            </a:r>
          </a:p>
        </p:txBody>
      </p:sp>
      <p:sp>
        <p:nvSpPr>
          <p:cNvPr id="27699" name="Text Box 5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895600" y="2005013"/>
            <a:ext cx="1185863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Harlingen/Omrin</a:t>
            </a:r>
          </a:p>
        </p:txBody>
      </p:sp>
      <p:sp>
        <p:nvSpPr>
          <p:cNvPr id="27700" name="Text Box 5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251575" y="1624013"/>
            <a:ext cx="835025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Delfzijl/Eon</a:t>
            </a:r>
          </a:p>
        </p:txBody>
      </p:sp>
      <p:sp>
        <p:nvSpPr>
          <p:cNvPr id="27701" name="Text Box 52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295400" y="5053013"/>
            <a:ext cx="1127125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Roosendaal/Sita</a:t>
            </a:r>
          </a:p>
        </p:txBody>
      </p:sp>
      <p:sp>
        <p:nvSpPr>
          <p:cNvPr id="27702" name="Text Box 53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6019800" y="3833813"/>
            <a:ext cx="1190625" cy="17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6350" algn="ctr">
                <a:solidFill>
                  <a:schemeClr val="bg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495300" indent="-227013" defTabSz="728663">
              <a:spcBef>
                <a:spcPct val="20000"/>
              </a:spcBef>
              <a:buChar char="•"/>
              <a:tabLst>
                <a:tab pos="4286250" algn="l"/>
              </a:tabLst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757238" indent="-260350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004888" indent="-246063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3128963" indent="15875" defTabSz="728663">
              <a:spcBef>
                <a:spcPct val="20000"/>
              </a:spcBef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35861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40433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45005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4957763" indent="15875" defTabSz="728663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tabLst>
                <a:tab pos="4286250" algn="l"/>
              </a:tabLst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algn="ctr" eaLnBrk="1" hangingPunct="1">
              <a:lnSpc>
                <a:spcPct val="95000"/>
              </a:lnSpc>
              <a:spcBef>
                <a:spcPct val="0"/>
              </a:spcBef>
              <a:buClr>
                <a:schemeClr val="bg1"/>
              </a:buClr>
              <a:buFontTx/>
              <a:buNone/>
            </a:pPr>
            <a:r>
              <a:rPr lang="nl-NL" altLang="nl-NL" sz="1200" b="1"/>
              <a:t>Hengelo/Twence</a:t>
            </a:r>
          </a:p>
        </p:txBody>
      </p:sp>
      <p:sp>
        <p:nvSpPr>
          <p:cNvPr id="27703" name="AutoShape 54"/>
          <p:cNvSpPr>
            <a:spLocks noChangeArrowheads="1"/>
          </p:cNvSpPr>
          <p:nvPr/>
        </p:nvSpPr>
        <p:spPr bwMode="auto">
          <a:xfrm>
            <a:off x="2743200" y="42910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4" name="AutoShape 55"/>
          <p:cNvSpPr>
            <a:spLocks noChangeArrowheads="1"/>
          </p:cNvSpPr>
          <p:nvPr/>
        </p:nvSpPr>
        <p:spPr bwMode="auto">
          <a:xfrm>
            <a:off x="5638800" y="35290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5" name="AutoShape 56"/>
          <p:cNvSpPr>
            <a:spLocks noChangeArrowheads="1"/>
          </p:cNvSpPr>
          <p:nvPr/>
        </p:nvSpPr>
        <p:spPr bwMode="auto">
          <a:xfrm>
            <a:off x="5486400" y="2309813"/>
            <a:ext cx="304800" cy="457200"/>
          </a:xfrm>
          <a:prstGeom prst="lightningBolt">
            <a:avLst/>
          </a:prstGeom>
          <a:solidFill>
            <a:srgbClr val="0033CC"/>
          </a:solidFill>
          <a:ln w="9525">
            <a:solidFill>
              <a:srgbClr val="33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6" name="AutoShape 57"/>
          <p:cNvSpPr>
            <a:spLocks noChangeArrowheads="1"/>
          </p:cNvSpPr>
          <p:nvPr/>
        </p:nvSpPr>
        <p:spPr bwMode="auto">
          <a:xfrm>
            <a:off x="3962400" y="17002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7" name="AutoShape 58"/>
          <p:cNvSpPr>
            <a:spLocks noChangeArrowheads="1"/>
          </p:cNvSpPr>
          <p:nvPr/>
        </p:nvSpPr>
        <p:spPr bwMode="auto">
          <a:xfrm>
            <a:off x="2971800" y="27670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8" name="AutoShape 59"/>
          <p:cNvSpPr>
            <a:spLocks noChangeArrowheads="1"/>
          </p:cNvSpPr>
          <p:nvPr/>
        </p:nvSpPr>
        <p:spPr bwMode="auto">
          <a:xfrm>
            <a:off x="3276600" y="32242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09" name="AutoShape 60"/>
          <p:cNvSpPr>
            <a:spLocks noChangeArrowheads="1"/>
          </p:cNvSpPr>
          <p:nvPr/>
        </p:nvSpPr>
        <p:spPr bwMode="auto">
          <a:xfrm>
            <a:off x="2209800" y="41386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10" name="AutoShape 61"/>
          <p:cNvSpPr>
            <a:spLocks noChangeArrowheads="1"/>
          </p:cNvSpPr>
          <p:nvPr/>
        </p:nvSpPr>
        <p:spPr bwMode="auto">
          <a:xfrm>
            <a:off x="6019800" y="15478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11" name="AutoShape 62"/>
          <p:cNvSpPr>
            <a:spLocks noChangeArrowheads="1"/>
          </p:cNvSpPr>
          <p:nvPr/>
        </p:nvSpPr>
        <p:spPr bwMode="auto">
          <a:xfrm>
            <a:off x="2590800" y="4443413"/>
            <a:ext cx="304800" cy="457200"/>
          </a:xfrm>
          <a:prstGeom prst="lightningBolt">
            <a:avLst/>
          </a:prstGeom>
          <a:solidFill>
            <a:srgbClr val="0033CC"/>
          </a:solidFill>
          <a:ln w="9525">
            <a:solidFill>
              <a:srgbClr val="3399FF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12" name="AutoShape 63"/>
          <p:cNvSpPr>
            <a:spLocks noChangeArrowheads="1"/>
          </p:cNvSpPr>
          <p:nvPr/>
        </p:nvSpPr>
        <p:spPr bwMode="auto">
          <a:xfrm>
            <a:off x="4648200" y="40624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13" name="AutoShape 64"/>
          <p:cNvSpPr>
            <a:spLocks noChangeArrowheads="1"/>
          </p:cNvSpPr>
          <p:nvPr/>
        </p:nvSpPr>
        <p:spPr bwMode="auto">
          <a:xfrm>
            <a:off x="4953000" y="39100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sp>
        <p:nvSpPr>
          <p:cNvPr id="27714" name="AutoShape 65"/>
          <p:cNvSpPr>
            <a:spLocks noChangeArrowheads="1"/>
          </p:cNvSpPr>
          <p:nvPr/>
        </p:nvSpPr>
        <p:spPr bwMode="auto">
          <a:xfrm>
            <a:off x="2286000" y="4748213"/>
            <a:ext cx="304800" cy="457200"/>
          </a:xfrm>
          <a:prstGeom prst="lightningBol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1pPr>
            <a:lvl2pPr marL="742950" indent="-28575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3pPr>
            <a:lvl4pPr marL="16002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4pPr>
            <a:lvl5pPr marL="2057400" indent="-228600">
              <a:spcBef>
                <a:spcPct val="20000"/>
              </a:spcBef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nl-NL" altLang="nl-NL" sz="1400"/>
          </a:p>
        </p:txBody>
      </p:sp>
      <p:cxnSp>
        <p:nvCxnSpPr>
          <p:cNvPr id="27715" name="AutoShape 66"/>
          <p:cNvCxnSpPr>
            <a:cxnSpLocks noChangeShapeType="1"/>
            <a:stCxn id="27692" idx="3"/>
            <a:endCxn id="27652" idx="1"/>
          </p:cNvCxnSpPr>
          <p:nvPr/>
        </p:nvCxnSpPr>
        <p:spPr bwMode="auto">
          <a:xfrm flipV="1">
            <a:off x="5838825" y="2517775"/>
            <a:ext cx="777875" cy="315913"/>
          </a:xfrm>
          <a:prstGeom prst="bentConnector3">
            <a:avLst>
              <a:gd name="adj1" fmla="val 50815"/>
            </a:avLst>
          </a:prstGeom>
          <a:noFill/>
          <a:ln w="31750">
            <a:solidFill>
              <a:srgbClr val="0033CC"/>
            </a:solidFill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27716" name="Picture 67" descr="Moerdijk-20100918 0019-kl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77" t="6036" r="6229" b="40457"/>
          <a:stretch>
            <a:fillRect/>
          </a:stretch>
        </p:blipFill>
        <p:spPr bwMode="auto">
          <a:xfrm>
            <a:off x="228600" y="2159000"/>
            <a:ext cx="1905000" cy="1371600"/>
          </a:xfrm>
          <a:prstGeom prst="rect">
            <a:avLst/>
          </a:prstGeom>
          <a:noFill/>
          <a:ln w="25400">
            <a:solidFill>
              <a:srgbClr val="6E143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717" name="AutoShape 68"/>
          <p:cNvCxnSpPr>
            <a:cxnSpLocks noChangeShapeType="1"/>
            <a:stCxn id="27711" idx="0"/>
            <a:endCxn id="27716" idx="2"/>
          </p:cNvCxnSpPr>
          <p:nvPr/>
        </p:nvCxnSpPr>
        <p:spPr bwMode="auto">
          <a:xfrm rot="5400000" flipH="1">
            <a:off x="1495425" y="3228975"/>
            <a:ext cx="900113" cy="1528763"/>
          </a:xfrm>
          <a:prstGeom prst="bentConnector3">
            <a:avLst>
              <a:gd name="adj1" fmla="val 50616"/>
            </a:avLst>
          </a:prstGeom>
          <a:noFill/>
          <a:ln w="31750">
            <a:solidFill>
              <a:srgbClr val="0033CC"/>
            </a:solidFill>
            <a:miter lim="800000"/>
            <a:headEnd type="oval" w="med" len="med"/>
            <a:tailEnd type="oval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Rechthoek 1"/>
          <p:cNvSpPr/>
          <p:nvPr/>
        </p:nvSpPr>
        <p:spPr>
          <a:xfrm>
            <a:off x="2209800" y="5578476"/>
            <a:ext cx="5791200" cy="1208087"/>
          </a:xfrm>
          <a:prstGeom prst="rect">
            <a:avLst/>
          </a:prstGeom>
          <a:ln>
            <a:solidFill>
              <a:srgbClr val="6E143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hangingPunct="1">
              <a:defRPr/>
            </a:pPr>
            <a:r>
              <a:rPr lang="en-US" b="1" dirty="0" err="1"/>
              <a:t>Totale</a:t>
            </a:r>
            <a:r>
              <a:rPr lang="en-US" b="1" dirty="0"/>
              <a:t> </a:t>
            </a:r>
            <a:r>
              <a:rPr lang="en-US" b="1" dirty="0" err="1"/>
              <a:t>verbrandingscapaciteit</a:t>
            </a:r>
            <a:r>
              <a:rPr lang="en-US" b="1" dirty="0"/>
              <a:t> in Nederland:</a:t>
            </a:r>
            <a:r>
              <a:rPr lang="en-US" dirty="0"/>
              <a:t>	     </a:t>
            </a:r>
            <a:r>
              <a:rPr lang="en-US" b="1" dirty="0"/>
              <a:t>7,5 </a:t>
            </a:r>
            <a:r>
              <a:rPr lang="en-US" b="1" dirty="0" err="1"/>
              <a:t>miljoen</a:t>
            </a:r>
            <a:r>
              <a:rPr lang="en-US" b="1" dirty="0"/>
              <a:t> ton</a:t>
            </a:r>
            <a:br>
              <a:rPr lang="en-US" b="1" dirty="0"/>
            </a:br>
            <a:endParaRPr lang="en-US" b="1" dirty="0"/>
          </a:p>
          <a:p>
            <a:pPr eaLnBrk="1" hangingPunct="1">
              <a:defRPr/>
            </a:pPr>
            <a:r>
              <a:rPr lang="en-US" b="1" dirty="0" err="1"/>
              <a:t>Aandeel</a:t>
            </a:r>
            <a:r>
              <a:rPr lang="en-US" b="1" dirty="0"/>
              <a:t> Attero </a:t>
            </a:r>
            <a:r>
              <a:rPr lang="en-US" b="1" dirty="0" err="1"/>
              <a:t>hierin</a:t>
            </a:r>
            <a:r>
              <a:rPr lang="en-US" b="1" dirty="0"/>
              <a:t> is 25 %:		     1,8 </a:t>
            </a:r>
            <a:r>
              <a:rPr lang="en-US" b="1" dirty="0" err="1"/>
              <a:t>miljoen</a:t>
            </a:r>
            <a:r>
              <a:rPr lang="en-US" b="1" dirty="0"/>
              <a:t> ton</a:t>
            </a:r>
            <a:endParaRPr lang="nl-NL" b="1" dirty="0"/>
          </a:p>
        </p:txBody>
      </p:sp>
    </p:spTree>
    <p:extLst>
      <p:ext uri="{BB962C8B-B14F-4D97-AF65-F5344CB8AC3E}">
        <p14:creationId xmlns:p14="http://schemas.microsoft.com/office/powerpoint/2010/main" val="143231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Afbeelding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2" t="8656" r="2"/>
          <a:stretch>
            <a:fillRect/>
          </a:stretch>
        </p:blipFill>
        <p:spPr bwMode="auto">
          <a:xfrm>
            <a:off x="-7938" y="2057400"/>
            <a:ext cx="9147176" cy="495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1000" y="2057400"/>
            <a:ext cx="7772400" cy="762000"/>
          </a:xfrm>
        </p:spPr>
        <p:txBody>
          <a:bodyPr/>
          <a:lstStyle/>
          <a:p>
            <a:pPr eaLnBrk="1" hangingPunct="1"/>
            <a:r>
              <a:rPr lang="en-US" altLang="nl-NL" smtClean="0">
                <a:solidFill>
                  <a:schemeClr val="tx1"/>
                </a:solidFill>
              </a:rPr>
              <a:t>Locatie Moerdijk </a:t>
            </a:r>
            <a:endParaRPr lang="nl-NL" altLang="nl-NL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95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Qm2TvgykCgttb4rmQO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Qm2TvgykCgttb4rmQO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Qm2TvgykCgttb4rmQOj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Qm2TvgykCgttb4rmQO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FaqbkJyUqMq.Z.A8rkKQ"/>
</p:tagLst>
</file>

<file path=ppt/theme/theme1.xml><?xml version="1.0" encoding="utf-8"?>
<a:theme xmlns:a="http://schemas.openxmlformats.org/drawingml/2006/main" name="Standaardontwerp">
  <a:themeElements>
    <a:clrScheme name="Standaardontwerp 1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6E1432"/>
      </a:accent1>
      <a:accent2>
        <a:srgbClr val="9CAC11"/>
      </a:accent2>
      <a:accent3>
        <a:srgbClr val="FFFFFF"/>
      </a:accent3>
      <a:accent4>
        <a:srgbClr val="000000"/>
      </a:accent4>
      <a:accent5>
        <a:srgbClr val="BAAAAD"/>
      </a:accent5>
      <a:accent6>
        <a:srgbClr val="8D9B0E"/>
      </a:accent6>
      <a:hlink>
        <a:srgbClr val="FF9900"/>
      </a:hlink>
      <a:folHlink>
        <a:srgbClr val="0033CC"/>
      </a:folHlink>
    </a:clrScheme>
    <a:fontScheme name="Standaardontwerp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ardontwerp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tandaardontwerp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tandaardontwerp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E1432"/>
        </a:accent1>
        <a:accent2>
          <a:srgbClr val="9CAC11"/>
        </a:accent2>
        <a:accent3>
          <a:srgbClr val="FFFFFF"/>
        </a:accent3>
        <a:accent4>
          <a:srgbClr val="000000"/>
        </a:accent4>
        <a:accent5>
          <a:srgbClr val="BAAAAD"/>
        </a:accent5>
        <a:accent6>
          <a:srgbClr val="8D9B0E"/>
        </a:accent6>
        <a:hlink>
          <a:srgbClr val="FF9900"/>
        </a:hlink>
        <a:folHlink>
          <a:srgbClr val="0033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Kantoorth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anto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7388CC65E9DD54F958F9EEE2DF3476F" ma:contentTypeVersion="4" ma:contentTypeDescription="Create a new document." ma:contentTypeScope="" ma:versionID="e4fc627f86611a16de4e240a15ce9abb">
  <xsd:schema xmlns:xsd="http://www.w3.org/2001/XMLSchema" xmlns:xs="http://www.w3.org/2001/XMLSchema" xmlns:p="http://schemas.microsoft.com/office/2006/metadata/properties" xmlns:ns1="http://schemas.microsoft.com/sharepoint/v3" xmlns:ns3="213dae8e-b4dc-4326-8213-4bb04b8fdf01" targetNamespace="http://schemas.microsoft.com/office/2006/metadata/properties" ma:root="true" ma:fieldsID="ac06a4bc883f23c4481a5f50bb927bc9" ns1:_="" ns3:_="">
    <xsd:import namespace="http://schemas.microsoft.com/sharepoint/v3"/>
    <xsd:import namespace="213dae8e-b4dc-4326-8213-4bb04b8fdf01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1:IMAddress" minOccurs="0"/>
                <xsd:element ref="ns3:SharingHintHash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ddress" ma:index="9" nillable="true" ma:displayName="IM Address" ma:description="" ma:internalName="IMAddres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3dae8e-b4dc-4326-8213-4bb04b8fdf0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Sharing Hint Hash" ma:description="" ma:internalName="SharingHintHash" ma:readOnly="true">
      <xsd:simpleType>
        <xsd:restriction base="dms:Text"/>
      </xsd:simple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LongProperties xmlns="http://schemas.microsoft.com/office/2006/metadata/longProperties"/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ddres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026EDC1-D249-4F45-8663-BBA6CD9AEB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13dae8e-b4dc-4326-8213-4bb04b8fdf0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1B59254-D70A-4AF7-A972-0FDB9085ACA5}">
  <ds:schemaRefs>
    <ds:schemaRef ds:uri="http://schemas.microsoft.com/office/2006/metadata/longProperties"/>
  </ds:schemaRefs>
</ds:datastoreItem>
</file>

<file path=customXml/itemProps3.xml><?xml version="1.0" encoding="utf-8"?>
<ds:datastoreItem xmlns:ds="http://schemas.openxmlformats.org/officeDocument/2006/customXml" ds:itemID="{468A53E5-3656-4731-836F-6DD0B8A290EA}">
  <ds:schemaRefs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http://purl.org/dc/dcmitype/"/>
    <ds:schemaRef ds:uri="213dae8e-b4dc-4326-8213-4bb04b8fdf01"/>
    <ds:schemaRef ds:uri="http://schemas.microsoft.com/office/2006/documentManagement/types"/>
    <ds:schemaRef ds:uri="http://schemas.microsoft.com/office/infopath/2007/PartnerControl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031</TotalTime>
  <Words>642</Words>
  <Application>Microsoft Office PowerPoint</Application>
  <PresentationFormat>Diavoorstelling (4:3)</PresentationFormat>
  <Paragraphs>236</Paragraphs>
  <Slides>23</Slides>
  <Notes>9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30" baseType="lpstr">
      <vt:lpstr>ＭＳ Ｐゴシック</vt:lpstr>
      <vt:lpstr>Arial</vt:lpstr>
      <vt:lpstr>Calibri</vt:lpstr>
      <vt:lpstr>Symbol</vt:lpstr>
      <vt:lpstr>Times New Roman</vt:lpstr>
      <vt:lpstr>Trebuchet MS</vt:lpstr>
      <vt:lpstr>Standaardontwerp</vt:lpstr>
      <vt:lpstr> Welkom</vt:lpstr>
      <vt:lpstr>Agenda</vt:lpstr>
      <vt:lpstr>1. Wie is Attero</vt:lpstr>
      <vt:lpstr>Attero’s missie</vt:lpstr>
      <vt:lpstr>2. Onze kernactiviteiten</vt:lpstr>
      <vt:lpstr>Onze kernactiviteiten</vt:lpstr>
      <vt:lpstr>Verwerkingslocaties</vt:lpstr>
      <vt:lpstr>Afvalenergiecentrales in Nederland</vt:lpstr>
      <vt:lpstr>Locatie Moerdijk </vt:lpstr>
      <vt:lpstr>PowerPoint-presentatie</vt:lpstr>
      <vt:lpstr>Korte geschiedenis van de AEC Moerdijk</vt:lpstr>
      <vt:lpstr>De groei van de AEC in beeld – van 3 naar 4 lijnen</vt:lpstr>
      <vt:lpstr>Afvalenergiecentrale Moerdijk </vt:lpstr>
      <vt:lpstr>Afvalenergiecentrale Moerdijk </vt:lpstr>
      <vt:lpstr> Turbine project </vt:lpstr>
      <vt:lpstr> Naar een nieuwe Situatie</vt:lpstr>
      <vt:lpstr> Het basis schema van de installatie </vt:lpstr>
      <vt:lpstr>3.3 Koelwater in- en uitlaat</vt:lpstr>
      <vt:lpstr>        150 kV aansluiting naar Tennet </vt:lpstr>
      <vt:lpstr>Bouw Stoomturbine Project </vt:lpstr>
      <vt:lpstr>3.2 Het 3D Model van de Stoomturbine</vt:lpstr>
      <vt:lpstr>       Een impressie van de nieuwe situatie</vt:lpstr>
      <vt:lpstr>                              Vragen? 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uijk, Peter</dc:creator>
  <cp:lastModifiedBy>Hammers, Gerhard</cp:lastModifiedBy>
  <cp:revision>1099</cp:revision>
  <cp:lastPrinted>2016-10-18T07:33:40Z</cp:lastPrinted>
  <dcterms:created xsi:type="dcterms:W3CDTF">1601-01-01T00:00:00Z</dcterms:created>
  <dcterms:modified xsi:type="dcterms:W3CDTF">2019-11-28T13:2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  <property fmtid="{D5CDD505-2E9C-101B-9397-08002B2CF9AE}" pid="3" name="SharedWithUsers">
    <vt:lpwstr/>
  </property>
  <property fmtid="{D5CDD505-2E9C-101B-9397-08002B2CF9AE}" pid="4" name="AZN nummer">
    <vt:lpwstr/>
  </property>
  <property fmtid="{D5CDD505-2E9C-101B-9397-08002B2CF9AE}" pid="5" name="_Publisher">
    <vt:lpwstr>Attero</vt:lpwstr>
  </property>
  <property fmtid="{D5CDD505-2E9C-101B-9397-08002B2CF9AE}" pid="6" name="Revisie/aanvulling ontvangen op:">
    <vt:lpwstr/>
  </property>
  <property fmtid="{D5CDD505-2E9C-101B-9397-08002B2CF9AE}" pid="7" name="Status0">
    <vt:lpwstr/>
  </property>
  <property fmtid="{D5CDD505-2E9C-101B-9397-08002B2CF9AE}" pid="8" name="vokg">
    <vt:lpwstr/>
  </property>
  <property fmtid="{D5CDD505-2E9C-101B-9397-08002B2CF9AE}" pid="9" name="status">
    <vt:lpwstr/>
  </property>
  <property fmtid="{D5CDD505-2E9C-101B-9397-08002B2CF9AE}" pid="10" name="Chapter">
    <vt:lpwstr/>
  </property>
  <property fmtid="{D5CDD505-2E9C-101B-9397-08002B2CF9AE}" pid="11" name="Revision">
    <vt:lpwstr/>
  </property>
  <property fmtid="{D5CDD505-2E9C-101B-9397-08002B2CF9AE}" pid="12" name="nsbq">
    <vt:lpwstr/>
  </property>
  <property fmtid="{D5CDD505-2E9C-101B-9397-08002B2CF9AE}" pid="13" name="ContentTypeId">
    <vt:lpwstr>0x010100A7388CC65E9DD54F958F9EEE2DF3476F</vt:lpwstr>
  </property>
</Properties>
</file>